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1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notesSlides/notesSlide2.xml" ContentType="application/vnd.openxmlformats-officedocument.presentationml.notesSlide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notesSlides/notesSlide3.xml" ContentType="application/vnd.openxmlformats-officedocument.presentationml.notesSlide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notesSlides/notesSlide4.xml" ContentType="application/vnd.openxmlformats-officedocument.presentationml.notesSlide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notesSlides/notesSlide5.xml" ContentType="application/vnd.openxmlformats-officedocument.presentationml.notesSlide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notesSlides/notesSlide6.xml" ContentType="application/vnd.openxmlformats-officedocument.presentationml.notesSlide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3"/>
  </p:notesMasterIdLst>
  <p:sldIdLst>
    <p:sldId id="326" r:id="rId5"/>
    <p:sldId id="2147483645" r:id="rId6"/>
    <p:sldId id="2147483647" r:id="rId7"/>
    <p:sldId id="258" r:id="rId8"/>
    <p:sldId id="257" r:id="rId9"/>
    <p:sldId id="261" r:id="rId10"/>
    <p:sldId id="256" r:id="rId11"/>
    <p:sldId id="2147483646" r:id="rId12"/>
  </p:sldIdLst>
  <p:sldSz cx="12192000" cy="6858000"/>
  <p:notesSz cx="6797675" cy="9926638"/>
  <p:custDataLst>
    <p:tags r:id="rId14"/>
  </p:custDataLst>
  <p:defaultTextStyle>
    <a:defPPr>
      <a:defRPr lang="en-US"/>
    </a:defPPr>
    <a:lvl1pPr marL="177800" indent="-177800" algn="l" defTabSz="711200" rtl="0" eaLnBrk="1" latinLnBrk="0" hangingPunct="1">
      <a:spcBef>
        <a:spcPts val="1200"/>
      </a:spcBef>
      <a:buChar char="•"/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3556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5334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7112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8890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0668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12446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14224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16002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16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E5668"/>
    <a:srgbClr val="FFFFFF"/>
    <a:srgbClr val="5C5C5C"/>
    <a:srgbClr val="FAEEC3"/>
    <a:srgbClr val="F2DE8A"/>
    <a:srgbClr val="E9CD49"/>
    <a:srgbClr val="C6AA3D"/>
    <a:srgbClr val="AB8933"/>
    <a:srgbClr val="FAECDB"/>
    <a:srgbClr val="EDDAB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77CC443-6FFC-4BD9-8F5B-886DDB0803F1}" v="85" dt="2025-05-29T10:58:21.351"/>
  </p1510:revLst>
</p1510:revInfo>
</file>

<file path=ppt/tableStyles.xml><?xml version="1.0" encoding="utf-8"?>
<a:tblStyleLst xmlns:a="http://schemas.openxmlformats.org/drawingml/2006/main" def="{2D5ABB26-0587-4C30-8999-92F81FD0307C}">
  <a:tblStyle styleId="{9D7B26C5-4107-4FEC-AEDC-1716B250A1EF}" styleName="Light Style 1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9525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>
              <a:noFill/>
            </a:ln>
          </a:top>
          <a:bottom>
            <a:ln>
              <a:noFill/>
            </a:ln>
          </a:bottom>
        </a:tcBdr>
        <a:fill>
          <a:solidFill>
            <a:schemeClr val="dk2"/>
          </a:solidFill>
        </a:fill>
      </a:tcStyle>
    </a:band1H>
    <a:band2H>
      <a:tcStyle>
        <a:tcBdr/>
      </a:tcStyle>
    </a:band2H>
    <a:band1V>
      <a:tcStyle>
        <a:tcBdr/>
      </a:tcStyle>
    </a:band1V>
    <a:band2V>
      <a:tcStyle>
        <a:tcBdr/>
      </a:tcStyle>
    </a:band2V>
    <a:firstCol>
      <a:tcTxStyle b="on"/>
      <a:tcStyle>
        <a:tcBdr/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1905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accent3"/>
      </a:tcTxStyle>
      <a:tcStyle>
        <a:tcBdr>
          <a:bottom>
            <a:ln w="19050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21" d="100"/>
          <a:sy n="121" d="100"/>
        </p:scale>
        <p:origin x="156" y="102"/>
      </p:cViewPr>
      <p:guideLst>
        <p:guide orient="horz" pos="3816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20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ags" Target="tags/tag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hamaria, Shridhar" userId="8333b265-e735-45f8-a921-ce459cc3483a" providerId="ADAL" clId="{E77CC443-6FFC-4BD9-8F5B-886DDB0803F1}"/>
    <pc:docChg chg="custSel modSld modMainMaster">
      <pc:chgData name="Chamaria, Shridhar" userId="8333b265-e735-45f8-a921-ce459cc3483a" providerId="ADAL" clId="{E77CC443-6FFC-4BD9-8F5B-886DDB0803F1}" dt="2025-05-29T11:07:24.481" v="158" actId="478"/>
      <pc:docMkLst>
        <pc:docMk/>
      </pc:docMkLst>
      <pc:sldChg chg="modSp">
        <pc:chgData name="Chamaria, Shridhar" userId="8333b265-e735-45f8-a921-ce459cc3483a" providerId="ADAL" clId="{E77CC443-6FFC-4BD9-8F5B-886DDB0803F1}" dt="2025-05-29T10:55:44.608" v="141"/>
        <pc:sldMkLst>
          <pc:docMk/>
          <pc:sldMk cId="3192213034" sldId="256"/>
        </pc:sldMkLst>
        <pc:spChg chg="mod">
          <ac:chgData name="Chamaria, Shridhar" userId="8333b265-e735-45f8-a921-ce459cc3483a" providerId="ADAL" clId="{E77CC443-6FFC-4BD9-8F5B-886DDB0803F1}" dt="2025-05-29T10:32:47.545" v="48"/>
          <ac:spMkLst>
            <pc:docMk/>
            <pc:sldMk cId="3192213034" sldId="256"/>
            <ac:spMk id="2" creationId="{00000000-0000-0000-0000-000000000000}"/>
          </ac:spMkLst>
        </pc:spChg>
        <pc:spChg chg="mod">
          <ac:chgData name="Chamaria, Shridhar" userId="8333b265-e735-45f8-a921-ce459cc3483a" providerId="ADAL" clId="{E77CC443-6FFC-4BD9-8F5B-886DDB0803F1}" dt="2025-05-29T10:55:44.608" v="141"/>
          <ac:spMkLst>
            <pc:docMk/>
            <pc:sldMk cId="3192213034" sldId="256"/>
            <ac:spMk id="8" creationId="{00000000-0000-0000-0000-000000000000}"/>
          </ac:spMkLst>
        </pc:spChg>
        <pc:spChg chg="mod">
          <ac:chgData name="Chamaria, Shridhar" userId="8333b265-e735-45f8-a921-ce459cc3483a" providerId="ADAL" clId="{E77CC443-6FFC-4BD9-8F5B-886DDB0803F1}" dt="2025-05-29T10:32:47.545" v="48"/>
          <ac:spMkLst>
            <pc:docMk/>
            <pc:sldMk cId="3192213034" sldId="256"/>
            <ac:spMk id="30" creationId="{5C311B19-863A-9B83-8E06-B889B1BB103F}"/>
          </ac:spMkLst>
        </pc:spChg>
        <pc:grpChg chg="mod">
          <ac:chgData name="Chamaria, Shridhar" userId="8333b265-e735-45f8-a921-ce459cc3483a" providerId="ADAL" clId="{E77CC443-6FFC-4BD9-8F5B-886DDB0803F1}" dt="2025-05-29T10:32:47.545" v="48"/>
          <ac:grpSpMkLst>
            <pc:docMk/>
            <pc:sldMk cId="3192213034" sldId="256"/>
            <ac:grpSpMk id="29" creationId="{998C97F0-86E4-1BBF-D8E2-2253F5784FA2}"/>
          </ac:grpSpMkLst>
        </pc:grpChg>
        <pc:cxnChg chg="mod">
          <ac:chgData name="Chamaria, Shridhar" userId="8333b265-e735-45f8-a921-ce459cc3483a" providerId="ADAL" clId="{E77CC443-6FFC-4BD9-8F5B-886DDB0803F1}" dt="2025-05-29T10:32:47.545" v="48"/>
          <ac:cxnSpMkLst>
            <pc:docMk/>
            <pc:sldMk cId="3192213034" sldId="256"/>
            <ac:cxnSpMk id="31" creationId="{337B3230-71D0-A660-31EA-D78E56BBACD6}"/>
          </ac:cxnSpMkLst>
        </pc:cxnChg>
      </pc:sldChg>
      <pc:sldChg chg="delSp modSp">
        <pc:chgData name="Chamaria, Shridhar" userId="8333b265-e735-45f8-a921-ce459cc3483a" providerId="ADAL" clId="{E77CC443-6FFC-4BD9-8F5B-886DDB0803F1}" dt="2025-05-29T10:50:21.342" v="109"/>
        <pc:sldMkLst>
          <pc:docMk/>
          <pc:sldMk cId="3410322574" sldId="257"/>
        </pc:sldMkLst>
        <pc:spChg chg="mod">
          <ac:chgData name="Chamaria, Shridhar" userId="8333b265-e735-45f8-a921-ce459cc3483a" providerId="ADAL" clId="{E77CC443-6FFC-4BD9-8F5B-886DDB0803F1}" dt="2025-05-29T10:33:05.862" v="72"/>
          <ac:spMkLst>
            <pc:docMk/>
            <pc:sldMk cId="3410322574" sldId="257"/>
            <ac:spMk id="2" creationId="{00000000-0000-0000-0000-000000000000}"/>
          </ac:spMkLst>
        </pc:spChg>
        <pc:spChg chg="del mod">
          <ac:chgData name="Chamaria, Shridhar" userId="8333b265-e735-45f8-a921-ce459cc3483a" providerId="ADAL" clId="{E77CC443-6FFC-4BD9-8F5B-886DDB0803F1}" dt="2025-05-29T10:49:37.557" v="103" actId="478"/>
          <ac:spMkLst>
            <pc:docMk/>
            <pc:sldMk cId="3410322574" sldId="257"/>
            <ac:spMk id="37" creationId="{D3DA2C4B-9BC2-FA7B-4C67-6B6B0E2B83C5}"/>
          </ac:spMkLst>
        </pc:spChg>
        <pc:spChg chg="mod">
          <ac:chgData name="Chamaria, Shridhar" userId="8333b265-e735-45f8-a921-ce459cc3483a" providerId="ADAL" clId="{E77CC443-6FFC-4BD9-8F5B-886DDB0803F1}" dt="2025-05-29T10:50:21.342" v="109"/>
          <ac:spMkLst>
            <pc:docMk/>
            <pc:sldMk cId="3410322574" sldId="257"/>
            <ac:spMk id="52" creationId="{BC7ADB42-81E0-4988-84C8-45FAFE915AFB}"/>
          </ac:spMkLst>
        </pc:spChg>
        <pc:picChg chg="del">
          <ac:chgData name="Chamaria, Shridhar" userId="8333b265-e735-45f8-a921-ce459cc3483a" providerId="ADAL" clId="{E77CC443-6FFC-4BD9-8F5B-886DDB0803F1}" dt="2025-05-29T10:49:37.557" v="103" actId="478"/>
          <ac:picMkLst>
            <pc:docMk/>
            <pc:sldMk cId="3410322574" sldId="257"/>
            <ac:picMk id="30" creationId="{08642737-8C6C-C175-48AE-530D3702421F}"/>
          </ac:picMkLst>
        </pc:picChg>
        <pc:picChg chg="del">
          <ac:chgData name="Chamaria, Shridhar" userId="8333b265-e735-45f8-a921-ce459cc3483a" providerId="ADAL" clId="{E77CC443-6FFC-4BD9-8F5B-886DDB0803F1}" dt="2025-05-29T10:49:37.557" v="103" actId="478"/>
          <ac:picMkLst>
            <pc:docMk/>
            <pc:sldMk cId="3410322574" sldId="257"/>
            <ac:picMk id="32" creationId="{62060C8D-F6FF-38BA-9753-39A201555212}"/>
          </ac:picMkLst>
        </pc:picChg>
        <pc:picChg chg="del">
          <ac:chgData name="Chamaria, Shridhar" userId="8333b265-e735-45f8-a921-ce459cc3483a" providerId="ADAL" clId="{E77CC443-6FFC-4BD9-8F5B-886DDB0803F1}" dt="2025-05-29T10:49:37.557" v="103" actId="478"/>
          <ac:picMkLst>
            <pc:docMk/>
            <pc:sldMk cId="3410322574" sldId="257"/>
            <ac:picMk id="33" creationId="{C31877F6-396C-98FB-1178-D86CAEDADEAF}"/>
          </ac:picMkLst>
        </pc:picChg>
        <pc:picChg chg="del">
          <ac:chgData name="Chamaria, Shridhar" userId="8333b265-e735-45f8-a921-ce459cc3483a" providerId="ADAL" clId="{E77CC443-6FFC-4BD9-8F5B-886DDB0803F1}" dt="2025-05-29T10:49:37.557" v="103" actId="478"/>
          <ac:picMkLst>
            <pc:docMk/>
            <pc:sldMk cId="3410322574" sldId="257"/>
            <ac:picMk id="36" creationId="{F6679DDC-330A-55FF-03C3-FDB07250C37A}"/>
          </ac:picMkLst>
        </pc:picChg>
      </pc:sldChg>
      <pc:sldChg chg="delSp modSp mod">
        <pc:chgData name="Chamaria, Shridhar" userId="8333b265-e735-45f8-a921-ce459cc3483a" providerId="ADAL" clId="{E77CC443-6FFC-4BD9-8F5B-886DDB0803F1}" dt="2025-05-29T10:54:09.348" v="129" actId="20577"/>
        <pc:sldMkLst>
          <pc:docMk/>
          <pc:sldMk cId="4016537089" sldId="258"/>
        </pc:sldMkLst>
        <pc:spChg chg="mod">
          <ac:chgData name="Chamaria, Shridhar" userId="8333b265-e735-45f8-a921-ce459cc3483a" providerId="ADAL" clId="{E77CC443-6FFC-4BD9-8F5B-886DDB0803F1}" dt="2025-05-29T10:33:05.862" v="72"/>
          <ac:spMkLst>
            <pc:docMk/>
            <pc:sldMk cId="4016537089" sldId="258"/>
            <ac:spMk id="2" creationId="{00000000-0000-0000-0000-000000000000}"/>
          </ac:spMkLst>
        </pc:spChg>
        <pc:spChg chg="mod">
          <ac:chgData name="Chamaria, Shridhar" userId="8333b265-e735-45f8-a921-ce459cc3483a" providerId="ADAL" clId="{E77CC443-6FFC-4BD9-8F5B-886DDB0803F1}" dt="2025-05-29T10:49:14.160" v="102" actId="20577"/>
          <ac:spMkLst>
            <pc:docMk/>
            <pc:sldMk cId="4016537089" sldId="258"/>
            <ac:spMk id="4" creationId="{4967A364-82FE-954A-417B-53D666B3973A}"/>
          </ac:spMkLst>
        </pc:spChg>
        <pc:spChg chg="del mod">
          <ac:chgData name="Chamaria, Shridhar" userId="8333b265-e735-45f8-a921-ce459cc3483a" providerId="ADAL" clId="{E77CC443-6FFC-4BD9-8F5B-886DDB0803F1}" dt="2025-05-29T10:47:43.340" v="84" actId="478"/>
          <ac:spMkLst>
            <pc:docMk/>
            <pc:sldMk cId="4016537089" sldId="258"/>
            <ac:spMk id="37" creationId="{D3DA2C4B-9BC2-FA7B-4C67-6B6B0E2B83C5}"/>
          </ac:spMkLst>
        </pc:spChg>
        <pc:spChg chg="mod">
          <ac:chgData name="Chamaria, Shridhar" userId="8333b265-e735-45f8-a921-ce459cc3483a" providerId="ADAL" clId="{E77CC443-6FFC-4BD9-8F5B-886DDB0803F1}" dt="2025-05-29T10:54:09.348" v="129" actId="20577"/>
          <ac:spMkLst>
            <pc:docMk/>
            <pc:sldMk cId="4016537089" sldId="258"/>
            <ac:spMk id="48" creationId="{9A947424-5915-AD6D-F709-80C446F0CCF8}"/>
          </ac:spMkLst>
        </pc:spChg>
        <pc:spChg chg="mod">
          <ac:chgData name="Chamaria, Shridhar" userId="8333b265-e735-45f8-a921-ce459cc3483a" providerId="ADAL" clId="{E77CC443-6FFC-4BD9-8F5B-886DDB0803F1}" dt="2025-05-29T10:48:14.717" v="90"/>
          <ac:spMkLst>
            <pc:docMk/>
            <pc:sldMk cId="4016537089" sldId="258"/>
            <ac:spMk id="52" creationId="{BC7ADB42-81E0-4988-84C8-45FAFE915AFB}"/>
          </ac:spMkLst>
        </pc:spChg>
        <pc:picChg chg="del">
          <ac:chgData name="Chamaria, Shridhar" userId="8333b265-e735-45f8-a921-ce459cc3483a" providerId="ADAL" clId="{E77CC443-6FFC-4BD9-8F5B-886DDB0803F1}" dt="2025-05-29T10:47:43.340" v="84" actId="478"/>
          <ac:picMkLst>
            <pc:docMk/>
            <pc:sldMk cId="4016537089" sldId="258"/>
            <ac:picMk id="30" creationId="{08642737-8C6C-C175-48AE-530D3702421F}"/>
          </ac:picMkLst>
        </pc:picChg>
        <pc:picChg chg="del">
          <ac:chgData name="Chamaria, Shridhar" userId="8333b265-e735-45f8-a921-ce459cc3483a" providerId="ADAL" clId="{E77CC443-6FFC-4BD9-8F5B-886DDB0803F1}" dt="2025-05-29T10:47:43.340" v="84" actId="478"/>
          <ac:picMkLst>
            <pc:docMk/>
            <pc:sldMk cId="4016537089" sldId="258"/>
            <ac:picMk id="32" creationId="{62060C8D-F6FF-38BA-9753-39A201555212}"/>
          </ac:picMkLst>
        </pc:picChg>
        <pc:picChg chg="del">
          <ac:chgData name="Chamaria, Shridhar" userId="8333b265-e735-45f8-a921-ce459cc3483a" providerId="ADAL" clId="{E77CC443-6FFC-4BD9-8F5B-886DDB0803F1}" dt="2025-05-29T10:47:43.340" v="84" actId="478"/>
          <ac:picMkLst>
            <pc:docMk/>
            <pc:sldMk cId="4016537089" sldId="258"/>
            <ac:picMk id="33" creationId="{C31877F6-396C-98FB-1178-D86CAEDADEAF}"/>
          </ac:picMkLst>
        </pc:picChg>
        <pc:picChg chg="del">
          <ac:chgData name="Chamaria, Shridhar" userId="8333b265-e735-45f8-a921-ce459cc3483a" providerId="ADAL" clId="{E77CC443-6FFC-4BD9-8F5B-886DDB0803F1}" dt="2025-05-29T10:47:43.340" v="84" actId="478"/>
          <ac:picMkLst>
            <pc:docMk/>
            <pc:sldMk cId="4016537089" sldId="258"/>
            <ac:picMk id="36" creationId="{F6679DDC-330A-55FF-03C3-FDB07250C37A}"/>
          </ac:picMkLst>
        </pc:picChg>
      </pc:sldChg>
      <pc:sldChg chg="delSp modSp mod">
        <pc:chgData name="Chamaria, Shridhar" userId="8333b265-e735-45f8-a921-ce459cc3483a" providerId="ADAL" clId="{E77CC443-6FFC-4BD9-8F5B-886DDB0803F1}" dt="2025-05-29T10:55:07.233" v="138"/>
        <pc:sldMkLst>
          <pc:docMk/>
          <pc:sldMk cId="2178158591" sldId="261"/>
        </pc:sldMkLst>
        <pc:spChg chg="mod">
          <ac:chgData name="Chamaria, Shridhar" userId="8333b265-e735-45f8-a921-ce459cc3483a" providerId="ADAL" clId="{E77CC443-6FFC-4BD9-8F5B-886DDB0803F1}" dt="2025-05-29T10:32:47.545" v="48"/>
          <ac:spMkLst>
            <pc:docMk/>
            <pc:sldMk cId="2178158591" sldId="261"/>
            <ac:spMk id="2" creationId="{00000000-0000-0000-0000-000000000000}"/>
          </ac:spMkLst>
        </pc:spChg>
        <pc:spChg chg="mod">
          <ac:chgData name="Chamaria, Shridhar" userId="8333b265-e735-45f8-a921-ce459cc3483a" providerId="ADAL" clId="{E77CC443-6FFC-4BD9-8F5B-886DDB0803F1}" dt="2025-05-29T10:54:26.353" v="135" actId="20577"/>
          <ac:spMkLst>
            <pc:docMk/>
            <pc:sldMk cId="2178158591" sldId="261"/>
            <ac:spMk id="17" creationId="{7BFEEB5B-03AA-5A1C-9236-0011E212B358}"/>
          </ac:spMkLst>
        </pc:spChg>
        <pc:spChg chg="mod">
          <ac:chgData name="Chamaria, Shridhar" userId="8333b265-e735-45f8-a921-ce459cc3483a" providerId="ADAL" clId="{E77CC443-6FFC-4BD9-8F5B-886DDB0803F1}" dt="2025-05-29T10:55:07.233" v="138"/>
          <ac:spMkLst>
            <pc:docMk/>
            <pc:sldMk cId="2178158591" sldId="261"/>
            <ac:spMk id="30" creationId="{00000000-0000-0000-0000-000000000000}"/>
          </ac:spMkLst>
        </pc:spChg>
        <pc:spChg chg="del mod">
          <ac:chgData name="Chamaria, Shridhar" userId="8333b265-e735-45f8-a921-ce459cc3483a" providerId="ADAL" clId="{E77CC443-6FFC-4BD9-8F5B-886DDB0803F1}" dt="2025-05-29T10:52:42.741" v="118" actId="478"/>
          <ac:spMkLst>
            <pc:docMk/>
            <pc:sldMk cId="2178158591" sldId="261"/>
            <ac:spMk id="36" creationId="{1009C953-FA8B-2599-379C-1E71D99B21CB}"/>
          </ac:spMkLst>
        </pc:spChg>
        <pc:picChg chg="del">
          <ac:chgData name="Chamaria, Shridhar" userId="8333b265-e735-45f8-a921-ce459cc3483a" providerId="ADAL" clId="{E77CC443-6FFC-4BD9-8F5B-886DDB0803F1}" dt="2025-05-29T10:52:42.741" v="118" actId="478"/>
          <ac:picMkLst>
            <pc:docMk/>
            <pc:sldMk cId="2178158591" sldId="261"/>
            <ac:picMk id="27" creationId="{10F20CEA-E3CF-BEF1-2A28-FAB4800A4729}"/>
          </ac:picMkLst>
        </pc:picChg>
        <pc:picChg chg="del">
          <ac:chgData name="Chamaria, Shridhar" userId="8333b265-e735-45f8-a921-ce459cc3483a" providerId="ADAL" clId="{E77CC443-6FFC-4BD9-8F5B-886DDB0803F1}" dt="2025-05-29T10:52:42.741" v="118" actId="478"/>
          <ac:picMkLst>
            <pc:docMk/>
            <pc:sldMk cId="2178158591" sldId="261"/>
            <ac:picMk id="31" creationId="{88798D6A-DB19-8EFA-DBF7-36DDF2BFF3D3}"/>
          </ac:picMkLst>
        </pc:picChg>
        <pc:picChg chg="del">
          <ac:chgData name="Chamaria, Shridhar" userId="8333b265-e735-45f8-a921-ce459cc3483a" providerId="ADAL" clId="{E77CC443-6FFC-4BD9-8F5B-886DDB0803F1}" dt="2025-05-29T10:52:42.741" v="118" actId="478"/>
          <ac:picMkLst>
            <pc:docMk/>
            <pc:sldMk cId="2178158591" sldId="261"/>
            <ac:picMk id="32" creationId="{9676E7B5-B1F4-7F54-49CE-02B6F772E5B5}"/>
          </ac:picMkLst>
        </pc:picChg>
        <pc:picChg chg="del">
          <ac:chgData name="Chamaria, Shridhar" userId="8333b265-e735-45f8-a921-ce459cc3483a" providerId="ADAL" clId="{E77CC443-6FFC-4BD9-8F5B-886DDB0803F1}" dt="2025-05-29T10:52:42.741" v="118" actId="478"/>
          <ac:picMkLst>
            <pc:docMk/>
            <pc:sldMk cId="2178158591" sldId="261"/>
            <ac:picMk id="35" creationId="{8D753AC1-1EC8-CBF2-CA0D-D707978B2614}"/>
          </ac:picMkLst>
        </pc:picChg>
      </pc:sldChg>
      <pc:sldChg chg="addSp delSp modSp mod">
        <pc:chgData name="Chamaria, Shridhar" userId="8333b265-e735-45f8-a921-ce459cc3483a" providerId="ADAL" clId="{E77CC443-6FFC-4BD9-8F5B-886DDB0803F1}" dt="2025-05-29T11:07:24.481" v="158" actId="478"/>
        <pc:sldMkLst>
          <pc:docMk/>
          <pc:sldMk cId="3147993296" sldId="326"/>
        </pc:sldMkLst>
        <pc:spChg chg="add del mod modVis">
          <ac:chgData name="Chamaria, Shridhar" userId="8333b265-e735-45f8-a921-ce459cc3483a" providerId="ADAL" clId="{E77CC443-6FFC-4BD9-8F5B-886DDB0803F1}" dt="2025-05-29T10:29:50.392" v="22"/>
          <ac:spMkLst>
            <pc:docMk/>
            <pc:sldMk cId="3147993296" sldId="326"/>
            <ac:spMk id="2" creationId="{A1498629-DCE6-F5DE-842E-71EFA26BAB53}"/>
          </ac:spMkLst>
        </pc:spChg>
        <pc:spChg chg="mod">
          <ac:chgData name="Chamaria, Shridhar" userId="8333b265-e735-45f8-a921-ce459cc3483a" providerId="ADAL" clId="{E77CC443-6FFC-4BD9-8F5B-886DDB0803F1}" dt="2025-05-29T10:29:56.754" v="35" actId="948"/>
          <ac:spMkLst>
            <pc:docMk/>
            <pc:sldMk cId="3147993296" sldId="326"/>
            <ac:spMk id="3" creationId="{FBD7D053-33B8-42F5-A1D9-DB27B4FBC23D}"/>
          </ac:spMkLst>
        </pc:spChg>
        <pc:spChg chg="del mod">
          <ac:chgData name="Chamaria, Shridhar" userId="8333b265-e735-45f8-a921-ce459cc3483a" providerId="ADAL" clId="{E77CC443-6FFC-4BD9-8F5B-886DDB0803F1}" dt="2025-05-29T11:07:23.461" v="157" actId="478"/>
          <ac:spMkLst>
            <pc:docMk/>
            <pc:sldMk cId="3147993296" sldId="326"/>
            <ac:spMk id="4" creationId="{55B54901-05F0-4F8A-960B-F7DA1F3B54ED}"/>
          </ac:spMkLst>
        </pc:spChg>
        <pc:spChg chg="add del mod">
          <ac:chgData name="Chamaria, Shridhar" userId="8333b265-e735-45f8-a921-ce459cc3483a" providerId="ADAL" clId="{E77CC443-6FFC-4BD9-8F5B-886DDB0803F1}" dt="2025-05-29T11:07:24.481" v="158" actId="478"/>
          <ac:spMkLst>
            <pc:docMk/>
            <pc:sldMk cId="3147993296" sldId="326"/>
            <ac:spMk id="7" creationId="{3C7685AD-4E0E-D6CC-CF2D-CA457C136D11}"/>
          </ac:spMkLst>
        </pc:spChg>
        <pc:graphicFrameChg chg="mod">
          <ac:chgData name="Chamaria, Shridhar" userId="8333b265-e735-45f8-a921-ce459cc3483a" providerId="ADAL" clId="{E77CC443-6FFC-4BD9-8F5B-886DDB0803F1}" dt="2025-05-29T10:29:56.763" v="37"/>
          <ac:graphicFrameMkLst>
            <pc:docMk/>
            <pc:sldMk cId="3147993296" sldId="326"/>
            <ac:graphicFrameMk id="5" creationId="{D20B36EA-A7FC-DE1C-B24A-EF2BF6BE694C}"/>
          </ac:graphicFrameMkLst>
        </pc:graphicFrameChg>
      </pc:sldChg>
      <pc:sldChg chg="delSp modSp mod">
        <pc:chgData name="Chamaria, Shridhar" userId="8333b265-e735-45f8-a921-ce459cc3483a" providerId="ADAL" clId="{E77CC443-6FFC-4BD9-8F5B-886DDB0803F1}" dt="2025-05-29T10:36:24.713" v="80" actId="207"/>
        <pc:sldMkLst>
          <pc:docMk/>
          <pc:sldMk cId="2358268985" sldId="2147483645"/>
        </pc:sldMkLst>
        <pc:spChg chg="del mod">
          <ac:chgData name="Chamaria, Shridhar" userId="8333b265-e735-45f8-a921-ce459cc3483a" providerId="ADAL" clId="{E77CC443-6FFC-4BD9-8F5B-886DDB0803F1}" dt="2025-05-29T10:36:05.559" v="74" actId="478"/>
          <ac:spMkLst>
            <pc:docMk/>
            <pc:sldMk cId="2358268985" sldId="2147483645"/>
            <ac:spMk id="18" creationId="{C0A52619-893E-D17B-FDA6-79987AF44B14}"/>
          </ac:spMkLst>
        </pc:spChg>
        <pc:graphicFrameChg chg="mod modGraphic">
          <ac:chgData name="Chamaria, Shridhar" userId="8333b265-e735-45f8-a921-ce459cc3483a" providerId="ADAL" clId="{E77CC443-6FFC-4BD9-8F5B-886DDB0803F1}" dt="2025-05-29T10:36:24.713" v="80" actId="207"/>
          <ac:graphicFrameMkLst>
            <pc:docMk/>
            <pc:sldMk cId="2358268985" sldId="2147483645"/>
            <ac:graphicFrameMk id="51" creationId="{0A90D0A8-11D5-4BEE-879F-CFC3A475B5FF}"/>
          </ac:graphicFrameMkLst>
        </pc:graphicFrameChg>
        <pc:picChg chg="del">
          <ac:chgData name="Chamaria, Shridhar" userId="8333b265-e735-45f8-a921-ce459cc3483a" providerId="ADAL" clId="{E77CC443-6FFC-4BD9-8F5B-886DDB0803F1}" dt="2025-05-29T10:36:05.559" v="74" actId="478"/>
          <ac:picMkLst>
            <pc:docMk/>
            <pc:sldMk cId="2358268985" sldId="2147483645"/>
            <ac:picMk id="12" creationId="{2F51C75F-37ED-2241-85FC-4DD86FEAFFF5}"/>
          </ac:picMkLst>
        </pc:picChg>
        <pc:picChg chg="del">
          <ac:chgData name="Chamaria, Shridhar" userId="8333b265-e735-45f8-a921-ce459cc3483a" providerId="ADAL" clId="{E77CC443-6FFC-4BD9-8F5B-886DDB0803F1}" dt="2025-05-29T10:36:05.559" v="74" actId="478"/>
          <ac:picMkLst>
            <pc:docMk/>
            <pc:sldMk cId="2358268985" sldId="2147483645"/>
            <ac:picMk id="14" creationId="{A5C771C7-D5BC-2827-6F4A-0BECDDF7F0A2}"/>
          </ac:picMkLst>
        </pc:picChg>
        <pc:picChg chg="del">
          <ac:chgData name="Chamaria, Shridhar" userId="8333b265-e735-45f8-a921-ce459cc3483a" providerId="ADAL" clId="{E77CC443-6FFC-4BD9-8F5B-886DDB0803F1}" dt="2025-05-29T10:36:05.559" v="74" actId="478"/>
          <ac:picMkLst>
            <pc:docMk/>
            <pc:sldMk cId="2358268985" sldId="2147483645"/>
            <ac:picMk id="15" creationId="{15BAA060-C7B5-9909-BC81-7F4B5C056E22}"/>
          </ac:picMkLst>
        </pc:picChg>
        <pc:picChg chg="del">
          <ac:chgData name="Chamaria, Shridhar" userId="8333b265-e735-45f8-a921-ce459cc3483a" providerId="ADAL" clId="{E77CC443-6FFC-4BD9-8F5B-886DDB0803F1}" dt="2025-05-29T10:36:05.559" v="74" actId="478"/>
          <ac:picMkLst>
            <pc:docMk/>
            <pc:sldMk cId="2358268985" sldId="2147483645"/>
            <ac:picMk id="17" creationId="{C4801EBD-7D47-357F-3A55-C0BA0BB0BF80}"/>
          </ac:picMkLst>
        </pc:picChg>
      </pc:sldChg>
      <pc:sldChg chg="delSp modSp">
        <pc:chgData name="Chamaria, Shridhar" userId="8333b265-e735-45f8-a921-ce459cc3483a" providerId="ADAL" clId="{E77CC443-6FFC-4BD9-8F5B-886DDB0803F1}" dt="2025-05-29T10:58:21.335" v="151"/>
        <pc:sldMkLst>
          <pc:docMk/>
          <pc:sldMk cId="1544207233" sldId="2147483646"/>
        </pc:sldMkLst>
        <pc:spChg chg="del mod">
          <ac:chgData name="Chamaria, Shridhar" userId="8333b265-e735-45f8-a921-ce459cc3483a" providerId="ADAL" clId="{E77CC443-6FFC-4BD9-8F5B-886DDB0803F1}" dt="2025-05-29T10:57:18.509" v="145" actId="478"/>
          <ac:spMkLst>
            <pc:docMk/>
            <pc:sldMk cId="1544207233" sldId="2147483646"/>
            <ac:spMk id="8" creationId="{D5A46653-A7AA-4BC1-9C52-FAA7E752AF00}"/>
          </ac:spMkLst>
        </pc:spChg>
        <pc:spChg chg="mod">
          <ac:chgData name="Chamaria, Shridhar" userId="8333b265-e735-45f8-a921-ce459cc3483a" providerId="ADAL" clId="{E77CC443-6FFC-4BD9-8F5B-886DDB0803F1}" dt="2025-05-29T10:58:21.335" v="151"/>
          <ac:spMkLst>
            <pc:docMk/>
            <pc:sldMk cId="1544207233" sldId="2147483646"/>
            <ac:spMk id="16" creationId="{7F343AAD-B216-000B-8B5B-E1AA687222CB}"/>
          </ac:spMkLst>
        </pc:spChg>
        <pc:picChg chg="del">
          <ac:chgData name="Chamaria, Shridhar" userId="8333b265-e735-45f8-a921-ce459cc3483a" providerId="ADAL" clId="{E77CC443-6FFC-4BD9-8F5B-886DDB0803F1}" dt="2025-05-29T10:57:18.509" v="145" actId="478"/>
          <ac:picMkLst>
            <pc:docMk/>
            <pc:sldMk cId="1544207233" sldId="2147483646"/>
            <ac:picMk id="3" creationId="{5C0EB941-B299-E56C-1699-7690B42D8B19}"/>
          </ac:picMkLst>
        </pc:picChg>
        <pc:picChg chg="del">
          <ac:chgData name="Chamaria, Shridhar" userId="8333b265-e735-45f8-a921-ce459cc3483a" providerId="ADAL" clId="{E77CC443-6FFC-4BD9-8F5B-886DDB0803F1}" dt="2025-05-29T10:57:18.509" v="145" actId="478"/>
          <ac:picMkLst>
            <pc:docMk/>
            <pc:sldMk cId="1544207233" sldId="2147483646"/>
            <ac:picMk id="4" creationId="{53C97F99-A8E7-FC9F-0040-0A535F084853}"/>
          </ac:picMkLst>
        </pc:picChg>
        <pc:picChg chg="del">
          <ac:chgData name="Chamaria, Shridhar" userId="8333b265-e735-45f8-a921-ce459cc3483a" providerId="ADAL" clId="{E77CC443-6FFC-4BD9-8F5B-886DDB0803F1}" dt="2025-05-29T10:57:18.509" v="145" actId="478"/>
          <ac:picMkLst>
            <pc:docMk/>
            <pc:sldMk cId="1544207233" sldId="2147483646"/>
            <ac:picMk id="6" creationId="{D0238D7F-5F01-1070-B93F-702458BFCE85}"/>
          </ac:picMkLst>
        </pc:picChg>
        <pc:picChg chg="del">
          <ac:chgData name="Chamaria, Shridhar" userId="8333b265-e735-45f8-a921-ce459cc3483a" providerId="ADAL" clId="{E77CC443-6FFC-4BD9-8F5B-886DDB0803F1}" dt="2025-05-29T10:57:18.509" v="145" actId="478"/>
          <ac:picMkLst>
            <pc:docMk/>
            <pc:sldMk cId="1544207233" sldId="2147483646"/>
            <ac:picMk id="7" creationId="{9F021F7E-0465-B942-4046-0DBDFCE14200}"/>
          </ac:picMkLst>
        </pc:picChg>
      </pc:sldChg>
      <pc:sldChg chg="addSp delSp modSp mod">
        <pc:chgData name="Chamaria, Shridhar" userId="8333b265-e735-45f8-a921-ce459cc3483a" providerId="ADAL" clId="{E77CC443-6FFC-4BD9-8F5B-886DDB0803F1}" dt="2025-05-29T10:32:48.145" v="71"/>
        <pc:sldMkLst>
          <pc:docMk/>
          <pc:sldMk cId="1185047230" sldId="2147483647"/>
        </pc:sldMkLst>
        <pc:spChg chg="mod">
          <ac:chgData name="Chamaria, Shridhar" userId="8333b265-e735-45f8-a921-ce459cc3483a" providerId="ADAL" clId="{E77CC443-6FFC-4BD9-8F5B-886DDB0803F1}" dt="2025-05-29T10:32:48.115" v="49" actId="948"/>
          <ac:spMkLst>
            <pc:docMk/>
            <pc:sldMk cId="1185047230" sldId="2147483647"/>
            <ac:spMk id="6" creationId="{694D5409-4D32-D7A6-3C93-E11306BEA059}"/>
          </ac:spMkLst>
        </pc:spChg>
        <pc:spChg chg="mod">
          <ac:chgData name="Chamaria, Shridhar" userId="8333b265-e735-45f8-a921-ce459cc3483a" providerId="ADAL" clId="{E77CC443-6FFC-4BD9-8F5B-886DDB0803F1}" dt="2025-05-29T10:32:11.292" v="47"/>
          <ac:spMkLst>
            <pc:docMk/>
            <pc:sldMk cId="1185047230" sldId="2147483647"/>
            <ac:spMk id="7" creationId="{ADF9A08C-FD77-4FF3-9307-10D9D9652E8E}"/>
          </ac:spMkLst>
        </pc:spChg>
        <pc:spChg chg="add del mod modVis">
          <ac:chgData name="Chamaria, Shridhar" userId="8333b265-e735-45f8-a921-ce459cc3483a" providerId="ADAL" clId="{E77CC443-6FFC-4BD9-8F5B-886DDB0803F1}" dt="2025-05-29T10:32:48.145" v="69"/>
          <ac:spMkLst>
            <pc:docMk/>
            <pc:sldMk cId="1185047230" sldId="2147483647"/>
            <ac:spMk id="29" creationId="{610D0AA1-868B-5598-42A5-B3F67429DB74}"/>
          </ac:spMkLst>
        </pc:spChg>
        <pc:spChg chg="del">
          <ac:chgData name="Chamaria, Shridhar" userId="8333b265-e735-45f8-a921-ce459cc3483a" providerId="ADAL" clId="{E77CC443-6FFC-4BD9-8F5B-886DDB0803F1}" dt="2025-05-29T10:31:47.795" v="44" actId="478"/>
          <ac:spMkLst>
            <pc:docMk/>
            <pc:sldMk cId="1185047230" sldId="2147483647"/>
            <ac:spMk id="46" creationId="{6732AA61-BA56-8EC6-5D37-3028F38BDFA2}"/>
          </ac:spMkLst>
        </pc:spChg>
        <pc:graphicFrameChg chg="mod">
          <ac:chgData name="Chamaria, Shridhar" userId="8333b265-e735-45f8-a921-ce459cc3483a" providerId="ADAL" clId="{E77CC443-6FFC-4BD9-8F5B-886DDB0803F1}" dt="2025-05-29T10:32:48.145" v="71"/>
          <ac:graphicFrameMkLst>
            <pc:docMk/>
            <pc:sldMk cId="1185047230" sldId="2147483647"/>
            <ac:graphicFrameMk id="54" creationId="{93F0492B-A78A-B489-664F-AC216335F9C8}"/>
          </ac:graphicFrameMkLst>
        </pc:graphicFrameChg>
        <pc:picChg chg="del">
          <ac:chgData name="Chamaria, Shridhar" userId="8333b265-e735-45f8-a921-ce459cc3483a" providerId="ADAL" clId="{E77CC443-6FFC-4BD9-8F5B-886DDB0803F1}" dt="2025-05-29T10:31:47.795" v="44" actId="478"/>
          <ac:picMkLst>
            <pc:docMk/>
            <pc:sldMk cId="1185047230" sldId="2147483647"/>
            <ac:picMk id="2" creationId="{4C78E002-6BAB-8C9E-CCE8-00249CBD3E72}"/>
          </ac:picMkLst>
        </pc:picChg>
        <pc:picChg chg="del">
          <ac:chgData name="Chamaria, Shridhar" userId="8333b265-e735-45f8-a921-ce459cc3483a" providerId="ADAL" clId="{E77CC443-6FFC-4BD9-8F5B-886DDB0803F1}" dt="2025-05-29T10:31:47.795" v="44" actId="478"/>
          <ac:picMkLst>
            <pc:docMk/>
            <pc:sldMk cId="1185047230" sldId="2147483647"/>
            <ac:picMk id="20" creationId="{753E2B16-69F5-77FB-5E99-86DB98ABC608}"/>
          </ac:picMkLst>
        </pc:picChg>
        <pc:picChg chg="del">
          <ac:chgData name="Chamaria, Shridhar" userId="8333b265-e735-45f8-a921-ce459cc3483a" providerId="ADAL" clId="{E77CC443-6FFC-4BD9-8F5B-886DDB0803F1}" dt="2025-05-29T10:31:47.795" v="44" actId="478"/>
          <ac:picMkLst>
            <pc:docMk/>
            <pc:sldMk cId="1185047230" sldId="2147483647"/>
            <ac:picMk id="22" creationId="{71AFC4E5-8ABF-D1F8-254C-CC4CE8DF6532}"/>
          </ac:picMkLst>
        </pc:picChg>
        <pc:picChg chg="del">
          <ac:chgData name="Chamaria, Shridhar" userId="8333b265-e735-45f8-a921-ce459cc3483a" providerId="ADAL" clId="{E77CC443-6FFC-4BD9-8F5B-886DDB0803F1}" dt="2025-05-29T10:31:47.795" v="44" actId="478"/>
          <ac:picMkLst>
            <pc:docMk/>
            <pc:sldMk cId="1185047230" sldId="2147483647"/>
            <ac:picMk id="45" creationId="{BE696A59-53A8-4369-B29C-87B75517CA8A}"/>
          </ac:picMkLst>
        </pc:picChg>
      </pc:sldChg>
      <pc:sldMasterChg chg="modSp">
        <pc:chgData name="Chamaria, Shridhar" userId="8333b265-e735-45f8-a921-ce459cc3483a" providerId="ADAL" clId="{E77CC443-6FFC-4BD9-8F5B-886DDB0803F1}" dt="2025-05-29T10:32:47.545" v="48"/>
        <pc:sldMasterMkLst>
          <pc:docMk/>
          <pc:sldMasterMk cId="3729795247" sldId="2147483648"/>
        </pc:sldMasterMkLst>
        <pc:spChg chg="mod">
          <ac:chgData name="Chamaria, Shridhar" userId="8333b265-e735-45f8-a921-ce459cc3483a" providerId="ADAL" clId="{E77CC443-6FFC-4BD9-8F5B-886DDB0803F1}" dt="2025-05-29T10:32:47.545" v="48"/>
          <ac:spMkLst>
            <pc:docMk/>
            <pc:sldMasterMk cId="3729795247" sldId="2147483648"/>
            <ac:spMk id="8" creationId="{00000000-0000-0000-0000-000000000000}"/>
          </ac:spMkLst>
        </pc:sp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AC71DD5-24DA-4D0B-BEDB-98F8ACB75C88}" type="datetimeFigureOut">
              <a:rPr lang="en-US" smtClean="0"/>
              <a:t>5/29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2DA507C-5268-46B2-9E2D-5316EC242D7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01042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46E961-A83B-4500-B5F7-48EDF225ADDC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32047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AD63503-340C-43DA-A9E2-0F315A321574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635035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A65A675-2167-40D4-A784-14D39E5980A8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731836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A65A675-2167-40D4-A784-14D39E5980A8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70873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46E961-A83B-4500-B5F7-48EDF225ADDC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859266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3DDC25-F4DF-4BE7-8947-83D71458CD1A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694720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ain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7037" y="4998212"/>
            <a:ext cx="3240000" cy="405000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334963" y="5077602"/>
            <a:ext cx="884858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>
              <a:buNone/>
            </a:pPr>
            <a:r>
              <a:rPr lang="en-US" sz="1600" b="1" cap="all" spc="300" baseline="0">
                <a:solidFill>
                  <a:schemeClr val="tx1"/>
                </a:solidFill>
              </a:rPr>
              <a:t>Draft</a:t>
            </a:r>
          </a:p>
        </p:txBody>
      </p:sp>
      <p:cxnSp>
        <p:nvCxnSpPr>
          <p:cNvPr id="5" name="SeparatorLine"/>
          <p:cNvCxnSpPr/>
          <p:nvPr userDrawn="1"/>
        </p:nvCxnSpPr>
        <p:spPr>
          <a:xfrm>
            <a:off x="0" y="4873803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lientLogo"/>
          <p:cNvSpPr>
            <a:spLocks noGrp="1"/>
          </p:cNvSpPr>
          <p:nvPr>
            <p:ph type="pic" sz="quarter" idx="10"/>
          </p:nvPr>
        </p:nvSpPr>
        <p:spPr>
          <a:xfrm>
            <a:off x="8617039" y="3364443"/>
            <a:ext cx="3239999" cy="139964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8" name="Disclaimer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5468" y="6547288"/>
            <a:ext cx="6407451" cy="274344"/>
          </a:xfrm>
          <a:prstGeom prst="rect">
            <a:avLst/>
          </a:prstGeom>
        </p:spPr>
      </p:pic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334965" y="2420938"/>
            <a:ext cx="11522075" cy="90000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add subtitle/contacts/date</a:t>
            </a: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>
          <a:xfrm>
            <a:off x="334964" y="1268413"/>
            <a:ext cx="11522075" cy="900112"/>
          </a:xfrm>
        </p:spPr>
        <p:txBody>
          <a:bodyPr anchor="b"/>
          <a:lstStyle>
            <a:lvl1pPr algn="l">
              <a:spcBef>
                <a:spcPts val="0"/>
              </a:spcBef>
              <a:defRPr sz="2600" b="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012046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042924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Pag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Bain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7037" y="4998212"/>
            <a:ext cx="3240000" cy="405000"/>
          </a:xfrm>
          <a:prstGeom prst="rect">
            <a:avLst/>
          </a:prstGeom>
        </p:spPr>
      </p:pic>
      <p:cxnSp>
        <p:nvCxnSpPr>
          <p:cNvPr id="39" name="SeparatorLine"/>
          <p:cNvCxnSpPr/>
          <p:nvPr userDrawn="1"/>
        </p:nvCxnSpPr>
        <p:spPr>
          <a:xfrm>
            <a:off x="0" y="5481638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8732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53" userDrawn="1">
          <p15:clr>
            <a:srgbClr val="A4A3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634442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949F73F-40C4-459A-87F2-5B4A916D8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439456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606" imgH="608" progId="TCLayout.ActiveDocument.1">
                  <p:embed/>
                </p:oleObj>
              </mc:Choice>
              <mc:Fallback>
                <p:oleObj name="think-cell Slide" r:id="rId7" imgW="606" imgH="60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949F73F-40C4-459A-87F2-5B4A916D8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tfpConfiguration" hidden="1"/>
          <p:cNvSpPr txBox="1"/>
          <p:nvPr userDrawn="1"/>
        </p:nvSpPr>
        <p:spPr bwMode="hidden">
          <a:xfrm>
            <a:off x="0" y="0"/>
            <a:ext cx="36000" cy="36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100">
                <a:solidFill>
                  <a:schemeClr val="bg1">
                    <a:alpha val="0"/>
                  </a:schemeClr>
                </a:solidFill>
              </a:rPr>
              <a:t>&lt;BTFP&gt;&lt;!-- BTFPCONFIGURATION:3C627466703E0D0A20203C74656D706C6174652076657273696F6E3D22322E342E302220747970653D226272616E64656422207061676553697A653D227769646573637265656E22202F3E0D0A20203C4775696465733E0D0A202020203C4C656674477569646520786D6C6E733D22323622202F3E0D0A202020203C5269676874477569646520786D6C6E733D2239333422202F3E0D0A202020203C5570706572537469636B6572477569646520786D6C6E733D22363922202F3E0D0A202020203C4C6F776572537469636B6572477569646520786D6C6E733D2231303022202F3E0D0A202020203C426F74746F6D477569646520786D6C6E733D2235313722202F3E0D0A20203C2F4775696465733E0D0A3C2F627466703E --&gt;&lt;/BTFP&gt;</a:t>
            </a:r>
          </a:p>
        </p:txBody>
      </p:sp>
      <p:sp>
        <p:nvSpPr>
          <p:cNvPr id="19" name="SlideNumber"/>
          <p:cNvSpPr/>
          <p:nvPr userDrawn="1"/>
        </p:nvSpPr>
        <p:spPr bwMode="gray">
          <a:xfrm>
            <a:off x="11715975" y="6649694"/>
            <a:ext cx="141064" cy="138499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spAutoFit/>
          </a:bodyPr>
          <a:lstStyle/>
          <a:p>
            <a:pPr marL="0" indent="0" algn="r" defTabSz="711200" rtl="0" eaLnBrk="1" latinLnBrk="0" hangingPunct="1">
              <a:spcBef>
                <a:spcPts val="1200"/>
              </a:spcBef>
              <a:buNone/>
            </a:pPr>
            <a:fld id="{BB69BBE8-4DB2-4642-B003-B220ACD5A2FD}" type="slidenum">
              <a:rPr lang="en-US" sz="900" b="0" baseline="0" smtClean="0">
                <a:solidFill>
                  <a:schemeClr val="bg2"/>
                </a:solidFill>
                <a:latin typeface="+mn-lt"/>
              </a:rPr>
              <a:pPr marL="0" indent="0" algn="r" defTabSz="711200" rtl="0" eaLnBrk="1" latinLnBrk="0" hangingPunct="1">
                <a:spcBef>
                  <a:spcPts val="1200"/>
                </a:spcBef>
                <a:buNone/>
              </a:pPr>
              <a:t>‹#›</a:t>
            </a:fld>
            <a:endParaRPr lang="en-US" sz="900" b="0">
              <a:solidFill>
                <a:schemeClr val="bg2"/>
              </a:solidFill>
              <a:latin typeface="+mn-lt"/>
            </a:endParaRPr>
          </a:p>
        </p:txBody>
      </p:sp>
      <p:pic>
        <p:nvPicPr>
          <p:cNvPr id="12" name="BainLogo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60000" y="6654664"/>
            <a:ext cx="1152000" cy="144000"/>
          </a:xfrm>
          <a:prstGeom prst="rect">
            <a:avLst/>
          </a:prstGeom>
        </p:spPr>
      </p:pic>
      <p:sp>
        <p:nvSpPr>
          <p:cNvPr id="8" name="CreatedFooter"/>
          <p:cNvSpPr/>
          <p:nvPr userDrawn="1"/>
        </p:nvSpPr>
        <p:spPr>
          <a:xfrm>
            <a:off x="8263033" y="6642830"/>
            <a:ext cx="1368171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 dirty="0">
                <a:solidFill>
                  <a:srgbClr val="FFFFFF"/>
                </a:solidFill>
              </a:rPr>
              <a:t>240913_Project Target_ ... _BCNv1</a:t>
            </a:r>
          </a:p>
        </p:txBody>
      </p:sp>
      <p:sp>
        <p:nvSpPr>
          <p:cNvPr id="7" name="OfficeCode"/>
          <p:cNvSpPr/>
          <p:nvPr userDrawn="1"/>
        </p:nvSpPr>
        <p:spPr>
          <a:xfrm>
            <a:off x="7348519" y="6642830"/>
            <a:ext cx="288036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>
                <a:solidFill>
                  <a:srgbClr val="FFFFFF"/>
                </a:solidFill>
              </a:rPr>
              <a:t>DBS</a:t>
            </a:r>
          </a:p>
        </p:txBody>
      </p:sp>
      <p:pic>
        <p:nvPicPr>
          <p:cNvPr id="14" name="Disclaimer"/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316547" y="6641266"/>
            <a:ext cx="6407451" cy="176799"/>
          </a:xfrm>
          <a:prstGeom prst="rect">
            <a:avLst/>
          </a:prstGeom>
        </p:spPr>
      </p:pic>
      <p:cxnSp>
        <p:nvCxnSpPr>
          <p:cNvPr id="20" name="FooterSeparatorLine"/>
          <p:cNvCxnSpPr/>
          <p:nvPr userDrawn="1"/>
        </p:nvCxnSpPr>
        <p:spPr>
          <a:xfrm>
            <a:off x="0" y="6598800"/>
            <a:ext cx="11857037" cy="0"/>
          </a:xfrm>
          <a:prstGeom prst="line">
            <a:avLst/>
          </a:prstGeom>
          <a:ln w="9525" cap="flat">
            <a:solidFill>
              <a:schemeClr val="accent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>
          <a:xfrm>
            <a:off x="334435" y="1268413"/>
            <a:ext cx="11522603" cy="5292725"/>
          </a:xfrm>
          <a:prstGeom prst="rect">
            <a:avLst/>
          </a:prstGeom>
        </p:spPr>
        <p:txBody>
          <a:bodyPr vert="horz" lIns="36000" tIns="36000" rIns="36000" bIns="3600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3" name="TitleSeparatorLine"/>
          <p:cNvCxnSpPr/>
          <p:nvPr userDrawn="1"/>
        </p:nvCxnSpPr>
        <p:spPr>
          <a:xfrm>
            <a:off x="0" y="873125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Title"/>
          <p:cNvSpPr>
            <a:spLocks noGrp="1"/>
          </p:cNvSpPr>
          <p:nvPr>
            <p:ph type="title"/>
          </p:nvPr>
        </p:nvSpPr>
        <p:spPr>
          <a:xfrm>
            <a:off x="334963" y="1"/>
            <a:ext cx="11522075" cy="876687"/>
          </a:xfrm>
          <a:prstGeom prst="rect">
            <a:avLst/>
          </a:prstGeom>
        </p:spPr>
        <p:txBody>
          <a:bodyPr vert="horz" lIns="36000" tIns="36000" rIns="36000" bIns="7200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297952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63" r:id="rId3"/>
    <p:sldLayoutId id="2147483655" r:id="rId4"/>
  </p:sldLayoutIdLst>
  <p:txStyles>
    <p:titleStyle>
      <a:lvl1pPr algn="l" defTabSz="7112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354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4988" indent="-173038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5963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2563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177800" indent="-177800" algn="l" defTabSz="711200" rtl="0" eaLnBrk="1" latinLnBrk="0" hangingPunct="1">
        <a:spcBef>
          <a:spcPts val="1200"/>
        </a:spcBef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34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12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890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668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2446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4224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6002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50" userDrawn="1">
          <p15:clr>
            <a:srgbClr val="D1D1D1"/>
          </p15:clr>
        </p15:guide>
        <p15:guide id="4" orient="horz" pos="799" userDrawn="1">
          <p15:clr>
            <a:srgbClr val="D1D1D1"/>
          </p15:clr>
        </p15:guide>
        <p15:guide id="7" orient="horz" pos="4133" userDrawn="1">
          <p15:clr>
            <a:srgbClr val="D1D1D1"/>
          </p15:clr>
        </p15:guide>
        <p15:guide id="8" pos="208" userDrawn="1">
          <p15:clr>
            <a:srgbClr val="CCCCCC"/>
          </p15:clr>
        </p15:guide>
        <p15:guide id="9" pos="7472" userDrawn="1">
          <p15:clr>
            <a:srgbClr val="CCCCCC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5.jpe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13" Type="http://schemas.openxmlformats.org/officeDocument/2006/relationships/tags" Target="../tags/tag18.xml"/><Relationship Id="rId3" Type="http://schemas.openxmlformats.org/officeDocument/2006/relationships/tags" Target="../tags/tag8.xml"/><Relationship Id="rId7" Type="http://schemas.openxmlformats.org/officeDocument/2006/relationships/tags" Target="../tags/tag12.xml"/><Relationship Id="rId12" Type="http://schemas.openxmlformats.org/officeDocument/2006/relationships/tags" Target="../tags/tag17.xml"/><Relationship Id="rId17" Type="http://schemas.openxmlformats.org/officeDocument/2006/relationships/image" Target="../media/image7.png"/><Relationship Id="rId2" Type="http://schemas.openxmlformats.org/officeDocument/2006/relationships/tags" Target="../tags/tag7.xml"/><Relationship Id="rId16" Type="http://schemas.openxmlformats.org/officeDocument/2006/relationships/image" Target="../media/image6.png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11" Type="http://schemas.openxmlformats.org/officeDocument/2006/relationships/tags" Target="../tags/tag16.xml"/><Relationship Id="rId5" Type="http://schemas.openxmlformats.org/officeDocument/2006/relationships/tags" Target="../tags/tag10.xml"/><Relationship Id="rId15" Type="http://schemas.openxmlformats.org/officeDocument/2006/relationships/notesSlide" Target="../notesSlides/notesSlide1.xml"/><Relationship Id="rId10" Type="http://schemas.openxmlformats.org/officeDocument/2006/relationships/tags" Target="../tags/tag15.xml"/><Relationship Id="rId4" Type="http://schemas.openxmlformats.org/officeDocument/2006/relationships/tags" Target="../tags/tag9.xml"/><Relationship Id="rId9" Type="http://schemas.openxmlformats.org/officeDocument/2006/relationships/tags" Target="../tags/tag14.xml"/><Relationship Id="rId1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3" Type="http://schemas.openxmlformats.org/officeDocument/2006/relationships/tags" Target="../tags/tag31.xml"/><Relationship Id="rId18" Type="http://schemas.openxmlformats.org/officeDocument/2006/relationships/tags" Target="../tags/tag36.xml"/><Relationship Id="rId26" Type="http://schemas.openxmlformats.org/officeDocument/2006/relationships/tags" Target="../tags/tag44.xml"/><Relationship Id="rId39" Type="http://schemas.openxmlformats.org/officeDocument/2006/relationships/image" Target="../media/image10.svg"/><Relationship Id="rId21" Type="http://schemas.openxmlformats.org/officeDocument/2006/relationships/tags" Target="../tags/tag39.xml"/><Relationship Id="rId34" Type="http://schemas.openxmlformats.org/officeDocument/2006/relationships/notesSlide" Target="../notesSlides/notesSlide2.xml"/><Relationship Id="rId42" Type="http://schemas.openxmlformats.org/officeDocument/2006/relationships/image" Target="../media/image13.png"/><Relationship Id="rId7" Type="http://schemas.openxmlformats.org/officeDocument/2006/relationships/tags" Target="../tags/tag25.xml"/><Relationship Id="rId2" Type="http://schemas.openxmlformats.org/officeDocument/2006/relationships/tags" Target="../tags/tag20.xml"/><Relationship Id="rId16" Type="http://schemas.openxmlformats.org/officeDocument/2006/relationships/tags" Target="../tags/tag34.xml"/><Relationship Id="rId29" Type="http://schemas.openxmlformats.org/officeDocument/2006/relationships/tags" Target="../tags/tag47.xml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1" Type="http://schemas.openxmlformats.org/officeDocument/2006/relationships/tags" Target="../tags/tag29.xml"/><Relationship Id="rId24" Type="http://schemas.openxmlformats.org/officeDocument/2006/relationships/tags" Target="../tags/tag42.xml"/><Relationship Id="rId32" Type="http://schemas.openxmlformats.org/officeDocument/2006/relationships/tags" Target="../tags/tag50.xml"/><Relationship Id="rId37" Type="http://schemas.openxmlformats.org/officeDocument/2006/relationships/image" Target="../media/image8.emf"/><Relationship Id="rId40" Type="http://schemas.openxmlformats.org/officeDocument/2006/relationships/image" Target="../media/image11.png"/><Relationship Id="rId45" Type="http://schemas.openxmlformats.org/officeDocument/2006/relationships/image" Target="../media/image16.png"/><Relationship Id="rId5" Type="http://schemas.openxmlformats.org/officeDocument/2006/relationships/tags" Target="../tags/tag23.xml"/><Relationship Id="rId15" Type="http://schemas.openxmlformats.org/officeDocument/2006/relationships/tags" Target="../tags/tag33.xml"/><Relationship Id="rId23" Type="http://schemas.openxmlformats.org/officeDocument/2006/relationships/tags" Target="../tags/tag41.xml"/><Relationship Id="rId28" Type="http://schemas.openxmlformats.org/officeDocument/2006/relationships/tags" Target="../tags/tag46.xml"/><Relationship Id="rId36" Type="http://schemas.openxmlformats.org/officeDocument/2006/relationships/image" Target="../media/image1.emf"/><Relationship Id="rId10" Type="http://schemas.openxmlformats.org/officeDocument/2006/relationships/tags" Target="../tags/tag28.xml"/><Relationship Id="rId19" Type="http://schemas.openxmlformats.org/officeDocument/2006/relationships/tags" Target="../tags/tag37.xml"/><Relationship Id="rId31" Type="http://schemas.openxmlformats.org/officeDocument/2006/relationships/tags" Target="../tags/tag49.xml"/><Relationship Id="rId44" Type="http://schemas.openxmlformats.org/officeDocument/2006/relationships/image" Target="../media/image15.png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tags" Target="../tags/tag32.xml"/><Relationship Id="rId22" Type="http://schemas.openxmlformats.org/officeDocument/2006/relationships/tags" Target="../tags/tag40.xml"/><Relationship Id="rId27" Type="http://schemas.openxmlformats.org/officeDocument/2006/relationships/tags" Target="../tags/tag45.xml"/><Relationship Id="rId30" Type="http://schemas.openxmlformats.org/officeDocument/2006/relationships/tags" Target="../tags/tag48.xml"/><Relationship Id="rId35" Type="http://schemas.openxmlformats.org/officeDocument/2006/relationships/oleObject" Target="../embeddings/oleObject3.bin"/><Relationship Id="rId43" Type="http://schemas.openxmlformats.org/officeDocument/2006/relationships/image" Target="../media/image14.png"/><Relationship Id="rId8" Type="http://schemas.openxmlformats.org/officeDocument/2006/relationships/tags" Target="../tags/tag26.xml"/><Relationship Id="rId3" Type="http://schemas.openxmlformats.org/officeDocument/2006/relationships/tags" Target="../tags/tag21.xml"/><Relationship Id="rId12" Type="http://schemas.openxmlformats.org/officeDocument/2006/relationships/tags" Target="../tags/tag30.xml"/><Relationship Id="rId17" Type="http://schemas.openxmlformats.org/officeDocument/2006/relationships/tags" Target="../tags/tag35.xml"/><Relationship Id="rId25" Type="http://schemas.openxmlformats.org/officeDocument/2006/relationships/tags" Target="../tags/tag43.xml"/><Relationship Id="rId33" Type="http://schemas.openxmlformats.org/officeDocument/2006/relationships/slideLayout" Target="../slideLayouts/slideLayout2.xml"/><Relationship Id="rId38" Type="http://schemas.openxmlformats.org/officeDocument/2006/relationships/image" Target="../media/image9.png"/><Relationship Id="rId20" Type="http://schemas.openxmlformats.org/officeDocument/2006/relationships/tags" Target="../tags/tag38.xml"/><Relationship Id="rId41" Type="http://schemas.openxmlformats.org/officeDocument/2006/relationships/image" Target="../media/image12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13" Type="http://schemas.openxmlformats.org/officeDocument/2006/relationships/image" Target="../media/image13.png"/><Relationship Id="rId3" Type="http://schemas.openxmlformats.org/officeDocument/2006/relationships/tags" Target="../tags/tag53.xml"/><Relationship Id="rId7" Type="http://schemas.openxmlformats.org/officeDocument/2006/relationships/tags" Target="../tags/tag57.xml"/><Relationship Id="rId12" Type="http://schemas.openxmlformats.org/officeDocument/2006/relationships/image" Target="../media/image17.emf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6" Type="http://schemas.openxmlformats.org/officeDocument/2006/relationships/tags" Target="../tags/tag56.xml"/><Relationship Id="rId11" Type="http://schemas.openxmlformats.org/officeDocument/2006/relationships/image" Target="../media/image1.emf"/><Relationship Id="rId5" Type="http://schemas.openxmlformats.org/officeDocument/2006/relationships/tags" Target="../tags/tag55.xml"/><Relationship Id="rId10" Type="http://schemas.openxmlformats.org/officeDocument/2006/relationships/oleObject" Target="../embeddings/oleObject4.bin"/><Relationship Id="rId4" Type="http://schemas.openxmlformats.org/officeDocument/2006/relationships/tags" Target="../tags/tag54.xml"/><Relationship Id="rId9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13" Type="http://schemas.openxmlformats.org/officeDocument/2006/relationships/image" Target="../media/image13.png"/><Relationship Id="rId3" Type="http://schemas.openxmlformats.org/officeDocument/2006/relationships/tags" Target="../tags/tag60.xml"/><Relationship Id="rId7" Type="http://schemas.openxmlformats.org/officeDocument/2006/relationships/tags" Target="../tags/tag64.xml"/><Relationship Id="rId12" Type="http://schemas.openxmlformats.org/officeDocument/2006/relationships/image" Target="../media/image18.emf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tags" Target="../tags/tag63.xml"/><Relationship Id="rId11" Type="http://schemas.openxmlformats.org/officeDocument/2006/relationships/image" Target="../media/image1.emf"/><Relationship Id="rId5" Type="http://schemas.openxmlformats.org/officeDocument/2006/relationships/tags" Target="../tags/tag62.xml"/><Relationship Id="rId10" Type="http://schemas.openxmlformats.org/officeDocument/2006/relationships/oleObject" Target="../embeddings/oleObject5.bin"/><Relationship Id="rId4" Type="http://schemas.openxmlformats.org/officeDocument/2006/relationships/tags" Target="../tags/tag61.xml"/><Relationship Id="rId9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13" Type="http://schemas.openxmlformats.org/officeDocument/2006/relationships/image" Target="../media/image13.png"/><Relationship Id="rId3" Type="http://schemas.openxmlformats.org/officeDocument/2006/relationships/tags" Target="../tags/tag67.xml"/><Relationship Id="rId7" Type="http://schemas.openxmlformats.org/officeDocument/2006/relationships/tags" Target="../tags/tag71.xml"/><Relationship Id="rId12" Type="http://schemas.openxmlformats.org/officeDocument/2006/relationships/image" Target="../media/image19.emf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6" Type="http://schemas.openxmlformats.org/officeDocument/2006/relationships/tags" Target="../tags/tag70.xml"/><Relationship Id="rId11" Type="http://schemas.openxmlformats.org/officeDocument/2006/relationships/image" Target="../media/image1.emf"/><Relationship Id="rId5" Type="http://schemas.openxmlformats.org/officeDocument/2006/relationships/tags" Target="../tags/tag69.xml"/><Relationship Id="rId10" Type="http://schemas.openxmlformats.org/officeDocument/2006/relationships/oleObject" Target="../embeddings/oleObject6.bin"/><Relationship Id="rId4" Type="http://schemas.openxmlformats.org/officeDocument/2006/relationships/tags" Target="../tags/tag68.xml"/><Relationship Id="rId9" Type="http://schemas.openxmlformats.org/officeDocument/2006/relationships/notesSlide" Target="../notesSlides/notesSlide5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13" Type="http://schemas.openxmlformats.org/officeDocument/2006/relationships/image" Target="../media/image13.png"/><Relationship Id="rId3" Type="http://schemas.openxmlformats.org/officeDocument/2006/relationships/tags" Target="../tags/tag74.xml"/><Relationship Id="rId7" Type="http://schemas.openxmlformats.org/officeDocument/2006/relationships/tags" Target="../tags/tag78.xml"/><Relationship Id="rId12" Type="http://schemas.openxmlformats.org/officeDocument/2006/relationships/image" Target="../media/image20.emf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6" Type="http://schemas.openxmlformats.org/officeDocument/2006/relationships/tags" Target="../tags/tag77.xml"/><Relationship Id="rId11" Type="http://schemas.openxmlformats.org/officeDocument/2006/relationships/image" Target="../media/image1.emf"/><Relationship Id="rId5" Type="http://schemas.openxmlformats.org/officeDocument/2006/relationships/tags" Target="../tags/tag76.xml"/><Relationship Id="rId10" Type="http://schemas.openxmlformats.org/officeDocument/2006/relationships/oleObject" Target="../embeddings/oleObject7.bin"/><Relationship Id="rId4" Type="http://schemas.openxmlformats.org/officeDocument/2006/relationships/tags" Target="../tags/tag75.xml"/><Relationship Id="rId9" Type="http://schemas.openxmlformats.org/officeDocument/2006/relationships/notesSlide" Target="../notesSlides/notesSlide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81.xml"/><Relationship Id="rId7" Type="http://schemas.openxmlformats.org/officeDocument/2006/relationships/tags" Target="../tags/tag85.xml"/><Relationship Id="rId12" Type="http://schemas.openxmlformats.org/officeDocument/2006/relationships/image" Target="../media/image13.png"/><Relationship Id="rId2" Type="http://schemas.openxmlformats.org/officeDocument/2006/relationships/tags" Target="../tags/tag80.xml"/><Relationship Id="rId1" Type="http://schemas.openxmlformats.org/officeDocument/2006/relationships/tags" Target="../tags/tag79.xml"/><Relationship Id="rId6" Type="http://schemas.openxmlformats.org/officeDocument/2006/relationships/tags" Target="../tags/tag84.xml"/><Relationship Id="rId11" Type="http://schemas.openxmlformats.org/officeDocument/2006/relationships/image" Target="../media/image21.emf"/><Relationship Id="rId5" Type="http://schemas.openxmlformats.org/officeDocument/2006/relationships/tags" Target="../tags/tag83.xml"/><Relationship Id="rId10" Type="http://schemas.openxmlformats.org/officeDocument/2006/relationships/image" Target="../media/image1.emf"/><Relationship Id="rId4" Type="http://schemas.openxmlformats.org/officeDocument/2006/relationships/tags" Target="../tags/tag82.xml"/><Relationship Id="rId9" Type="http://schemas.openxmlformats.org/officeDocument/2006/relationships/oleObject" Target="../embeddings/oleObject8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D20B36EA-A7FC-DE1C-B24A-EF2BF6BE694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854804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04" imgH="405" progId="TCLayout.ActiveDocument.1">
                  <p:embed/>
                </p:oleObj>
              </mc:Choice>
              <mc:Fallback>
                <p:oleObj name="think-cell Slide" r:id="rId5" imgW="404" imgH="40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20B36EA-A7FC-DE1C-B24A-EF2BF6BE69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6" name="btfpColumnIndicatorGroup2">
            <a:extLst>
              <a:ext uri="{FF2B5EF4-FFF2-40B4-BE49-F238E27FC236}">
                <a16:creationId xmlns:a16="http://schemas.microsoft.com/office/drawing/2014/main" id="{6737429C-6A80-42DD-A9C5-605DAAC7BBCB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28" name="btfpColumnGapBlocker907226">
              <a:extLst>
                <a:ext uri="{FF2B5EF4-FFF2-40B4-BE49-F238E27FC236}">
                  <a16:creationId xmlns:a16="http://schemas.microsoft.com/office/drawing/2014/main" id="{86365CDB-AF92-4FB0-AC20-2E7EC5D4445C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26" name="btfpColumnGapBlocker625519">
              <a:extLst>
                <a:ext uri="{FF2B5EF4-FFF2-40B4-BE49-F238E27FC236}">
                  <a16:creationId xmlns:a16="http://schemas.microsoft.com/office/drawing/2014/main" id="{64B596F3-43E7-4357-9232-FD3A9F2D37EE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4" name="btfpColumnIndicator628445">
              <a:extLst>
                <a:ext uri="{FF2B5EF4-FFF2-40B4-BE49-F238E27FC236}">
                  <a16:creationId xmlns:a16="http://schemas.microsoft.com/office/drawing/2014/main" id="{58292CE5-FBBF-46E7-99AC-169E87D22A77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btfpColumnIndicator165372">
              <a:extLst>
                <a:ext uri="{FF2B5EF4-FFF2-40B4-BE49-F238E27FC236}">
                  <a16:creationId xmlns:a16="http://schemas.microsoft.com/office/drawing/2014/main" id="{EFBE867E-DA49-4571-9FC7-9D81D3163900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5" name="btfpColumnIndicatorGroup1">
            <a:extLst>
              <a:ext uri="{FF2B5EF4-FFF2-40B4-BE49-F238E27FC236}">
                <a16:creationId xmlns:a16="http://schemas.microsoft.com/office/drawing/2014/main" id="{8708164D-489D-4299-BEF3-C0994B2DBBE5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27" name="btfpColumnGapBlocker413041">
              <a:extLst>
                <a:ext uri="{FF2B5EF4-FFF2-40B4-BE49-F238E27FC236}">
                  <a16:creationId xmlns:a16="http://schemas.microsoft.com/office/drawing/2014/main" id="{D9F784DE-D744-43D5-A6ED-8B32EA346E7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25" name="btfpColumnGapBlocker360682">
              <a:extLst>
                <a:ext uri="{FF2B5EF4-FFF2-40B4-BE49-F238E27FC236}">
                  <a16:creationId xmlns:a16="http://schemas.microsoft.com/office/drawing/2014/main" id="{570CD6EE-EDD2-41A9-BBF8-DD90FC18BB0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3" name="btfpColumnIndicator540776">
              <a:extLst>
                <a:ext uri="{FF2B5EF4-FFF2-40B4-BE49-F238E27FC236}">
                  <a16:creationId xmlns:a16="http://schemas.microsoft.com/office/drawing/2014/main" id="{DCF19698-6A1A-45BC-A6FD-2AD7454E1F6E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btfpColumnIndicator577492">
              <a:extLst>
                <a:ext uri="{FF2B5EF4-FFF2-40B4-BE49-F238E27FC236}">
                  <a16:creationId xmlns:a16="http://schemas.microsoft.com/office/drawing/2014/main" id="{7FC36FA1-2E48-44D0-AD32-CD95CBB2D02D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FBD7D053-33B8-42F5-A1D9-DB27B4FBC23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dirty="0"/>
              <a:t>Workforce Deck 4 – Workforce Analysis</a:t>
            </a:r>
          </a:p>
        </p:txBody>
      </p:sp>
      <p:pic>
        <p:nvPicPr>
          <p:cNvPr id="6" name="btfpPhotoGeneric378912">
            <a:extLst>
              <a:ext uri="{FF2B5EF4-FFF2-40B4-BE49-F238E27FC236}">
                <a16:creationId xmlns:a16="http://schemas.microsoft.com/office/drawing/2014/main" id="{980B812D-9F52-4FF3-9730-D388769EB081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586" t="24423" r="13938" b="51090"/>
          <a:stretch/>
        </p:blipFill>
        <p:spPr>
          <a:xfrm>
            <a:off x="8624595" y="3220135"/>
            <a:ext cx="3232474" cy="1469358"/>
          </a:xfrm>
          <a:prstGeom prst="rect">
            <a:avLst/>
          </a:prstGeom>
        </p:spPr>
      </p:pic>
      <p:sp>
        <p:nvSpPr>
          <p:cNvPr id="18" name="AutoShape 16">
            <a:extLst>
              <a:ext uri="{FF2B5EF4-FFF2-40B4-BE49-F238E27FC236}">
                <a16:creationId xmlns:a16="http://schemas.microsoft.com/office/drawing/2014/main" id="{3FCACF1B-91E4-431B-A1A2-99BC5D3DA9F5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4799329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btfpColumnIndicatorGroup2">
            <a:extLst>
              <a:ext uri="{FF2B5EF4-FFF2-40B4-BE49-F238E27FC236}">
                <a16:creationId xmlns:a16="http://schemas.microsoft.com/office/drawing/2014/main" id="{F59E4DE6-D761-431B-B829-13A3AC2FC185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42" name="btfpColumnGapBlocker377227">
              <a:extLst>
                <a:ext uri="{FF2B5EF4-FFF2-40B4-BE49-F238E27FC236}">
                  <a16:creationId xmlns:a16="http://schemas.microsoft.com/office/drawing/2014/main" id="{27A32DA8-783C-4F07-82C8-A876BBCA7036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40" name="btfpColumnGapBlocker991335">
              <a:extLst>
                <a:ext uri="{FF2B5EF4-FFF2-40B4-BE49-F238E27FC236}">
                  <a16:creationId xmlns:a16="http://schemas.microsoft.com/office/drawing/2014/main" id="{1AC0F5B3-15D7-4C6C-A8BB-E9378C800BBF}"/>
                </a:ext>
              </a:extLst>
            </p:cNvPr>
            <p:cNvSpPr/>
            <p:nvPr/>
          </p:nvSpPr>
          <p:spPr bwMode="gray">
            <a:xfrm>
              <a:off x="5825728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38" name="btfpColumnIndicator418121">
              <a:extLst>
                <a:ext uri="{FF2B5EF4-FFF2-40B4-BE49-F238E27FC236}">
                  <a16:creationId xmlns:a16="http://schemas.microsoft.com/office/drawing/2014/main" id="{00B558CF-D1BD-4079-866A-FA5C827B1C99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btfpColumnIndicator781458">
              <a:extLst>
                <a:ext uri="{FF2B5EF4-FFF2-40B4-BE49-F238E27FC236}">
                  <a16:creationId xmlns:a16="http://schemas.microsoft.com/office/drawing/2014/main" id="{5AC4D865-3D2B-450B-8228-149A31B8A422}"/>
                </a:ext>
              </a:extLst>
            </p:cNvPr>
            <p:cNvCxnSpPr/>
            <p:nvPr/>
          </p:nvCxnSpPr>
          <p:spPr bwMode="gray">
            <a:xfrm flipV="1">
              <a:off x="636627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btfpColumnGapBlocker512058">
              <a:extLst>
                <a:ext uri="{FF2B5EF4-FFF2-40B4-BE49-F238E27FC236}">
                  <a16:creationId xmlns:a16="http://schemas.microsoft.com/office/drawing/2014/main" id="{FBBC2971-6A03-48A0-9792-8225CAD28C49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9" name="btfpColumnIndicator961435">
              <a:extLst>
                <a:ext uri="{FF2B5EF4-FFF2-40B4-BE49-F238E27FC236}">
                  <a16:creationId xmlns:a16="http://schemas.microsoft.com/office/drawing/2014/main" id="{C4285ABA-6A91-4443-9B27-5D117690AE82}"/>
                </a:ext>
              </a:extLst>
            </p:cNvPr>
            <p:cNvCxnSpPr/>
            <p:nvPr/>
          </p:nvCxnSpPr>
          <p:spPr bwMode="gray">
            <a:xfrm flipV="1">
              <a:off x="582572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btfpColumnIndicator382946">
              <a:extLst>
                <a:ext uri="{FF2B5EF4-FFF2-40B4-BE49-F238E27FC236}">
                  <a16:creationId xmlns:a16="http://schemas.microsoft.com/office/drawing/2014/main" id="{4A049551-5ABD-4935-AC24-227625CA26B2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3" name="btfpColumnIndicatorGroup1">
            <a:extLst>
              <a:ext uri="{FF2B5EF4-FFF2-40B4-BE49-F238E27FC236}">
                <a16:creationId xmlns:a16="http://schemas.microsoft.com/office/drawing/2014/main" id="{1EF9D9E7-1693-485F-9CBD-AD63F58355A1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41" name="btfpColumnGapBlocker102321">
              <a:extLst>
                <a:ext uri="{FF2B5EF4-FFF2-40B4-BE49-F238E27FC236}">
                  <a16:creationId xmlns:a16="http://schemas.microsoft.com/office/drawing/2014/main" id="{84FE1F3A-71CE-4A29-A8B5-87F8EE446215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39" name="btfpColumnGapBlocker717987">
              <a:extLst>
                <a:ext uri="{FF2B5EF4-FFF2-40B4-BE49-F238E27FC236}">
                  <a16:creationId xmlns:a16="http://schemas.microsoft.com/office/drawing/2014/main" id="{3B3A68F6-15BC-4B93-AA7E-8AB8258ABDB0}"/>
                </a:ext>
              </a:extLst>
            </p:cNvPr>
            <p:cNvSpPr/>
            <p:nvPr/>
          </p:nvSpPr>
          <p:spPr bwMode="gray">
            <a:xfrm>
              <a:off x="5825728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34" name="btfpColumnIndicator573773">
              <a:extLst>
                <a:ext uri="{FF2B5EF4-FFF2-40B4-BE49-F238E27FC236}">
                  <a16:creationId xmlns:a16="http://schemas.microsoft.com/office/drawing/2014/main" id="{12EF1C4F-92F2-48E6-9E6B-1DDA93CECCB0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btfpColumnIndicator549751">
              <a:extLst>
                <a:ext uri="{FF2B5EF4-FFF2-40B4-BE49-F238E27FC236}">
                  <a16:creationId xmlns:a16="http://schemas.microsoft.com/office/drawing/2014/main" id="{55440FB4-3421-471B-8A9C-27F3F0D7E6C6}"/>
                </a:ext>
              </a:extLst>
            </p:cNvPr>
            <p:cNvCxnSpPr/>
            <p:nvPr/>
          </p:nvCxnSpPr>
          <p:spPr bwMode="gray">
            <a:xfrm flipV="1">
              <a:off x="636627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btfpColumnGapBlocker315186">
              <a:extLst>
                <a:ext uri="{FF2B5EF4-FFF2-40B4-BE49-F238E27FC236}">
                  <a16:creationId xmlns:a16="http://schemas.microsoft.com/office/drawing/2014/main" id="{211FD051-741E-4048-8C3F-47348F1B4FE9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8" name="btfpColumnIndicator133356">
              <a:extLst>
                <a:ext uri="{FF2B5EF4-FFF2-40B4-BE49-F238E27FC236}">
                  <a16:creationId xmlns:a16="http://schemas.microsoft.com/office/drawing/2014/main" id="{69459835-295A-4CFA-8FFB-63018E9DC1EF}"/>
                </a:ext>
              </a:extLst>
            </p:cNvPr>
            <p:cNvCxnSpPr/>
            <p:nvPr/>
          </p:nvCxnSpPr>
          <p:spPr bwMode="gray">
            <a:xfrm flipV="1">
              <a:off x="582572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btfpColumnIndicator896412">
              <a:extLst>
                <a:ext uri="{FF2B5EF4-FFF2-40B4-BE49-F238E27FC236}">
                  <a16:creationId xmlns:a16="http://schemas.microsoft.com/office/drawing/2014/main" id="{B33D3C50-145D-4490-95BB-321C30B92C1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ajor caveats and summary of count of profiles</a:t>
            </a:r>
          </a:p>
        </p:txBody>
      </p:sp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161158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>
                <a:solidFill>
                  <a:srgbClr val="FFFFFF">
                    <a:alpha val="0"/>
                  </a:srgbClr>
                </a:solidFill>
              </a:rPr>
              <a:t>overall_0_132385880523912290 columns_2_132385879797606648 6_1_132385879826180686 9_1_132385879826281331 12_1_132385880101400904 13_1_132385880293391530 19_1_132385880486859730 16_1_132385880486879682 7_1_132387664413524717 8_1_132387757057575586 </a:t>
            </a:r>
            <a:endParaRPr lang="en-US" sz="100" err="1">
              <a:solidFill>
                <a:srgbClr val="FFFFFF">
                  <a:alpha val="0"/>
                </a:srgbClr>
              </a:solidFill>
            </a:endParaRPr>
          </a:p>
        </p:txBody>
      </p:sp>
      <p:grpSp>
        <p:nvGrpSpPr>
          <p:cNvPr id="59" name="btfpColumnHeaderBox259637"/>
          <p:cNvGrpSpPr/>
          <p:nvPr>
            <p:custDataLst>
              <p:tags r:id="rId2"/>
            </p:custDataLst>
          </p:nvPr>
        </p:nvGrpSpPr>
        <p:grpSpPr>
          <a:xfrm>
            <a:off x="333119" y="1270000"/>
            <a:ext cx="5495528" cy="315913"/>
            <a:chOff x="6366272" y="1270000"/>
            <a:chExt cx="5495528" cy="315913"/>
          </a:xfrm>
        </p:grpSpPr>
        <p:sp>
          <p:nvSpPr>
            <p:cNvPr id="60" name="btfpColumnHeaderBoxText259637"/>
            <p:cNvSpPr txBox="1"/>
            <p:nvPr/>
          </p:nvSpPr>
          <p:spPr bwMode="gray">
            <a:xfrm>
              <a:off x="6366272" y="1270000"/>
              <a:ext cx="5495528" cy="31591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600" b="1">
                  <a:solidFill>
                    <a:srgbClr val="000000"/>
                  </a:solidFill>
                </a:rPr>
                <a:t>Major caveats</a:t>
              </a:r>
            </a:p>
          </p:txBody>
        </p:sp>
        <p:cxnSp>
          <p:nvCxnSpPr>
            <p:cNvPr id="61" name="btfpColumnHeaderBoxLine259637"/>
            <p:cNvCxnSpPr/>
            <p:nvPr/>
          </p:nvCxnSpPr>
          <p:spPr bwMode="gray">
            <a:xfrm>
              <a:off x="6366272" y="1585913"/>
              <a:ext cx="5495528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2" name="btfpRowHeaderBox416762"/>
          <p:cNvGrpSpPr/>
          <p:nvPr>
            <p:custDataLst>
              <p:tags r:id="rId3"/>
            </p:custDataLst>
          </p:nvPr>
        </p:nvGrpSpPr>
        <p:grpSpPr>
          <a:xfrm>
            <a:off x="333119" y="3126765"/>
            <a:ext cx="1094339" cy="626701"/>
            <a:chOff x="330200" y="1712913"/>
            <a:chExt cx="2540000" cy="972979"/>
          </a:xfrm>
        </p:grpSpPr>
        <p:sp>
          <p:nvSpPr>
            <p:cNvPr id="63" name="btfpRowHeaderBoxText416762"/>
            <p:cNvSpPr txBox="1"/>
            <p:nvPr/>
          </p:nvSpPr>
          <p:spPr bwMode="gray">
            <a:xfrm>
              <a:off x="330200" y="1712913"/>
              <a:ext cx="2540000" cy="972979"/>
            </a:xfrm>
            <a:prstGeom prst="rect">
              <a:avLst/>
            </a:prstGeom>
            <a:noFill/>
          </p:spPr>
          <p:txBody>
            <a:bodyPr vert="horz" wrap="square" lIns="36036" tIns="36036" rIns="180181" bIns="36036" rtlCol="0" anchor="t">
              <a:no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>
                  <a:solidFill>
                    <a:srgbClr val="333333"/>
                  </a:solidFill>
                </a:rPr>
                <a:t>Data sources </a:t>
              </a:r>
            </a:p>
          </p:txBody>
        </p:sp>
        <p:cxnSp>
          <p:nvCxnSpPr>
            <p:cNvPr id="64" name="btfpRowHeaderBoxLine416762"/>
            <p:cNvCxnSpPr/>
            <p:nvPr/>
          </p:nvCxnSpPr>
          <p:spPr bwMode="gray">
            <a:xfrm>
              <a:off x="2870200" y="1712913"/>
              <a:ext cx="0" cy="972979"/>
            </a:xfrm>
            <a:prstGeom prst="line">
              <a:avLst/>
            </a:prstGeom>
            <a:ln w="152400" cap="flat">
              <a:solidFill>
                <a:srgbClr val="333333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5" name="btfpRowHeaderBox416762"/>
          <p:cNvGrpSpPr/>
          <p:nvPr>
            <p:custDataLst>
              <p:tags r:id="rId4"/>
            </p:custDataLst>
          </p:nvPr>
        </p:nvGrpSpPr>
        <p:grpSpPr>
          <a:xfrm>
            <a:off x="333119" y="1785745"/>
            <a:ext cx="1094339" cy="1149920"/>
            <a:chOff x="330200" y="1751024"/>
            <a:chExt cx="2540000" cy="972979"/>
          </a:xfrm>
        </p:grpSpPr>
        <p:sp>
          <p:nvSpPr>
            <p:cNvPr id="66" name="btfpRowHeaderBoxText416762"/>
            <p:cNvSpPr txBox="1"/>
            <p:nvPr/>
          </p:nvSpPr>
          <p:spPr bwMode="gray">
            <a:xfrm>
              <a:off x="330200" y="1751024"/>
              <a:ext cx="2540000" cy="972979"/>
            </a:xfrm>
            <a:prstGeom prst="rect">
              <a:avLst/>
            </a:prstGeom>
            <a:noFill/>
          </p:spPr>
          <p:txBody>
            <a:bodyPr vert="horz" wrap="square" lIns="36036" tIns="36036" rIns="180181" bIns="36036" rtlCol="0" anchor="t">
              <a:no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>
                  <a:solidFill>
                    <a:srgbClr val="333333"/>
                  </a:solidFill>
                </a:rPr>
                <a:t>Confidence index </a:t>
              </a:r>
            </a:p>
          </p:txBody>
        </p:sp>
        <p:cxnSp>
          <p:nvCxnSpPr>
            <p:cNvPr id="67" name="btfpRowHeaderBoxLine416762"/>
            <p:cNvCxnSpPr/>
            <p:nvPr/>
          </p:nvCxnSpPr>
          <p:spPr bwMode="gray">
            <a:xfrm>
              <a:off x="2870200" y="1751024"/>
              <a:ext cx="0" cy="972979"/>
            </a:xfrm>
            <a:prstGeom prst="line">
              <a:avLst/>
            </a:prstGeom>
            <a:ln w="152400" cap="flat">
              <a:solidFill>
                <a:srgbClr val="333333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8" name="btfpRowHeaderBox416762"/>
          <p:cNvGrpSpPr/>
          <p:nvPr>
            <p:custDataLst>
              <p:tags r:id="rId5"/>
            </p:custDataLst>
          </p:nvPr>
        </p:nvGrpSpPr>
        <p:grpSpPr>
          <a:xfrm>
            <a:off x="333119" y="4031101"/>
            <a:ext cx="1094339" cy="1442309"/>
            <a:chOff x="330200" y="1652672"/>
            <a:chExt cx="2540000" cy="972979"/>
          </a:xfrm>
        </p:grpSpPr>
        <p:sp>
          <p:nvSpPr>
            <p:cNvPr id="69" name="btfpRowHeaderBoxText416762"/>
            <p:cNvSpPr txBox="1"/>
            <p:nvPr/>
          </p:nvSpPr>
          <p:spPr bwMode="gray">
            <a:xfrm>
              <a:off x="330200" y="1652672"/>
              <a:ext cx="2540000" cy="972979"/>
            </a:xfrm>
            <a:prstGeom prst="rect">
              <a:avLst/>
            </a:prstGeom>
            <a:noFill/>
          </p:spPr>
          <p:txBody>
            <a:bodyPr vert="horz" wrap="square" lIns="36036" tIns="36036" rIns="180181" bIns="36036" rtlCol="0" anchor="t">
              <a:no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>
                  <a:solidFill>
                    <a:srgbClr val="333333"/>
                  </a:solidFill>
                </a:rPr>
                <a:t>Coverage</a:t>
              </a:r>
            </a:p>
          </p:txBody>
        </p:sp>
        <p:cxnSp>
          <p:nvCxnSpPr>
            <p:cNvPr id="70" name="btfpRowHeaderBoxLine416762"/>
            <p:cNvCxnSpPr/>
            <p:nvPr/>
          </p:nvCxnSpPr>
          <p:spPr bwMode="gray">
            <a:xfrm>
              <a:off x="2870200" y="1652672"/>
              <a:ext cx="0" cy="972979"/>
            </a:xfrm>
            <a:prstGeom prst="line">
              <a:avLst/>
            </a:prstGeom>
            <a:ln w="152400" cap="flat">
              <a:solidFill>
                <a:srgbClr val="333333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1" name="btfpBulletedList463003"/>
          <p:cNvSpPr txBox="1"/>
          <p:nvPr>
            <p:custDataLst>
              <p:tags r:id="rId6"/>
            </p:custDataLst>
          </p:nvPr>
        </p:nvSpPr>
        <p:spPr bwMode="gray">
          <a:xfrm>
            <a:off x="1664108" y="3126765"/>
            <a:ext cx="4159777" cy="626701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r>
              <a:rPr lang="en-US" sz="1200"/>
              <a:t>The Aura dataset </a:t>
            </a:r>
            <a:r>
              <a:rPr lang="en-US" sz="1200" b="1"/>
              <a:t>combines several sources </a:t>
            </a:r>
            <a:r>
              <a:rPr lang="en-US" sz="1200"/>
              <a:t>(CRMs, job boards, socials, etc.) and performs entity resolution in merging overlapping data</a:t>
            </a:r>
            <a:endParaRPr lang="en-US" sz="1000"/>
          </a:p>
        </p:txBody>
      </p:sp>
      <p:sp>
        <p:nvSpPr>
          <p:cNvPr id="72" name="btfpBulletedList463003"/>
          <p:cNvSpPr txBox="1"/>
          <p:nvPr>
            <p:custDataLst>
              <p:tags r:id="rId7"/>
            </p:custDataLst>
          </p:nvPr>
        </p:nvSpPr>
        <p:spPr bwMode="gray">
          <a:xfrm>
            <a:off x="1664108" y="1785744"/>
            <a:ext cx="4167102" cy="1149921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r>
              <a:rPr lang="en-US" sz="1200"/>
              <a:t>The workforce analysis through Aura and LinkedIn provides a quick </a:t>
            </a:r>
            <a:r>
              <a:rPr lang="en-US" sz="1200" b="1"/>
              <a:t>directional answer </a:t>
            </a:r>
            <a:r>
              <a:rPr lang="en-US" sz="1200"/>
              <a:t>with medium to high confidence</a:t>
            </a:r>
          </a:p>
          <a:p>
            <a:r>
              <a:rPr lang="en-US" sz="1200"/>
              <a:t>Employee information is sourced from various data sources that </a:t>
            </a:r>
            <a:r>
              <a:rPr lang="en-US" sz="1200" b="1"/>
              <a:t>are user reported</a:t>
            </a:r>
            <a:endParaRPr lang="en-US" sz="1200"/>
          </a:p>
        </p:txBody>
      </p:sp>
      <p:sp>
        <p:nvSpPr>
          <p:cNvPr id="73" name="btfpBulletedList463003"/>
          <p:cNvSpPr txBox="1"/>
          <p:nvPr>
            <p:custDataLst>
              <p:tags r:id="rId8"/>
            </p:custDataLst>
          </p:nvPr>
        </p:nvSpPr>
        <p:spPr bwMode="gray">
          <a:xfrm>
            <a:off x="1666671" y="4031101"/>
            <a:ext cx="4164539" cy="1442309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>
              <a:spcBef>
                <a:spcPts val="600"/>
              </a:spcBef>
            </a:pPr>
            <a:r>
              <a:rPr lang="en-US" sz="1200"/>
              <a:t>For these specific set of companies operating </a:t>
            </a:r>
            <a:r>
              <a:rPr lang="en-US" sz="1200" b="1"/>
              <a:t>in the enterprise work management platform space</a:t>
            </a:r>
            <a:r>
              <a:rPr lang="en-US" sz="120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,</a:t>
            </a:r>
            <a:r>
              <a:rPr lang="en-US" sz="1200"/>
              <a:t> Aura covers ~</a:t>
            </a:r>
            <a:r>
              <a:rPr lang="en-US" sz="1200" b="1"/>
              <a:t>80% of the total profiles on LinkedIn </a:t>
            </a:r>
          </a:p>
          <a:p>
            <a:pPr>
              <a:spcBef>
                <a:spcPts val="600"/>
              </a:spcBef>
            </a:pPr>
            <a:r>
              <a:rPr lang="en-US" sz="1200"/>
              <a:t>Given that Aura and LinkedIn is extracting data from user reported sources, all fields are not consistently reported, and therefore, top lines across pages will not exactly match</a:t>
            </a:r>
          </a:p>
        </p:txBody>
      </p:sp>
      <p:grpSp>
        <p:nvGrpSpPr>
          <p:cNvPr id="74" name="btfpRowHeaderBox416762"/>
          <p:cNvGrpSpPr/>
          <p:nvPr>
            <p:custDataLst>
              <p:tags r:id="rId9"/>
            </p:custDataLst>
          </p:nvPr>
        </p:nvGrpSpPr>
        <p:grpSpPr>
          <a:xfrm>
            <a:off x="333119" y="5615443"/>
            <a:ext cx="1094339" cy="849333"/>
            <a:chOff x="330200" y="1751024"/>
            <a:chExt cx="2540000" cy="972979"/>
          </a:xfrm>
        </p:grpSpPr>
        <p:sp>
          <p:nvSpPr>
            <p:cNvPr id="78" name="btfpRowHeaderBoxText416762"/>
            <p:cNvSpPr txBox="1"/>
            <p:nvPr/>
          </p:nvSpPr>
          <p:spPr bwMode="gray">
            <a:xfrm>
              <a:off x="330200" y="1751024"/>
              <a:ext cx="2540000" cy="972979"/>
            </a:xfrm>
            <a:prstGeom prst="rect">
              <a:avLst/>
            </a:prstGeom>
            <a:noFill/>
          </p:spPr>
          <p:txBody>
            <a:bodyPr vert="horz" wrap="square" lIns="36036" tIns="36036" rIns="180181" bIns="36036" rtlCol="0" anchor="t">
              <a:no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>
                  <a:solidFill>
                    <a:srgbClr val="333333"/>
                  </a:solidFill>
                </a:rPr>
                <a:t>Data period</a:t>
              </a:r>
            </a:p>
          </p:txBody>
        </p:sp>
        <p:cxnSp>
          <p:nvCxnSpPr>
            <p:cNvPr id="79" name="btfpRowHeaderBoxLine416762"/>
            <p:cNvCxnSpPr/>
            <p:nvPr/>
          </p:nvCxnSpPr>
          <p:spPr bwMode="gray">
            <a:xfrm>
              <a:off x="2870200" y="1751024"/>
              <a:ext cx="0" cy="972979"/>
            </a:xfrm>
            <a:prstGeom prst="line">
              <a:avLst/>
            </a:prstGeom>
            <a:ln w="152400" cap="flat">
              <a:solidFill>
                <a:srgbClr val="333333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0" name="btfpBulletedList463003"/>
          <p:cNvSpPr txBox="1"/>
          <p:nvPr>
            <p:custDataLst>
              <p:tags r:id="rId10"/>
            </p:custDataLst>
          </p:nvPr>
        </p:nvSpPr>
        <p:spPr bwMode="gray">
          <a:xfrm>
            <a:off x="1666671" y="5638020"/>
            <a:ext cx="4164539" cy="442035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r>
              <a:rPr lang="en-US" sz="1200"/>
              <a:t>The </a:t>
            </a:r>
            <a:r>
              <a:rPr lang="en-US" sz="1200" b="1"/>
              <a:t>Aura dataset is updated quarterly, </a:t>
            </a:r>
            <a:r>
              <a:rPr lang="en-US" sz="1200"/>
              <a:t>and the current analysis is based on the </a:t>
            </a:r>
            <a:r>
              <a:rPr lang="en-US" sz="1200" b="1"/>
              <a:t>latest pull as of August 2024</a:t>
            </a:r>
          </a:p>
        </p:txBody>
      </p:sp>
      <p:grpSp>
        <p:nvGrpSpPr>
          <p:cNvPr id="81" name="btfpColumnHeaderBox259637"/>
          <p:cNvGrpSpPr/>
          <p:nvPr>
            <p:custDataLst>
              <p:tags r:id="rId11"/>
            </p:custDataLst>
          </p:nvPr>
        </p:nvGrpSpPr>
        <p:grpSpPr>
          <a:xfrm>
            <a:off x="6366272" y="1270000"/>
            <a:ext cx="5495528" cy="315913"/>
            <a:chOff x="6366272" y="1270000"/>
            <a:chExt cx="5495528" cy="315913"/>
          </a:xfrm>
        </p:grpSpPr>
        <p:sp>
          <p:nvSpPr>
            <p:cNvPr id="82" name="btfpColumnHeaderBoxText259637"/>
            <p:cNvSpPr txBox="1"/>
            <p:nvPr/>
          </p:nvSpPr>
          <p:spPr bwMode="gray">
            <a:xfrm>
              <a:off x="6366272" y="1270000"/>
              <a:ext cx="5495528" cy="31591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600" b="1">
                  <a:solidFill>
                    <a:srgbClr val="000000"/>
                  </a:solidFill>
                </a:rPr>
                <a:t>Summary – profile count for Aura and LinkedIn</a:t>
              </a:r>
            </a:p>
          </p:txBody>
        </p:sp>
        <p:cxnSp>
          <p:nvCxnSpPr>
            <p:cNvPr id="83" name="btfpColumnHeaderBoxLine259637"/>
            <p:cNvCxnSpPr/>
            <p:nvPr/>
          </p:nvCxnSpPr>
          <p:spPr bwMode="gray">
            <a:xfrm>
              <a:off x="6366272" y="1585913"/>
              <a:ext cx="5495528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btfpStatusSticker594423"/>
          <p:cNvGrpSpPr/>
          <p:nvPr>
            <p:custDataLst>
              <p:tags r:id="rId12"/>
            </p:custDataLst>
          </p:nvPr>
        </p:nvGrpSpPr>
        <p:grpSpPr>
          <a:xfrm>
            <a:off x="9629778" y="955344"/>
            <a:ext cx="2232022" cy="235611"/>
            <a:chOff x="9629778" y="955344"/>
            <a:chExt cx="2232022" cy="235611"/>
          </a:xfrm>
        </p:grpSpPr>
        <p:sp>
          <p:nvSpPr>
            <p:cNvPr id="5" name="btfpStatusStickerText594423"/>
            <p:cNvSpPr txBox="1"/>
            <p:nvPr/>
          </p:nvSpPr>
          <p:spPr bwMode="gray">
            <a:xfrm>
              <a:off x="9629778" y="955344"/>
              <a:ext cx="2232022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000000"/>
                  </a:solidFill>
                </a:rPr>
                <a:t>Not Exhaustive</a:t>
              </a:r>
            </a:p>
          </p:txBody>
        </p:sp>
        <p:cxnSp>
          <p:nvCxnSpPr>
            <p:cNvPr id="6" name="btfpStatusStickerLine594423"/>
            <p:cNvCxnSpPr/>
            <p:nvPr/>
          </p:nvCxnSpPr>
          <p:spPr bwMode="gray">
            <a:xfrm rot="720000">
              <a:off x="9629778" y="955344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5" name="Picture 34"/>
          <p:cNvPicPr>
            <a:picLocks noChangeAspect="1"/>
          </p:cNvPicPr>
          <p:nvPr/>
        </p:nvPicPr>
        <p:blipFill>
          <a:blip r:embed="rId16"/>
          <a:srcRect/>
          <a:stretch>
            <a:fillRect/>
          </a:stretch>
        </p:blipFill>
        <p:spPr>
          <a:xfrm>
            <a:off x="10102664" y="6340698"/>
            <a:ext cx="673111" cy="228272"/>
          </a:xfrm>
          <a:prstGeom prst="rect">
            <a:avLst/>
          </a:prstGeom>
        </p:spPr>
      </p:pic>
      <p:cxnSp>
        <p:nvCxnSpPr>
          <p:cNvPr id="36" name="Straight Connector 35"/>
          <p:cNvCxnSpPr/>
          <p:nvPr/>
        </p:nvCxnSpPr>
        <p:spPr bwMode="gray">
          <a:xfrm>
            <a:off x="10899627" y="6375367"/>
            <a:ext cx="0" cy="153030"/>
          </a:xfrm>
          <a:prstGeom prst="line">
            <a:avLst/>
          </a:prstGeom>
          <a:ln w="3175" cap="flat">
            <a:solidFill>
              <a:schemeClr val="bg1">
                <a:lumMod val="65000"/>
              </a:schemeClr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Picture 36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97246" y="6341987"/>
            <a:ext cx="888354" cy="235348"/>
          </a:xfrm>
          <a:prstGeom prst="rect">
            <a:avLst/>
          </a:prstGeom>
        </p:spPr>
      </p:pic>
      <p:graphicFrame>
        <p:nvGraphicFramePr>
          <p:cNvPr id="51" name="btfpTable330310">
            <a:extLst>
              <a:ext uri="{FF2B5EF4-FFF2-40B4-BE49-F238E27FC236}">
                <a16:creationId xmlns:a16="http://schemas.microsoft.com/office/drawing/2014/main" id="{0A90D0A8-11D5-4BEE-879F-CFC3A475B5FF}"/>
              </a:ext>
            </a:extLst>
          </p:cNvPr>
          <p:cNvGraphicFramePr>
            <a:graphicFrameLocks noGrp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728092300"/>
              </p:ext>
            </p:extLst>
          </p:nvPr>
        </p:nvGraphicFramePr>
        <p:xfrm>
          <a:off x="6347020" y="1589271"/>
          <a:ext cx="5495525" cy="4490783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434495">
                  <a:extLst>
                    <a:ext uri="{9D8B030D-6E8A-4147-A177-3AD203B41FA5}">
                      <a16:colId xmlns:a16="http://schemas.microsoft.com/office/drawing/2014/main" val="2129886444"/>
                    </a:ext>
                  </a:extLst>
                </a:gridCol>
                <a:gridCol w="1500157">
                  <a:extLst>
                    <a:ext uri="{9D8B030D-6E8A-4147-A177-3AD203B41FA5}">
                      <a16:colId xmlns:a16="http://schemas.microsoft.com/office/drawing/2014/main" val="1504051033"/>
                    </a:ext>
                  </a:extLst>
                </a:gridCol>
                <a:gridCol w="1197094">
                  <a:extLst>
                    <a:ext uri="{9D8B030D-6E8A-4147-A177-3AD203B41FA5}">
                      <a16:colId xmlns:a16="http://schemas.microsoft.com/office/drawing/2014/main" val="3034844158"/>
                    </a:ext>
                  </a:extLst>
                </a:gridCol>
                <a:gridCol w="1363779">
                  <a:extLst>
                    <a:ext uri="{9D8B030D-6E8A-4147-A177-3AD203B41FA5}">
                      <a16:colId xmlns:a16="http://schemas.microsoft.com/office/drawing/2014/main" val="1440288617"/>
                    </a:ext>
                  </a:extLst>
                </a:gridCol>
              </a:tblGrid>
              <a:tr h="983047"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1" i="0" u="none" strike="noStrike">
                          <a:solidFill>
                            <a:srgbClr val="CC0000"/>
                          </a:solidFill>
                          <a:effectLst/>
                          <a:latin typeface="Arial" panose="020B0604020202020204" pitchFamily="34" charset="0"/>
                        </a:rPr>
                        <a:t>Key companies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1" i="0" u="none" strike="noStrike">
                          <a:solidFill>
                            <a:srgbClr val="CC0000"/>
                          </a:solidFill>
                          <a:effectLst/>
                          <a:latin typeface="Arial" panose="020B0604020202020204" pitchFamily="34" charset="0"/>
                        </a:rPr>
                        <a:t># LinkedIn profiles</a:t>
                      </a:r>
                      <a:br>
                        <a:rPr lang="en-US" sz="900" b="1" i="0" u="none" strike="noStrike">
                          <a:solidFill>
                            <a:srgbClr val="CC000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en-US" sz="900" b="1" i="0" u="none" strike="noStrike">
                          <a:solidFill>
                            <a:srgbClr val="CC0000"/>
                          </a:solidFill>
                          <a:effectLst/>
                          <a:latin typeface="Arial" panose="020B0604020202020204" pitchFamily="34" charset="0"/>
                        </a:rPr>
                        <a:t>(current)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1" i="0" u="none" strike="noStrike">
                          <a:solidFill>
                            <a:srgbClr val="CC0000"/>
                          </a:solidFill>
                          <a:effectLst/>
                          <a:latin typeface="Arial" panose="020B0604020202020204" pitchFamily="34" charset="0"/>
                        </a:rPr>
                        <a:t>Aura fill rate (%)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1" i="0" u="none" strike="noStrike">
                          <a:solidFill>
                            <a:srgbClr val="CC0000"/>
                          </a:solidFill>
                          <a:effectLst/>
                          <a:latin typeface="Arial" panose="020B0604020202020204" pitchFamily="34" charset="0"/>
                        </a:rPr>
                        <a:t># Overall</a:t>
                      </a:r>
                      <a:br>
                        <a:rPr lang="en-US" sz="900" b="1" i="0" u="none" strike="noStrike">
                          <a:solidFill>
                            <a:srgbClr val="CC000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en-US" sz="900" b="1" i="0" u="none" strike="noStrike">
                          <a:solidFill>
                            <a:srgbClr val="CC0000"/>
                          </a:solidFill>
                          <a:effectLst/>
                          <a:latin typeface="Arial" panose="020B0604020202020204" pitchFamily="34" charset="0"/>
                        </a:rPr>
                        <a:t>Aura profiles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492041467"/>
                  </a:ext>
                </a:extLst>
              </a:tr>
              <a:tr h="397198"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</a:t>
                      </a:r>
                    </a:p>
                  </a:txBody>
                  <a:tcPr marL="6350" marR="6350" marT="635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</a:t>
                      </a:r>
                    </a:p>
                  </a:txBody>
                  <a:tcPr marL="6350" marR="6350" marT="635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</a:t>
                      </a:r>
                    </a:p>
                  </a:txBody>
                  <a:tcPr marL="6350" marR="6350" marT="635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=BxC</a:t>
                      </a:r>
                    </a:p>
                  </a:txBody>
                  <a:tcPr marL="6350" marR="6350" marT="635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92402270"/>
                  </a:ext>
                </a:extLst>
              </a:tr>
              <a:tr h="534515"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Target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 (Header)"/>
                        </a:rPr>
                        <a:t>4184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 (Header)"/>
                        </a:rPr>
                        <a:t>83%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 (Header)"/>
                        </a:rPr>
                        <a:t>3481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275745065"/>
                  </a:ext>
                </a:extLst>
              </a:tr>
              <a:tr h="534515"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eer 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 (Header)"/>
                        </a:rPr>
                        <a:t>250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 (Header)"/>
                        </a:rPr>
                        <a:t>91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 (Header)"/>
                        </a:rPr>
                        <a:t>228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21649433"/>
                  </a:ext>
                </a:extLst>
              </a:tr>
              <a:tr h="510377"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eer 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 (Header)"/>
                        </a:rPr>
                        <a:t>374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 (Header)"/>
                        </a:rPr>
                        <a:t>6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 (Header)"/>
                        </a:rPr>
                        <a:t>234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30146492"/>
                  </a:ext>
                </a:extLst>
              </a:tr>
              <a:tr h="510377"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eer 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 (Header)"/>
                        </a:rPr>
                        <a:t>36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 (Header)"/>
                        </a:rPr>
                        <a:t>92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 (Header)"/>
                        </a:rPr>
                        <a:t>33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960992623"/>
                  </a:ext>
                </a:extLst>
              </a:tr>
              <a:tr h="510377"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eer 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 (Header)"/>
                        </a:rPr>
                        <a:t>105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 (Header)"/>
                        </a:rPr>
                        <a:t>98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 (Header)"/>
                        </a:rPr>
                        <a:t>103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293738598"/>
                  </a:ext>
                </a:extLst>
              </a:tr>
              <a:tr h="510377"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Total (in K)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Arial (Header)"/>
                        </a:rPr>
                        <a:t>11.9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Arial (Header)"/>
                        </a:rPr>
                        <a:t>8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(Header)"/>
                        </a:rPr>
                        <a:t>9.5K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64534320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35826898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4" name="think-cell data - do not delete" hidden="1">
            <a:extLst>
              <a:ext uri="{FF2B5EF4-FFF2-40B4-BE49-F238E27FC236}">
                <a16:creationId xmlns:a16="http://schemas.microsoft.com/office/drawing/2014/main" id="{93F0492B-A78A-B489-664F-AC216335F9C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187125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5" imgW="404" imgH="405" progId="TCLayout.ActiveDocument.1">
                  <p:embed/>
                </p:oleObj>
              </mc:Choice>
              <mc:Fallback>
                <p:oleObj name="think-cell Slide" r:id="rId35" imgW="404" imgH="405" progId="TCLayout.ActiveDocument.1">
                  <p:embed/>
                  <p:pic>
                    <p:nvPicPr>
                      <p:cNvPr id="5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3F0492B-A78A-B489-664F-AC216335F9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r0lg9IPP9y8umrse/9AoLT5R0GKq+XM9pr/aTyOTf0wptcuHbHxeyqBm9svU01qeeEM1v0hpSHUgirOnAK/wuhh4R0jlrHnY+9pFyM8mIa/v+EBRT4DxCrO4MOZv053OPZGuBPBkVTM93MBe9Uwqf4aYnlMSZvsL3oxynmN4ZyHez2Gu5Besl3qxqPf4w7kkGjcfx21rtUtqz54pGW2EahJvCwJSTBgeYUe/G/Za7TK2ixHK+x3nW56q7eZo+z2won0JnoKCGwuAbm+KG95GAvJp9MB862hQs23z3qdKCjiZwGj33JaHcf7hyG9TAcfS4Q4kM7UpETKrfjCJJhZxJ/ddhWAVBiI/BwsHAOu2NO7XupYekC73SwZ3vnasUIHncp7Vyzo87WZmd52Cx1c2TT5VVkuMPUzLYVTqHPg0eXGsUeFpz7OB7SBzXxyCy3aCdIffsQeYD3aCLWJlwwKNPv2tec33KOtSB6kjrPg5Gfs5kdn9xKXrPyVPvEA9pncWdryI84Hp2NSNXLyVKpzZ/MkFRZgykPF0l0iHrj4MNzuqfDfeQMAvUoOow+GFQz6erGgc1ZY6CUcQ5UnEO08M3LTJd5AtGYrnS1c4e0fmw5BKzcgmRKK0rrM7qqb+i7DhaQHJ4tWCUyhjt8GRacpbdUmy69U1+zRLvtLUorkL0l4V00N+NUcpr2OeTt3MTX3ul1GNlib+Hug9fBRPgqVMrdxIpV4Qe7FaIT5T2+vWqTiCGTvD89NERNxYPbDxhbu59ybmUyXVa20InxFhiI0ZwgxUQZj3NJS4//fl4trdCPlE09wBA61XRi3LGv8TmWW+l/i/1q5bhEkPVLcVLghwkoCj+ensA9dU+WDnvbMJb/NWe8kZ85++OvuUHjDT0pUIoAa8eidxr1oimVbISJ0c8o4EypnYb1JkCTJdXyUMLsilWzxocp1+f+N1QNxQarDAJsBg/T0HJr1iGcQvh130XTdok4oTNVUcqbBaYY1RsTi5bXVrVNoup8t16FiEyfPo1jbVYBnz5QwHurZqZhU1+MRIxlfny+YW0nYs4bEna16QtPe9YmiNrzuuSlPCE7w7dPwBsn4BXxoKt1qZWvnQ60u26SZeY6vzU/sBSzjVr6TSookafwu8SuoyW05GhksowTM8BvKxtveUxbmKosHb74o3XrOPTm8GQOmdmJvV3uIFaS3RFuOALxmr2GlSI/ICA6YbPJJ1fwHd0PzclVVb8IszpKFkxN7dJDRxrrEsheknSRBs0CXyIwbQOFPdQCZMSEp3FO7yZIpRfgRiTTDs+CRWUQSq1yOhSXMQ22NhIHsMpQw50D3nm0YBc66J2YzZr+4pyisx98cs2UdYowe798SNwBnLr3dg4kr/NFwiqISOfWBCidfLS5jer2e3WQ5XSqb0bbNJ+CT1zTKUHTOR5QOUK0ABVk4PNYKsFBCvLZFLSdVYu4ex2qk8XRLRm/3x9uvS4sLhsGChIKpw0jQA8826mCI8gpcn/JI9qZv4yhxnvY5nq89xZvgmpJkVlhEHZCmdZjtKjDotGF9mpU3Xu2+Gsyw3/0sP11iPwDhiRqRcxYGT6XIvaD09hY7GL6pazuFMErD35cPMUErZbkFJ8/Fxlo7NvO/XNt+NXc1p/n4upWCK2vi0KPqgC5gfJkPtfsLJSgvMuJYhAAJSl7G4DZt0p5qS7BUi+Nv7hY6elDFcis9JJ3dvgT+VmVoCBiGf2JoDvxnW+qf307TSYaC/4xzCmO2R3xacPTYH+wB+Ncj/6Pv8KKhVkRzlDKMUHLffPjtzimjDExrG76L+MyCiEenoVbg4bSJj4WAB0HeciwyLH+eR18Vmr6PZdahmuPLtsfYPuN+7efY5jidrD38eTR7YVjmvnbV2WNCtOL2m10frW6YBadZT5kP+TqIPWMrw9HXmG2/hm5L0vKKTRGL/wK2/RtwQvTRKq/vXfZARzoey+1Sxv6IUmdHyXnipv0W3kWkZk+ecEY3R0Jyd+BP9LJfd1ugGdaPTYwF5jjD9ebiDcOi1CJSA/PNaxRlVfAwxaGzSERGPilYUrlphyVYkwe8K8pO13lZyw2GveZs8sZizWDtPY/TvL+xwq/1jVkqsx+rfP6fRKrk425RF+A7lVvoHAryHHIVVe4jA58LxPY4Kcad1mGqLk6x6mqqScCmUp8/eVDf8TqOBgv4h60mbkpohSTTCbFKAv/PCqjhtjCZfwxONIAd01OJsmIo51C7AJ72zDJd2oBOxBCFcGsSqaGvmXw6HZ/9iCc1FUtfiQYFU1FdoliKRy4Ryry7WP9r/sO6tHvB/P1b2Y5P+0GXQFWtSTBBAj2PzraysiNw2OqQaY8yUNNixgaCqih/1bslrqibXix4RiaKyaV0+mXffQHxU3ZDV+x8+WicE3FH/17NMJgM//rkKM3XH8OxGEkrIEoEylJYGzBR4zgkqQozCN/TdFd1t9CGBfrBCpg6w13+ifAQSEq2Abz052T3/qicjjRe81JW5y/WZpouR1swLe+KX/pEG0hWsK4f4nc9SU5AexC3BgsrzBttKdVOahMzg3R648cYO9UtKjaCD+UY4xE8oPPoIHNJgNSi9MTo71zfszFWPpFxwsju6uFJh3Dwrts5jcVHBduara6zrp+kZi+H+Wj3R+c/y5HbKHi7zhX08Wjph/8B7MKrAt9wXqzOrICOhcdoIlsoJFCT8Jp4BZtaH0hvRHB32KtjTxheBAo9r0W5KmcY1tsMgL8jv54/HjR1xPO0F07o8hfKDiMRgafKtfa6htGbIZUhLQGUFvyauF1S3g6ukAnfPf6bQWbpfLNnw7mx0teyHVDaPogeftRmoSR7LESrxp7wdPGlg60qU6pfSolEljDfODGhYt1JKHkpG4mKwwxUaOjk6Fwsywo0j3sWkpNUdyF4A/cBAk1HkzhemRSKaxQKzY6j3U8OUe6nkGvwEFoyXHM9XAzd/LcCONXHR8+RZz/esnLlxV/0ujEfpCFxrTKWDukOmm382HSdriZsObTpoa2Ooc9BahgGI4sx+riLX61UZ1DyaU3qjirLmo1Jx6jFP/oPc3BtKi+nWgimNBXodVQNm70ENdWjhFgyObFMTEMD6upAzX3EIBLCkln0h91SD6bIMPJ/VXWoQQaJUa+Q9Crz9Vj2qDIj7mgZ/wnLaVmNVBqjq54j5liCTVMCPfnUM1V65qmOQuA0rToKI/ud92lT9GFVkn5uElDz2yjnyHGiLjjVn6M/y9g2xrtzCNFtL94uc4Me+uOTEb5plQ6HhwC+zopyqr7Y2/ODtABPaFaf+sFxWrvchIgQ0q4Y6syi15zEIohAtRs1USx960R3+AcCWeSuOmT8oqdvBiCRVuuj9UdMBVhh94kbfY6h7hzw/5I3ANzdZo6fodPEfcAdD1qkTwULBb6mKWdCNnSk4ZPjX8ZUu7H2nx5OH/uUIbBBfQSqTtNqf36Q4SBo2hdTXMJkIc+Hezv19tAcpum7By6TLnrTqUKSee1xvSUETjfgSaDDE10p0teFWR4FUsnCOvTi0GAiQBY8moWUqNUAqdaBuQHvGT+99Bb5TF3XSwYNlOoqhLDi5CZVmGwdX/fAfskYLJ2zS0Vuo3hbaJ1fFIUb684KYn2FRzaDaT8QNXr2Ondx0WEVK78aPvlWHETakIfI7NK9EUQnHFLRl92axHnSH4qyudnkyYbiKVJYPB+jLxtqh0CoYDuVbeSJ6bN16eQOBAEYYxuv4evAKVORN+lRbQyB27VyUWJpJyRrejj/ouFni8TeFbSSXBDNrj8qM5pd6U0ZGLR74h2OEw9V+vGJ6C4dmHRBMC7ZMgkGblr0GXMEV7w0q2KRTd+RyTlOwf7FEdCgPyW1LoMECa+FVTin7+WH8Che1HO4AkqpxhuOSc6o3F98guec5yBA4cCYMU261Ja3bc4spgIFuZ5gEIy1xEMjbhPULvYX6wtEal2bQD+7i5ICzIvQYkASRJ7E6uPo4yJ+ILB8/KhGv4oiv+ivZ/ilPeg9ukxCxRkn0CFNa49CgZBjQwGbltZJNFaNUUGtyR6bB8b0PSSTKE7n8rYhIYvvLfcWOVAH/bbnzhYEztcn9gRqFjapwsE2CRchQ2xaT+RwrCHkbQ1a6Nff2Cz7Z7VS9wkxjywRir9xrmroufJi0MK7pdpDjm816ou2IKnuDeO7G9tPGlqqxkMy0qz7hyr6vkL+r/5NNoCrzF/CVwsP9k/lK4rav+mUdwXj20mTn2+fdtmVgqyhjI/shsDnc6HPEy1M3AUYMGiC23IEsXCW1fyFFzwcCgTPvgEMVeItkqrDx8BZUCZGd6I0Dob2RLRaj2X1B1/7OePOSWbwJnMQGChbt0c0bsQcMGGsqdErg8CeE1MM87colW4Q//5r/VFhOQnx365wFrLT6sFADne6HrW4vPOTtFX1a5O/vrPFwUQpPif2NSEpbtBwFDvsMcdN4EKJuix1/9mvLCryNWILADoe8Xo1a7Ejjns1KjE92B3Bg6XeQDWL1maN6CRtZ7Tv+lw8DvpIJoYTO7ctNlq0WI70fUzNBviU6AnXzBhJeehv9uNdJPZsLnFU/LTjPvNWuqU9+Z6/oD4TeSrIrZ+EFEK4x+TQezZDDSXzswPIZ/UlTc2eJD7my3hO2KYZ8FJGfpN2aXM4y1o0po7FfuanNraA4NApjtE6PBF7TlpLLzhAuMZrZ95TMl3D3MceWgWI/BNVT8SIWVvCSRixx0xwoEdgDB7yY3mVu4Z4/gdhJm4HYQXYww0BfBLj8YYSH0nNh43tWWye/bd7m5W6qK2O5MG218Vqhos1YAn4690VAkrlOLWgR3bAKgTlNhYbNqpps+l91kexC6cScH3DU3Yius312AJGpo1aOGqQWAJIiH7lVEBkcAWReOpo0MiXZpL5keNxMJBhaqLowi9wBirAREMjXxTYmajh+Th5OFZiFxclq9C5GFAw7lIlfnk5NRx6AM16nJj8+g722q5mxE6xJmONOykN/tjKUfgFISG+Njr9Blhx1WLkNq+P9tzns6OEeopGySe6C+7ZFBsDkXpz+lx6IHsOvn9NllzngXetkoVtn7b71jNjyl4CaJJtKbNEnTjfL3KhCJR3o+5HshkBwkPBm28F+sFfh3uUucK/TxA9Zlff01bLWB/taRJP7rdGVR+zBmmB9DhSC/MinVI+Jkbg2GuhVkalpPAm9Wwp9TMOfUXphdh+72HivuM4jAfdvMDHxYoJPPL8oVZA/PMfz09bKgJvsDgyOsjGwBaQ6efQWWIGGTcMPlwvC77elrm7dMrzE4VxWKIy7SJGQYHAdJ4AlY4z4QQX8azO+7gGnuZjdlySppMi3FmcgoeW5kSDw1f/MQov/DRoOL4VzfavLDHaF7Y8m/TsJx3e2Ep7n+t0VTtvrLwtT6mC/YuitUd6UmtLc2UUe0d/rySgD+nPCnobuP6Dc4R2/xIWqQ2ppfc2eyYyMhy3LXCKnNIZZ3TZ/ZEO3hxdWxUiaAADsec0XBm1ukTONpbDKbgQCjncdioB+oClyZ0IcWmc9PC9cjIa1ccxdvm1fTU2SOf9AbU0ASuqAXoo1C4x/DY+ljQmG8Idx6SOS1lTKUGpptTrqb0mhpMSfOZeDhtU1OCpXUUqUTGBd3qJNlYl1+tngNQYKhRElL/OdogMZQBib0Fwk25c32/conusy92Y7vm/BZWKvYW3jYu4N4Y1thixE5As1pzP2rdP5lzZibU0Lax4fpZVOqvRgeOnmUgcRMvjJTTtgX9GzvdBfGpBHauEoDpdVGgU2m+W05eMZ4vQJ7yE5yUgXqSEnwOdjFTm/PHq6cTU84jqebPk/nDqCrbJ/NGnnS4Pl584TgywiRafHkBFJKj3RQdpZhm37cfF1GTsbT+SzlVd+Gu9CJDYF0h2sAsScUpFbWB0xzr+aUWIta4+O7m9SoIhKWUoqGOojHklcB0zd2CsWwcYIxeTult9Lno6Y8aSKoxiXsXfHAZr/qJdo3NitMFazNiOPrHNTcll8QpP4iO8N/7kjSp/VyGJkmTON/08006DJx72PmVLzQ/B41sIzJ//ZevjVkIplzS9NpqrKxT9EeRd6iHMwhYITcn1PqPrw3QYJRgwwOC/uEYLgZXJ3qJDjRfWjxgypd1ENyt5PBL3jcUTGLzkRJ9DCJNFVBQ1v9IWLgw++aCiCqrhrqiQAcSgCzzBt6kuT4S2+Dkkze7spRGNXKOuD4jkMD1jn9YAJN81ls70/yrarOfHGJ4KvdDiJ4q6ztuIJq3QltpwIaU7p+/svgo8TkbrXLjs6BJHLHHGGqmO5viTf4KgMMmGpFUMuc63uc/gbdrVcbPvYSIbwXlKtI0gpjLTRp74pqVt+yyTmIfm4UEd9bZE7QBx5aEuqgJroGGsC+CrsJ4AwMrthtINoTG/V5AjDIUEJykBv/HwFtUfdj5oK6NDON7YB6nk+BXffSuqVJGjiCdMALv6AJgwByyo7deoQOGzDhWZjmedqcG8xgAG6bQrK+q2pVwtfeGlsRQsaNST71vx2A55vDBiBsrF6LJir/+93NYc1uqWlr2xLcHbb2SbFBSzgE+193mWddXvIuBZIcpMx2HLuvhGQg279/lUMNQlUFZJ91Kq2Ta6GvbU4oJeT4o3s8jVNS2+0O896Ze5Ny/+9OpdOCJe1v5Y+piMK3IHraIAf1M5aH7J7UaolG88/TVxCdRg0NV2bgPp1ZvE94ObMrciTsiQHcEOsM2hD+u+UpnUZlLCOGPuy645xHv38IXHbcp4D5bCuS8I+UBpZN21ris7r8PX8vIn5BdE0sWW/vIz7W9pCojF5Tjmd3kt0csFbaD6UnakLL9C61N39tZ88P2nmlHzo5cZMyO68zaYxLkNmPVnDvO6LYKBcW0u2RuzQqXMMyjMKrc7uKxdMFncmR2hvJawsnszYvlS0hQgA9sWlnfbgVj+03CQsbqHOumTlfMoiBYL3CkYGlnOcg84jS0+pnlIEtDokNJu5OpmYOH0QJ6/O592FuiVzPcd3clYj225Dko23mesxMTISmH8odcFsXtT2q2H7HpBHAcDDNfNRUwRP/t/Wl9kQSShNLoshlmyZyaldw9hdhjByaU5IWFEm5nBborKgc3vgW1Fyzvznj5c7Vg6Q6/bEqa51Sm+DxUoImhIW0ocUYWQuGdgZM4k7Qx1beVdJENwYX153x328RXarw43Cr4ZKqswYLOMynQmgDES6KZ9mc84z3SbhP6O7grk4jbhwLZTDoD6pCyJ/lPzMGdL8aXtT0Sh3zW3UYOycRkHlW1S2EyNfkWYVbk+8CNxG5V9iqua9q8//gcg+8GTQe4/Lzumn4vR3mm4aKqAsV31bm1l7sbI/UX+5OqkY0mwDgET2S/Yc/JJcspLv11m4BZE1ZWm565L3rpDuSiFb7hKsNv6v7MFRQXb8dA4EphcIC0RcT2b8fd0KK8J9xtjapak55eClzgz1nV7o498PcEweqLahBy7OM9Blf9kDtcqjpDrUhu+Hd2wMkte8Bya8Dp/nhYSdZO06/YynNIfhg2jXcDc/eV3vd1iWLtllJXYXNA+cFF/cAGDe4GfPfpOsXAaoD3ZKTCVa/0Wi6RFKiUeNZKwNJGRalK3ZkV9MD55h+inqlETjbkf8sPX5H7NgOA8HrIbvEelUfOiRBS1UENTdEpHQumwjgT3q8gimp2qxxZkbiuDNIA2cvu3s7AoydoSofCKtuwuaQUGjcds5eXi5E4dAhjY4+2sKN7L1HxHk/3XZaQq/UDwrEzLb6Kk7dq8LNZPMn7ZhEGNeDwqfw1h5Bd/udDGdkgqtuDwF1MCn7Jn0/ipIbmmRvG343rtYyBOcCTUuHFa/c/S6UD7zpMJYJouVM9WfynwQvo5OPGIqKiQzavgJMBbdLZDuq7FKHxa6xB3QwWOwWdRwjjTrc9r76pxisz8rLLPjFy4Z5mb5PNQBXSjCwllQ5hTWHWQFvLr3qvXn/vno42zwXVYvMcOnu2GA6sQg+gM/Q00yb/Z/WpxKFRHnLJy7aBQPYoDycn3YO+YI+xAvASiEJV5izRpDoec6NmC7ks8KS4dovrZGiNXdU18TtuWJH3rHGQfOup2qLgaLiS95kcWrPkVJ0IZiuHCjZBraDcEpRE7CUQ7DLHBqRUhVH4CBHbgw3XgRuwOvAj/mH0jxr7ivskYfgjOlLO3M7UPbbdMhTxE4dH72UCSBTjI9NXJWYHBfiMkQyRJ1lSKo5CVxGGYtmdXfqkwPwDkG5v42CtBg3EqxueZGdzEI+qphPrwCVnbERy2q4y8DBXpXu1d6l1n7Ct0riBzFaj3XK75Gdxd0N5TKXBxrIlun9Tne3w+Hxr7Wsi1xWTGY6wXLlJchllYXrBl6PTVws2EXDN8Hni8dlMbP4RoVZuqkn4xAgvX0wRSlRzAvzk68EBAJ+o+Za8cp1HgO0VFlJadnvGM9TLytuY4fLlfUajQFYh6lA5XeK6HEhDnd+7cj/ORFfwzZ5m4myCORQuYGIGbZeNoe5SoITEPxWfcFB7HcQnrrkl+NPA3Iszqs9Mzt6pTsqQC/Mxx2MZOJS24xBaIvgqaT1r3yId6wtXIqYf6e/oAIOqEODK1NW3kayRK0tW0rdznL0GsNkGD7SxMB9Msdpws8Hn3cOWHOUenjtfv3xVwROLE674qSV7Xf+4VPjukjW40JZ4DDQxQ/dQP3tbzXilBJb3qFT8NMjXLTS8W17LtSFGLvvCSyknY0ad2cJFvjV2HSCbM0oo7sfM69TDdo5gJt18m2A2+VHXNsRLB4ogh2REipXVJOvfi59OTAyBuQV04rHyMxlWcMGivRnuBDVjOb5uZ6Hx3A9/v+f+4ylUrPbKY1XP6P6eb5c3gFCS/S2xZyv7GEg/hXbsYQmdnTuoiz0VES6ZLSvV/s3cIdY2S8cTQP9chli4v5sV2cgWNpUfDsBkjRWzMc3HUS9FBXHIiiP0xoxrpkqQ8Nm26v5lO9dnvAXHbRY+HSYGHuGdT3X+cMeyMp/FsCdrne/kIZ4KfH+2q29n5xpUwp8PbJd3FMWgrJmjEyHrRfuTBZXVkWcyCVU0b7PutLxM9P7GG9mFnUYUo0eHxy+PAojzSefQqfhbrIFq6Jyc0amKb2Lac5cwk4ljy8WUB1e0SfhreQTzIZRkv8mXIZ/RA+7H2vNc9DXqqz39uJU877C8ieWbB41EaN8Hs0E7ACEhJThTmzQSkO23WLp6wOC1yzbqSETQph8ZZMLyL8jwVmBWgK34/3F+4K/bv/wEtSlvktoQ2cLgsnsJWNrBrQmHNu0BDxtQ4X4DxCUnA+IQwFaLcXqc6y3U9SDV+ni1Ho7o53D29Imn8OVXke5CO2qBgHlVGkuoe0ahkuH70rmeJdUIVyVG+YSds5gNTDFtpuQMUdxHTzhW7jOjQ3NQ78fOVGDemuIjgxy77je5TsHYsjEq4EjX/mMKkp91UqV94IBdKiaJFqy/jyvWCSAPy8tfqhJee5aFbe+kxpHYu6GGA+euPMrDsUCWDxnQkIK6SuhY1rfcAI3pJKqCXFCQGoF9qT87djXJdb4hoPFxwQPSmXWaZwnRq1v4s5k8sypH7m6CTWYmX1m6V3jxw63NH5WO7r7oec+hidvH/sbrIuuM7zy5SAUVdzSnehyvX7ioBS4OhE56WpVvKG9BH7eCFyifB7QSx9xWV19lzoF3k4u5PnAnXdhpEeb5H5G1kBjYmOIErqxG40STTPynz7Ui1fG3ddG1wkN8jkkU++/hm6bs0NWxJhoi0vh0mjWJlOMwuiOSpKixZPjxof7qhKUqVAdZn+YhnHaEZazsXRLYph+FKVuTNZPRsNYf71eOAz9inUGpoBEJf1TIuhDvVpsJ2zznxcZXOy8auJiUyAgGtzLAz7vXhFNieXIRXVzgfq3WvCG6P75bspPd3xTMWN2HN620XeZOmwKZ8lTlwepKSSVwF3XsrF3D72WODV2HUuup6Ca/6JSXE8nqmG4JegfJHpNEKsuLA+hKhkfJsvkMJcF2LwRsbNzqbHiPpeUZfqorFZ7fdTpJfMIopKi11V+VxkJZhwBDR9qyQhySRFmlq6l+RgjT6SeyyZXCOaGQh97hpH2ibiAhuHPMC5HIAqSuUfHhOhnXrzzogjeyW4e9WvDBeovBMDuUjk14J5kTj/M1FHhkPhAx1rm8nIT9dNXpp53Kiqz6sS0B10lxn+FJiwww6xVrRXTBmyipgsnXaB/S6/D7l4eDwE4V7kabN5ytzWAokwupivmSsFM20GUBcTHJtD6KAeKCNjk2ONZcN5bfr+hOuZgssxQykehsKBWOz1adgBXnvdw5Ha5mcf/gmpdmB5jsshWYwO6eYxhkAw3BhsJuCBYzpbGpGNy/cDe2UiEicYE2AmAt+dXVicmzz+jDCylTlbuLwbjVbDqb6RyH/fgqTrYYVXh/9egxygsdZN5CGl/Svh1DofAoM46M8O1BaebcOoJ4MhToHNQL0w5Mao24lhafxP9EJvNMSBnqb8lxxVgOgOBKm9jpbEjVtjv1t8HRwAcF0HZA6audNaMJo7u2Gkevw2lkvQ4k272oyCfm/3I7JYfGmkBMCESqZ5edUYHKFolnmoeJ65fomUXk20NqjLGqndyE+izvK62LgC43t3RlB7k2T4AdnzeXw1R1McYaq2Z59qF9VeyP/SgJrM07hokgdG3Ex53f0y6EbfGZv+Nd9LLiQ3idR0JhTY8s0REiDrnp/++h3bD88hCNRSIHJLCOge6tyo1Lu74MfNyi+jI4+/geN16jDbFt1CI2twJwagXAszecOu2ghJ+j02kwJ+PUWJTESfVniwEYVo1z/HpXhVahGiU6M7iSwRgO2D+FrgZa+R5XLI8Oufg8228pyyG/aDMN/3E+NSYd74OwJg9uTzNq22KWzBrZHcI0Zp5BY5kesm1kE/k+IXU4zVVkQLiCBNgpYLdIxh8pKGSau/KDHTzrJRR5tEoqqectU8Mrw7Hcljw2WbsGdqSOPJoGqjlHfsBKUmTdPPb/CBK+UKl9R6Eh3srmDuyS0EnHBvWPspEiMDUdA7CJEtnvTeYCy9+BYGXroaUmh2rG9nJu/uwXCqA3n+O8pu/7m0a9yTGh/wW3Z3iYzhs815FZzKyLoMnxICPInf15aMJiTfQsC7NPs4QiFeE2kPnn9K58vCSbImlIMdXf6bUBT6GSPbufg08ADRDquc28j7masT0lZHFQkVfg+pDGbv52eva/wWKwmZMr5xk9e5WkegHiO2CHyQKbgkT+qcHN53DgGRS70ThmiGx24+/EssieTT7smvN7737aYEf9EDXKwAuKqw2Fd4nIfqee215uR5CQCiYQZlY7vZxD5POmdelT898qMOHRMivgmEn0qtXJXpGK2LOrO3seP3XcafdfefY/RnTZqmOcRIC0SYCdXKPdzFpkn+1fOvNADS56lTZ/qJ0wh4R31xvOaEp38Vlwt3TrdnorfAGep0pM4/IuYj4gLQWdK/xElnAAgsaPMZdlDMI9glm/TW5Ijc+aO96ZTH8J5U76CeBiUfuWQ2tBdMZnvuyrvQ+wZTDJfac0hDxufjrzlV4tzuTDGFavqZhfINce+zDe9Pf6DMEpRK1zLL7q2RS1xAZ4Puiq4N8LrCJy8x9107Yq8z9Eup6RtJa/7B0e75r+q0WF9zhJljKkg0W7VqZJIOGUeu3BHknniZ7CzzCDNE0529hKKeXQn3WcUU+ALLymJSsXMZu2JQu4mMZjIDxlFZJJGlHiBXuVuD5fUdiGyH+ecpH6UGigNvxMyb/uqM2LVN7yvWwsSwiu9b5JoJODw49FuwoN2q96P1DVfZVu1SBgslg2hq1gUQM4lN9JbO1VYoQH1gyAE5a7xetu7MUqmE7D8hcM9MUbjWn0CLRUPbLXhVxb8X4mf/3ETU7palbOhrw1+yCl8v6MqxfB4iN/lNjSIH1YkPTULL4mnVTVq1n5P4ooscLeIbS+UxbarzhPxRW2ed1a2/rCZgdcvos7R7Kibth/v6jpE7+4AwkbnpL1GYqim9dIYg1vkJLdZco44yq5lyTQ8Sneg31rpoej3cXdfU6RidqCOj+fBykh8bXG+gFXEeKHC8SpWSwXJXt/QD3qAwcPXpzKSsuP4HrV2igZ1/tHuwpMaJV2qC1xiGT9AXGdiuULoHOrVAZ3H6pREFzHPCxWejdbhYVaOPQ8Pr+qDMGnMyzRjc2olfGPo+s6lywlCuV+GcJP7afpbPr50+KJ2k7QlXQazbDhtQJXyh1cZEP9RUl84E+z8zhJt0N3C+PvTb3/diM/xCZrM9qUG3GTQYaPOi/ijwM8KilvrIMzyUfEhVaWRJbNMKlGLhYT+m64/6udSf3/dJ/tWgCQlMRCqgSHuyrSvIz8nLG0ZvPRV8yssoeRNmJ+vdnDHkRlfpDSiKxXfbEoNp0XCW8NkvRwiVWcu2jPH9+YdV1ziXX8g0PteqWdaXvfqUVam4xzqrYcsXe9v7/Y9UDqncBzqQsAXqfw/yeFRs65cihXMCxEKJFnIQwnUmYnf3Ut15XZMsbGrldYNfSxXr70YtljLx1CKoeGpYungwfp5Bujsa6MyNGzrZFaORr5S42oQAyghfuhh6WsCTso9RN+71zGQMzuOtUYwQBP9wj+gY/wJeHvjU7IH2GLtwKwDYN+Y+6ewdI9izHrYs/sSsdPcIGkCpj8b3Xxi3EdzvMrmLGue6GwxE/9s5GYW5ks9AKHjE6yUOpNiae1W9nV1tZ56C4ihOpp6lx68h0djtd3xjZZ8TT5USLoZKgnHTVlw4XUrf+omleEDGwsHs+s0eLIYg3Rah8Avzew3gfml+C6qIB0DRZGwWIbVXJCT0v8ygmcgZQz4HUqYBi1k2/A6ZrMBdRBOoRuokrEoQoU9Y+wZIz0EmrgJ4btzJwy78t0cvgQUpgkKhi6VWK943nahzST6spTXSvbxPSd0KlK2vdP+GxJ/oTuRPxUeIhB/eRnxbOzAv1rVx0C2niFOIxasrR5oCzsxcIYRMtK76k1EEnsZ1x5uTRzb2P0YhcWdAoIRDKo+dXeivvKm6oxCwKdC8thb+i1YryFwXmXRFBAME4WXa5qc2tKoZ2+ypNzYeIJZoM6Iau9l5qUTf3liwjvBjP26wuqFdh9C35hUbeOfau9KAlG18j8zNV7g0qYu7E1aMfpkkLp2V+XhkL0T2XW5CZg9V1TnUdckzvOkzci6zCjMvqr5N3fWqXNs3IEkqfeNSgMRR/VHQXbJx5q3JXI2QWyuF7Ca62q9YQzTVtPCiX/NjvhizzQHw3kPlbo3M50/LXgv9JVqQz5aMdkZTzg9lvL9qrLDhelSyudWPDL0jpznQB0v25/bUMFLCqjnnaQ8oq0y6JUwqJp4DfIRRfbG3WYELxtucJNV270ASFAaRVLIF3Ka4GxVjf4wklAzMN+k+A97d13zmRgJQVX5DUjKwrfK4xzuesFjDfpn6YyzRXYGR8m8UKM0Cwd3HDWhDq5JG2Id+84EEg/ZCCxrapbkKfTUldbGR8WsE0731jV4ch35mc1ji8I9+4CkQZgRmQQqV/fM2GK0xdVW1Cke92fmq3JUCdTjijjnIuuw8ijMPTubJ94p8/t/CudBvLkrVfcD1YtSb5Px82rQq3CCdAAFDEyOLTpbjj32UOT4EbVuURj2F2S/T+5JeGVMqDBiwhwUGU65JSPzjyfoOfbF7Zmd2uKWppbao6J/sZz5gG60dRd9cYIOc3cz4Bj0bidvQxljB97m4oNINvZh/olpT9z0K/yatRdtOwpmh9tSSO0kYX2FiwPqYaqeVwk+/B6ZxJsUfvJSJxUSjfWb5fo3rEOBWO8mFrgit1BhSs9I6Bhv5jXa2m07htC8C9EU4nu3w5OmlZcY6l1Lj/9zx4SDZqZ17FypKgBt9l3oAh2/nvqfRS3eCdw+6dTjjl0vVp5RERWcGxJfakEs55lL/+7gt3HhTyab2vrTnPn6YaHM3Mfu5L4YJjdhPzmjWldtxgNZwWY5WOP6tTQAURjCpqpm5/StG0dUrH1gcK0K++khhCr5njBVDInddJOp5d/fh36/wQDM+4MaV+zabc7qn2kLVdIRvlKB9M7Gg+F9N8oB2HeRB4Mi5NPrJUYKQtSp7XR3pop/g1fcyInmLu3M9ja4w5A3DuKm1j05+Fdyx7911GnUUQHmzYxib3MvH2WGo00+w90O+bph8vjTfe4fQHT2MbHThgMJaTWO3wV+7fr3LGXaOy4DNEfxNFn5Z4VnOAQ+h3WSi7DSRnQ+TcrgM8Q5F+GV4z7HaXJBWC3gXVgCbl49RdNTWlzqub0hoQjJS+wdU0R8UGwyzlP1ABdx67FJXDLYK85oFoYQgAPs1Hamnr6zHIYv3ytwUdkSJ8+pJHIE9qcahJ4pOOs8jCx0++2ymHc1ypIl+VRlLpLqLl7+LSv/VGNQbBb6VHCKfj1xeeA89B3ZJkm412biQ6EqCql+kWQbJ9mVVMH9+38Hd5OJ9dF3Ovq4n6TF9R54vdHIbPVv1JFwL2EH/UPVWZUWOuFShOg/fdvAVTQ+Milb9+iRLWJjyvB2xkdwNLzb3XtZKNimqR9+29edNC6br3HSvQ6h1fluwM2QBuISaEFEll9wh0KH4gs1jGPnkttZdz2z4o+bO0iWukqeTV3HNT8SRdOOQ/5djNAnlEgNKU1mbJBOKLupHBx2k2/5cwoMcPSIl5k7U3IlGp7vqFcUlBaoGP1acNtlRVBrY7Rzn/pmprfi/IPWARCue+hKMnwRaDod8QaPMZj32Kp0b2ckwjtqHFT/rvUqsWXWMIg3yB2Dk/OE/Vq0VlkpkutJoWGmbcR0KqzFPN2G/uN/oG2b6B0bkVo+Ka/YMqqrjEIIP7rGzIpPqFseczCTo0VFCp8m62QP+dXMzPilcjl1epLfniJZfVLyrHSX1t8/EOREoBevrY4E65xMWmUYkndsSAxApIIRfQdEuKMyj2L49RBeBxBzBdLSeaMggsThC5RPrCtZn6F3mWimJcNMLa1nmffuH4msI+xkWKmzqHyLGZcM2PHAMK5C55xlNwnWftid+si8g4cIu6BBdlN5bQ6/VIz3T8HMjyzoF537wHOQa3fczyxuXElkeZHnF7d+1y4O/Nx/ONS4hI79/5HY/Nd1/+XIRSmPQtX8I340E743UuiamLqmH3UPV/8Vc2KdaSiQ7xIEwQ0UPz6OOrSeKhkutbm+Ts2+u2Y18anLnOcdCBL/9ARRD/HMgDMDxSh0wCq1FISZYo9W4wGGdjhWMOY+Nu/jvWqVuSWvJJAZLmQv/QXRUizCZG7tpK5A1pC/C5fGBjLmZOUGIQXU2jtmWtk7eqR68vuhG+kc4oEX7WpgaaWLGeOn2IxZ0VaBN8LCg8Lv2+9KGdRgUeHGpUvaWzugaXuCe2HP7BOxjvWZb+tgjiMV/YpE4riqss+GCPhDkfw0GfuxDlJueEbGFDQaaV6RGhKP5HdrHYnWEzy3vHKeJwy47yvhDw93ucJQb5XD41Ciz5uRl5c1ocNOuoQrPG9nhelS8GIZEfHUMDL1qmgj7jr59bukdo7XW3tGOQNKLhpsiPSbPQZJDd2lRPlskYMQkjcCoOPO6N6ssdAEazZCWJBLxj30IdiVCkcBjqXh9MUyxWhDQzqPmoHb0UssBaOkxxr4FSkUmS7X1ECmyTO7olcs2HegWZBQGdYH3QDcnogqUhyDPt0xSbc0BOJ2IrS4BVV/rwuobO5Z0V3PBx05GXIeuG4Y644aN5R4CiCi2+j42nJ7RQehqrxiyfLczFYgfJNbkfQxyQxQU0mQ6hOIRhsiT0SUbWe/bYU5Z0dYotdQ4J/O8JOxcUCnwutc/or4GsaMnuU8+yi9ftqYKnLBFgm5TSRk3V7HpDbidDDQ2zjP9CmaM5V0JvbmlzOR1OFV4kd5GrXVRDegw+/pIeYYhj5/7RHfMfVxTLGKIRnQ3mdBE0wIP8xHC0kcAowrMHvx98CdcCPniKmIt+wagW76CIwtWeuqQkPOB333+UqnnaM8Zms/6sOtnM0NeLC8YtLP0kGk5sl2tF/5tlCItMk9/OcukBeGna3bAB1lvMiWidJ1WSp64rtSWXdGCDePMJT874mNpHkiuivC2lJ9YBQOdhxrif9EmFxmAskZ+glS4RxAetTXofrC9Kfw7M07qbkBeOmdPpAozfWOFAO1VBiTLFWB7lIqhIYQAH1Ove+iIBUmLCQnCH8QPkQa03BAvjEv7eY8Z4R2FSqXgqHxitKRfza+4/gIyw7qbmIcSyDeaKBiORFQZFj2GSPMUTOfdpXbcBczmiwAPyljAUrh93zzcANOTRFHCubneQF5rm0TMGcCjTe3nYqVnOG0v3IoCr7VkQwETS6VePhkjDnwiJ/soYZQmCXffPyO8NGQ3bbRjCX21UxmnbAVpgh5BPOdy4XuF7S963SKFrRXzLGTlBjyH8Mjun8HjROQs4JAXYUa1t2xWdNLW17+oz5L5OdWUPHWwOfN2oFSugznZZs+oDvvv+pTEY/P6FbforOysuFhS4H/JPsloTiWkyjpiBmrQ8XXUCygi7AmieXDODHrw1DbHXGPWuWJnVAjUGH9jkbKURggetHwpTpjkmRlJIZMhvpBstZZ/pqTibSuvwbY156kZGYAh5M7POYDi+pS9AkrAmnQhCrLARNfEnYNxk8vCJH8uAaeApR6DXMpGIaD1WlqfMt52+UR5lSb3xkdEPYvIm7KidPsN5UdjJRLFzkAUo7bWEpgTeBL81vJcmXPLvpgoVIyAu32xQTNkfWh5QZXlKm27Z3klv54Zjbo9Vc8iOb68EEYN12iiGla0WRgl27BV5wVaRFBLIz8cjfbZtp24WsMZ/W/23Ph7e1BDFoyOvZVf9BoLDGQ4+LMN4PzmtvbNzrbWSJaznxYFQz2ya2W3tjAV4Qn02ab1VSJMrUsg8z+6vh216pqZ6JZ1QvZ0T1WNvosn2k2vwPc/+NaBOET9mA/TXpPL83PQCZ4dK+DN9ZRNSbd20CH26Xne39owxICjqkSpIi1cku09Ym8WrL8y8DVvU5SNtVAqUh6nI0vap1z90JDSkPSyZeG7Gp0VPsAUuZq67W0dxma715B1+oJryIX1zE4FpwsJ1QbvL9AeSeo/dcfn0Zpl/ZyJya3QtkRvPlGkrmhrX9XFgBSb6Bp6pqiQnXeoWIKCaUhwlYdeOc1Mj413G6NrgApQHjy8sg3Loqgg9ravhgmF/K17kAnXGGFnbHNfXsMqgpgAO4Y3NskuLOcQ3eNkQeCOR2yL/eYVcwQr67NSMdZ2hJ02CuK2i34ejTrnwQruXu76NNTN3TDBs6DVVedkccn+rwZ3CGqSmC0Pb54A234gvydulCQg1dYhTcBHynI1BJ8ed+alVmSqHClPBhoF+in5B08BHEXy4bYAYMIUz+NH1owGJAKkLrjOrLKj/JZSlgPUXnN5cP6kF/2SXNisjDGyZKgJ0czwvq5SSRdq0M/fFqFnN9I+BARvvzILCP+8896MYdX6abbDXnZrOUwzDOTl6TZXe4D6xSD6HMjDVsaEqUSK3+1Kj9xmMU3tveRaStfHAh04NJIVrGZfrfqA187CLcFB0AuX2HtadrIOORbRQKF5yzUfwtr7/JslgH3aAV+c5Kn197m8gv3Ut2P3vGN0AjNPTTuAn1gs4qJdw2xQEh+beqLbMlN93eodUvSU0vcMeMzvVFg9lmz0gn9kUnqRiQyVf+07mLWz+riHV0qjw+sUV7pprGywNccgrjTxZ6Pcc4OfliNzYw/kElv4VSLMJ4NuXHfpRklqIGBWs73kdjMIq4xj6lh80He5G5ndwXnM0gqa605z6Sp9JJmH572f7Bt0klbW1p+G2L/ckxh9OvZSedvYOeqEadoVvNyhIKk+YUFS+AsUudvy2bK9WI24qPTfM2K+r35i7KsQ1A+qp5ArJisyshCbZFnx04klEqTXRsvLuZKFniscxtLldV4p3H1P14ewuesMj5GDNp/KlDOv/pNO3qMFGUQLI9727XJzE21Qh7lmGzPR7iJH0EEY9fHdHMdEh+r7akPXgkBChFybOsqZ11QfjgGrTu36OSg+O3s9Th/AXofqF27gpFfpne/TI9hShcCSpAW5jj6lp6+Cf99zvUY2OOiz3xMDCiKg5wAOrKm0gYg6cs+BcfC9+7Ob5oF84mj3/U4RUSbnRNWjfRqsOTMD3x/yHSRDEUjzGOas1bpsNv7APHdXPFThrv4egqLRk7G24bf19y2BpzFbO9tVb+VwC9tItawfIF370PSrLXKxdeCDUzTeMmN+E3ZTP3N0GoHDWPY0z8Y6ZNB2rd9leea5szK3MFc/ieMR+C2Zz1ISKqEN3qvUx+KUQptwf9AgDZYRUPo34CIi9qR/i4fzSLDllpwQDJYGo5wUXOyD52/RQOHkK8sT1F7NTvIBPIhe6f+VWwNyuQX6TS0dxwX5tEql31TwtKcDikzUFsqQtuOtsvMrIyVZWvvJXSwhfTqpje+zrj74LweW3xbsKKxdcPTzMTsKJReN6aJLNfbezFCI222JUGZejx0h8n0LygW8YQpUH6cwjMBU2VoSleIGHk7kYKe1x1d+gzfckuW8OmV8I5dobfUXdF53BEgxBWMBIsa9gpOWPHXrlRZdWT16o120KpKK8cUaSUX48KcnswH4qbKdJ4fiWHPs7AEtZmlz5XdyXBuGR3FBAewl2hsT4mCJFpVix2adm1dPH6EJ9rJbCt3I2ZhnPmEPSm8zZrml9/RxFtgUffAbGLRY8hbaSyxS4mHEzg+P1Y8Hni/wEwljFe2HZ8/oAzoLUWXIajabILAjpxWQIqb9An1spXzYKohLt1sRG/AKP7Lvs2pceFQ3FwWbr6r1iZjIth5ff+EJiTdNQ0XDzxQnF7A9WQ6dCcOZwtXNd/SeFS5VGqnbgS1w+TBYNYw6oiRR2ykfLIWMn7VPP3aIFD3ZB7J+FE0H8MaZlpwPLYjXZZLT3xpArUqE0y1V5wD/w7tMyBAgvTgMnR1VsPZBlootA5XF1SMQ7Xfq+Lf4X5eAeoAEou+WbPWENu/Y0spt70lyBKN6wxEkBfJGEU2mtDBiDFLdx4mkLqgakmoE4sk8hcqJKz+czd9Fps/Hydc92AV2WaylDK8Kt7zfHIIotnvug9BNdQFc/r+XBE6v+Hay2wNetpT0ea6sAHjX2URfEuZ3YTPpSS6KKLABptR0I6/vy5r86clEv1h4zi258u8D0kiCbhEvg9J3EleKPMHidLEfftDu/7fm9vYRjvzG+zI1+dOfLwuZrrcFr7FzwgBADNurjCWtU4O23maQMyk/Ehl1DKQMqVfqaPiilznXS2RfNhjZWeKapuZeBIGJ0y6avBuFmqrmQo+YO+o0d2PjmaK2/DTxNoFICsfny+7qsvtT8rRXE+bbbVuvKZ1C1beJ0V70hrsdkfNIGp5eO1td4D0AFCGjz8umIDyfgWizyRn85yuU0M34IYeXwUkEdaYzcsrsCFtjd4d+04/lQP18ne9C4nHYunm62cpxZAExWB3GBTyfLVrXKZt6Zzq6up17yQUu4YBbJqr58uEC0Yha/q2pgbm5YEEls7XzsmckZBaaVBfGgJ5f/JFOwRFV+f9QPnHu6qe5UOEIDodSKWXk/wP0tVj1LU7IIBOu9EU/DEl/3HIudjEARQ3aoIRV1Popa1X6X2uP5sJodf/PJEx6m2UaoKwUMHuwxyYT3guE8W2my32tf9z7IkR99pdjdrIKu5a8Fs9Ldu4Eo5qBwzo2W4yHus5VqWBfLb875cjTU8G6G6zDM8Tbdrq3I1Na+dq9NaEHhQzMQILIv9N5LmMZbyry+PNO+MQlxODBaci6l/8/IZHHWqYHYzHzv03zmIuXlYQgKDEs+8sXFq/1k4RGdNlkOQcNHYXWzVUdB4B/60LgGbKPktFOTByYjyRCjxt5vMMHX8/vyaPAFMR2CUWu7iu352hVgYdf17TUROpGaD/yIasaHmh/XRLMXyVQTIONsURjbtX0PrZtBUxTxnvOdzme4+4BuWBKBx14T0a8LaqhK3o47npfbrk4b+4DtK4txhT7uAh9LO0DlPJUECTGRzeFduiYdkQEAUAjRE0exvckt+ytBxomF/9m7XgVCyBZoYy63x5NRLMmlgXK869PRhVNAXDbbPR0hm7aYqOvDd8eSDDbZWQdN495r6zew7G3rGGSn9509148fmaotm+p8hBdYa5dDwkBGlsPQXJS2dIB1VPFtlOj5eBZzLTcjqUuG8TyB1J9iCDz9hVQKP8QiMGceBKTSQJ+r+b+pinG0oZBaK9mUVp9EdaZWLoz4v3ntJEkJWIGpa8ntFze3LqP5k/G3UaCBRVPfDAnx1se+GMpcFXtRvONWd6iXqlUCDHswTKtkRfwAx8kbFqI0QRvhjvzKIsTX012YQPL+gEcYTIWhf0l15rzAPVTcXjD1bbLMyo2TRQB8IeNsBl88cfIek+PnfdfF63juCl1Pb/oeinfSas7dr1hi+cq/gZDGERKLHYZlkG+95ahHao1CmXQnOhq8Ha00rUIRAXA2yT0dVBsN+GWmehOzvi7gHekHCHPFRNJ3M6CvM6jJ+AFP3YJHPsNX1bzOfcyfUKUB79SqExcok8qd3vvFn3wWZSShubfnCYbOZBkEhT8hwYHE+k6szS9LzIMGfcIXsNE6JYxtjTociPjAfQgP4b8iNlJ44wUf6XGf0svyWX5Wh7BfM+o9gwY8IxU435o3qcpHIRQZEgaecIJtmp3HVSAf+/9CUXQEw5YbLnRrUMIobyQJKfXxrK10al4m/6js42+ei8ojAzR+OYyxpoUBO8ZDkOuxBdavLL6mPAWa8aJso4jMB3wzqG8BjitX1ZJ39YfvdjwsVdiIs2mumn7mTTi8s7bGI7gx552GUvKfuRYxfl0/KbheFako8FnabYk/Hh6I3X/Fqzcn/7eL/G6NOdP9/NpTGR2VFf9d7b4nkDiyvEcqTwzE7gMehsP0h+e9uxkqXSFJDRiwvOhFH5QRw6NQEGWyLwOl8mpzhsA9fY1//Hnm7yzHZkugyv2PbzXbJJGdPiNiFjSVjtCPcX2nXQL3Pxk3+w/iznpd3JyX1q8uO4YFnaM8ScBRqicmiOSTLh5H+nAkgWZgFg9qOOomxJVrEBfOTNgz8+IRs5Ti+tVktlAScHnPaWFAq77LkbPC2SLVuC9n8F4l+8STW3v3HhZgJkz4G3bHm9YISD7BYC7f9eB6OBGgAhohFF6F4D6jcUnVfBqUMm/lTyFMFzpXviKAKAGRVcEIrrUwMu3u4PQlABEHBvRmIUaRJydAFxpzk8ettYH4tMX0AmhHCWCbcAjbxSON/oG/z48xZvLNlG7tlFMrDbuE8bKzAl7eXiayYd3DriyP1caYbY1gE2p88d5P/uN8fqVFRHmvoNs7Z2o330LMEwGsSYqQD55lD+4nOXa6mZBfjHfSshUQTBCNpDx5OFzS0P0zJAy7B3EvhKWndl9qiU+7ApcG6NevY+2Be9B8Gbikh7GwyXCt24dLSEWsCi0CLFEzGj6WwbUBaMTCqlfP+Ce3vnZVymjr4fO6bIRMF6LxtMIm6PtWNw4MoMSFMyEwdu3bQRHDxoeAcrnqHS0vwRdOPdxLaNjvcCX0zwZ0/8WbkoeFyDrp1ycPbt+kvU1A8eCDWV0b9RP81cs+gf9x06Cayd78jq/p06sxK0ctd4Uz6GoMhNX4Y1lrh0d5vGvDEmpEq5dlT4dEtL0zO4bxpHYoj+su3brSztW/rH83zK5T1qV2aZ98ftVxS908gzFuVHsUnf1sUcTAYviNK7KOrqhQLBsylmPtTbDaqfrEldyhn1ZpApzEED//6S0rgM2YIIvQ+4qbpeuWDokBy3yP07r8PuW0ANGHn5rG9Gyr0dBJO+9t/XNf9slw+a/CPiTRXxMaU0jgPOjZMr9Si8ptVK3gQakT5Xg4fRNOFIvEgeo5M5z0P3xgIWfh29Jzbd0Nbjs1hbhqWNVwgyZ3vV1dOT0FBmUagGOY2d6F/HRGmq6LfCB8vNMR6CmU2ojmw4wCGHddLgOojll+oa0wGW07SdILnWbegc1TN2xO7Q/WpoUANiXvMK4o0WZyVL9j07LKHhBPZ4zQcxCvdLPkGLucsbUqwgNRUqndMnJbu6ftQ13FYSaVu+t5Vc975NHw4+xkana+UDYoXIn6+/gjlGXiDSn0UU7HpF+Vl0ukrsLvS7M6c+7FRwla4zfHBMfwux/fwCkrwS3uzDePvy96ahm4N6oNUzrJ1yGSBzr/PINXfFcd8651xu2blLxDAZ5JSSy+uHaoJksxbkQEINeqoENESTaFqORd+bRqfPGUXsrS2S0oNYun6AVPLnb+v2g6RmbH8rkuBw3hZek5NeyFMim0z7rcE8J7JRanEAptIPa8OR3VxIMz/5pGQzmlGqQKj+AhjykmYonTcq3QqPD2g9l4vnd1+AGBf4NkafLZ2kborcPAVBaVPdVjfHkHvr2shrliJNRzcRO8B3uxoaT4TNAAfAL9/ryhKWAnBihRKUfwD4vul9iTMROQn9JYZTqqtn9UiqveQLeezH20pRnR6TiuFRqKLtJ+gAdLdV8XBbtvOJ5i1F81himIwVNCaYBsg7thvBmcm6YdhCAS4mZcIuaXqUa/KXcYuCTfThH8c/5g35R/KHL1BD4CVpLlE/+JJj55r5T2JVvOQ7r1CYXdthFYDHBwIfF2yKGSEO0G+V5wOVr4RPzCuWli0AANvofDqiPe30T1Xeqt0LZsMSq+rrs3SNwEv8kI7uXyd+UvcZoI+ccl1BpCrKC5d9YUkShPUeLtKmNlkrjMSCDp6EtEUCFKJTA4GcFaK07p41FmJomPoMMiJIjfZOCK0N2mPrYjuqEbRD0dhQpp4jgC1Z+wGX69RonncvYUD7aPHHCNZO+lh6Zd1iLTm62idQXP05KLG7vGBs4pnC+mm5Fc+Y91Vct8VUb8uiAl5EJGpc3gq/mmCfOuxwdl/wcWbPe1OC8O256kAAC+cIqI9s9/fJ1R0r+f34PzcXxFWzEDGLlF9eWSEDo8F5lS0iirW4YpHIH6/iEF9vq1+FBJz5B1hgLjFWnFmte46l9r3HXExdSSCnBr/dNgGRJCgs0sTbhf7FLT94lGdyJY0pOGpo4UaRk+HKCeKq6RMpigN1RHsE6st4POlHulav6rxDfXzBK8fhAaWo8OM9+al/Arp7+OZgyOGWKQmzbnZFb2zWI+h/Aowqc6Nk/Y7SiqHvdzBqLR1owXyOVIUy9eU5m9A3IWDN8Ljjq7m4arDtZoFxfboODGgpvswdfKC4Tf6QBGr7a4mxNgx97qIZvx5g5+da4b7iPrybIvsGq5xhj1dsjblzI26Nv7jnL5wDaSfkGF28ED2rVsiMscVGbTSfr6bqMKhPvQ1+V/4IHq/bbISabzFgiB4xwk0uRVfgp+GWE31kzC0aITvngm914MLiH3vULjc3Ucx2jqshBciikHXN9vmjZJY+QJvkuXJKGlCRoYmIrJVjWUwQSWWmZ/9fVeFu4youwbZc45ttXRkQPrveUJMCtPPhPc/3GsPH6tZsqxoxdo5K2aiBg8Coz0aatHjSmzGQ0E9G+XJ80kqR0NbKjSTzNtDSYSfpj6V1dOU3karGj02GuhRu8da27v8yHlxgmZ9073+kCqEckZVYvs//NkytTe/s2EyIjqSMrX5Yi3rW5On9iMc1/esgE6VMsq8w9ZWd9zhLczOSaA43UwfQuk2Mz4GUXYOy7xuEJ64xw+FxVFVbebrLi6Ug5GlAqwrdufkIWBHx2dUQHHmjoxDMEiG7jpxbSv2SD5UytPt7gNuxBfk+myAcp88mRKSUvPs95v3tIIKwJo8vyu2llL9SzoTP8N+nkZzbp9ZaG0rU6UubPe9jsKG3SYAqZgYm5ZQ6bUs92kdEvA50oEVtLeGquY/IWKxI0K1Woo7nRIpyOLw/CgV5RSwFiUwrOzkIdgz/vmES2iz5FXIVJQnVM32uv/YE6C3dTXj/XiBNAj5DLOFipAx2wrvIQcw3oge6rV2/4bME0umYgk/sUeLKhL8kTFr80cQ8PGa6/HmtlWCUTHBNQbw4YOiK5mMkcO2la4A2jPTn2R2BkQApVed31EkYBVoUmYLAFNNXN43ekA60vHUiiMEGWM9xKs99j42nyksHni86qQyMST0BH7qfqPSgHedeGPoA48SPdOjgRaOQPd4ZaEbSh52cVOcBgzHvU6FGVooer9SNNMQNWD8aptRfR3I4W8R4gbN8ZY2iH6ysYM2EWn+kE4z/t9/OprQ1o6BuWw/au8dkRoCXyO8LB6APdN9MTmuFhrpt566+RpeU9aUA7TlNk2Hj8TLO1fDvXMfgQj9UZv/D8tCsVb/QRi6zgvPvMjkLTYwN5xu3VhiojVYKnyViBj190mjfyhSoCXZm1xMPancZmX43iY/6LL9+ScILw7IY352IfFO2rqYQ5CkTNb0gyKZWw9XLXoyyIr8nWILZBnYuK/CnpWbZqWokqUIQd5ToWUvREqNqYMYtp5sbEm1S0AfWSuXGRFH4gRlIIkvO1DzzoEEZJ+2BlHA5oxFoDm/I1ySF3oV6xGNhY6kGhm6ar0fmXEZMqnw1hm1mh+PyLT067pVoFrtiEUlaTvaBmM1bc+aivNyYbpz6J+sH2iMWQkaxHkKl8KYBlfqRcEYCHfymbxmfGn6aexhkr3m+mSTzHl3q8FBgArrw0vqjVIypfgZ86j8PKbNQyj1xX61r+oRKrLknVsnsbtbHrkF5sj3v5c5bDsFWuOgM2V2WNFXE5lXdi8N5nedjYVpiRAJVzKk0xjzlX/2p++wYrMKskfg28LyZK3L5VdeYptF1hRCV/J49cF3k6wkCqrbqCIM8dgdiX7ImfAhQSZpsNp2mwsObQK1Vg8D2ha/T0xB4Yz5I95LCJIc8jIz3rc5WQCkf7vk6gp1O5JbCLiC0DDTURcNpUy7DHzLYUFbnFv80yNQ4qC8xKDBj8ot6cmpElmmijVoe/9HCpA4+feIur+rUQmSyZTGv4xhBYwVAS2DAbwATXRyzgHw8Z6y65cyABskLNqAMIkNJCP7l+lQYLVi2a1ltGrEUcwP2JObWzwxb7Pvj+TGd/nRtBME07eaA+uJ2Ac1ePxuyaj8HHyQWmZWTBccgTASKzP9ozAk8PJujaxs5s63EI8AxsUjI990ClBzYAG7/q85Eo1xbgTXYNjVrPcr2aizwdVA1ZW6jqM+kxsmAQ195f5rlFCi9VtEuPuCqh+pdOLL8g2UpAFr3e4CTb10dMIaxQP6Obnrkk0E4WXBCQ0l0ZT5ywBRZn4P9rGcwzbnByi2sBxh3lLxj54CvohJYcLbBYJgBAo6nbEGGgzD00vyJM7KVwdArRAbAsXVKsFk0H8Pms8jtUUXCxvk0HQ9nuUIr2QE9EQ6+dQKvgZnzSZRMM53bSgLCe8CrIl6Q/MHSAroCy4igH2C8syk9zKoW18tGWg1hc7TU/DQQ1+cuVGPuGkNlJ1ZkU9XzrqjluHqQOTqnHrDn4T7G14M0xVAkgRY//4PPCwjYe2e9LBvjgqfCNRzEpTY9qiHGtrOxddQJ/dYh3IroV7V4JSzNlg2MLxkxlyYUIAEFxkKQvNbO0SU2BqivqmX13ozPM2itnD/HGzW6cYkM13UFQ5bUg8AstUABELGPxak6vj7zhtKrUJtQINK5ZaRnoVABrIfL2iQ/jczLN4sn5brwLVORg+33c+6Uzhb6YlFm6/5JoxNRPCELRZzN7uiy4AlrntnxJnb3um6UQtDDm0aDlJ3l0IUiM1ECb+V0yWPEO3XpWztz/J8Id118Yadd7vuGQSl9mYBMLbCXTIhCrGijXguFHAMJVbvlcKjc1Mq+CP9eHb6DErGmi/8MSugQCWgmEC8FXuQvLXIRQIPvPkuj9SI9MHtyps4BO8ClwaEkoTnCBIfSz6pDZErUCZKoDLLLFC14baRP38PoGOTBtx4Aq8/+JnKTjV2WdlZuo2bZduvqyMQ/IHOL77YtEICMPyrb1vkTb/sX76c9D42jYvZ/MX2bTlfFEBwmpFiSXwb4DUXJfCrUTfWg9bvIpfeiDuptCdIPhSdkfmVN9ClYNA08KMSomaxmHjO1a+pCMmOQZ938aIlib6WR+KbvhJqXNNQmRJ0BmH53vQi5IRJKPTLAdn/ZovlWl9yQhQdmaJnYvpi3MZLjUq00w/be5Pul8DIVTNjnRMsZ6oOTyNDzKCogobnga/A7Nvd1YjeelSqlQUB5dGE26NQOlKnhBI+UDTB+lkKjbh9qr4pO28ePqUqyIUAOyXnsy/9vR4PUFOV1BS9ixuPrw+vq6Hx12o0OPximgftoPbBDtJ6y8jr+Ri4snPcp3UVdkRMj/zPlnefNeewx0tP6lIXBj5Wi4uEYWSxeSl6Sl627D6JD/6N3cgRb4tjcmzcy1Ymx8GjmdVUA/xFpPCYHrkhmYOvzCwUnNz7xjlOzXqLhrmhxLVxSbmJwwRbg26Gg1so24SPmj+Z1chZK/JpACVtNBzUakIoPjmcpH4qMAr1/jI7Ehy4IOjHDLU5cHUbD8HcljFQAZbXQznJaUMO48Ti5NP+vD7Y8S3UB99egBRz6N/3y/1PrdtDc5Af5TgvFHCYGLxP5YRHcN/CEA43znV30zE4MgVyCfNm4rsMJgJoi/0MPqCvKalCPhrXUe/1QnqBPbH71YCaJ/XdHy/9FIM1/tSsVcB35RlSJH0p9A6HpkIQWkSbu4Dy2gSrjRpwKCbvyncxQNocV5oCrzSp5FH3eWutdKzU/bthSoFhZ6AWEkP99ipZzDcF5QMPXAms+seTSyfZ+m61fdj8XaMnSzvYX9qXSJgop7iNWivyUtiuy6Jg1ARM2FPmq71fpH05PvbnmQPt37PWoEBEP8w9S88g/F4U/hH/kq3Wl0WaTLxld13Bjvnrhz3FalFQ7eO3bem0F+nL5FCKWR+41C9QmpW6G14KtOMoqsYFxa5VYG0wRmf+BExU941yqAx+TjtfXd6avWDw2IEWlgq8AIVe5nk0UpNn35qaTKICkCKxXA6MoHa9EFZcQ70UCZoKq14+EPYjYUdQkOKmFT722FphY/S/8GWv3EMsAA+lMovk8HaVVu1Bu1UvyNFlZi46IZjHx+iJfFxJXfENlphLwYs6ytV5HsKwaS0lm9mVQphsvJwXimwItF2OKq6T8uNPyG5d+BhP17l1jzvn+h3+Rbs4nnqBZvQuuQX3HRy5t+N3DC62aYElwVjvX2+WTwNZ2PK4gevz/QjhVNEIjM3f7s+e0PrA34L0c1R1/I0g/6HInv7SZnLtQsf2YyRcq0ClV4xDR8zFqVX3DL1m7F1JSZB3X+3exUswT7e40zFxySRXSolFMzJuV+aBfsNMp+c482p4TYY1BtzgfRVbAGFAiP+O4QuR5gKsMWIOwkR72Wd0+MRSG4D+EgIwQFkeMchU8HAOFfaiMSDouPY6y43Oo6fg+Io70qoDfxxoX5gUXQBwHlNf9xMu7s3O6tS7wnoCJD3d6i4YtNvYNUajZiOD3MgKgq00kRg5fPUuM3PIt5hwajx8ndm7d9e6XZfBhkryi1WV0CW/oLOchYqQer8iNU+/gWo0Mm2695+SR1Y5wSpYfiRmDzwfpFCn1ALxE6PVe8PjHDEjS8higTuhpMbvxI04B+UVP5pSSN+lGUltQrXntYW5q/s7Y58UalyAg1OhNPB0/uSMvRdoJ7TwEPcVlo6swYGZTdt8AUM8+Io3exmFWLUi8CbRgV7m4umg31PS9l5gLrZVknneA610Hktyt0NTpLl50paTiEcX8Qo8rUhhDAd/67uhlFigEhGRsRwZMRIIFxNzM1ZyY7SiNJLoQqA5j3DiFyn+nZEB3pAI6KFHlVgZQjY8oOSpKuKXpjQqme+0V4+uVIcxd8inHW/wgkiKsurDUI7k2fyZZtvBRvcHcS36fqPYNAgDeRz+l4p+UMIfurhtGM+9IWfNRSSosQUeCgmVhRjjrbYkxQVBiYWkjM/uvXl53KKEIGcop3lylTp67j7avd2hvnKJIT/0q5qoM4XdAEj2qjLYnK45XAKU8uZf9JjKKe7NeiNya2YaI2CNlBxMstp/EbY1jHwNZwh07EsbWLH6nxorjpuwvmS0NyB/wmqqCcljBdW4LQVbP6Jc42rGr80QCi9vqmPLH6j2jhWLR6OLoF5vefRaMeCjdAu46vA8sU/1Ks9F0M+gGO/bP/CrkpG/j1Pa9AJlIG77NBknaWh5hHhYdL5JbbnI2nGSfb/6be7Cs3pRiLo9fHW9MWDzZtVT2EweQwHBidZ/x9vXhTuqZVo5c86zWIoil6NnYVqaikZzeignmsYIxVGu98825Zvoj4/6BdpGYtK4P4eWDTQDux9N5UCSDliVwQtLDBYLOZalGJpOiC658zY1QiybyPtZiOfAgncrqVuaXSC+ZNWiVG8fkZ+kzsiAKZ4uIgosp1P89kCRe8IQieo7b2zjc0hhk74qdY1vEAlYb8z/BvNH+6oxHQVW67/kKNKrM2G9cS/t1ptxkoLkgYsL5AYb9UV4kxBSOUuKLbVWo3tXcXVbvsva0PIpsGn9Fp8+IwiwrFafyJBbT31RYC3ay1w15usfgv8md1y48kb/q1mnBoA19SsQsyM2N5DGvndpK4aLE7JCKqLvkcCtf6il9u7x5T9CF1g/C8dR7j3dybAO0uT++6sgoSbAzRSpcGCnY7bIEDMv7ka3d2nRQBqsBdMygi2WJ1/uUsb9fZugBfsml0RjxXtVd3SXyeVzgdfXCx5fGclZesTpKLaPXLo79p8Rc88cSMAAnNwRZgFj3GYmxR3Wx4OdvbGNShPY+Av8BR806Nela7zQI+q0sYwstzE6DG94ezgjluya4ZaWGvUzjEDSwBbbTbJoKvy7gITV6kOM3O4Qivu2p3sfG5SaFRrP2zO510hJGWUrTYYPKBfk3sgIqJUiyAA3WVE5lLlUtdq4mnMEI3YaluiAqSQqiXx3mf+F3Q4XKut2V70OfExZOEv0gzTtxxWYWTwnsgvlJBfY21Zyp4NbEjWvNIDAEfrHY2Iddwg7+ObwvLKYqNwQM8UOAxZkq9QQA+ctNKywacIRW7LcisGJM9MOHvFE3H1iVcLdFnJDrRKMLbkstiLNuvvhdWWNhdVke5WpUipSo7AcNwNzXLOaykuKyYAAp7IuFHKUZgsqg14mkzZ+Uisye0TL6CIe5x4VYf4IgPRXQl+ISG4yyTK4b/sgf7x9ygPao6eb1XyMn+JQF1dPf9xmeEPGKyN+IhuO943tSi5zgZfoCZ8fbq4+kTyxw3AN9cvos/f8EepjrZIcScQnmyXUeBGLt1uLu+fsqBy8xY9tw0Al2Rnt3S3B3jyfg3FysDOYLLNAj9PljPfOXa4iyu+3PvvTvrnIrz8HKyNDqLnt78BW7AIMr/Kr5eZINbwLgmqN1cs9WVgm5adYkCKeBk66jRBeycpvGBHOEspI8teQL6Zub50xt3KQDoMVR2QgDRnfedpcEdu6+PXA9480oUl6LG/MfvKT9rU8nLB0cGaRO1P10fj9Pp9p6RjDSAT11xDquvR7Cqq99p0VI6LDN3lzKm7h+uhMASNSWdPnhdfCHPY6un9Wo4ILIp/AfWpNEcbUtT9LdnWoBBTl7wWmvnr2JyD4pmN6HeDtqoGJBnrA44yf8ENeo5ZzuqMA+hz/nFCHYO04LbQtHr3+ZIHqsKS7HG3srS/2sccEXwwEx1Fk8myGezjNW8J0j/f4f0HF55SMBGtvIaljJplMc3pFwNeaiiKYyHe8uJf/dqA/uXLlcwQnqyJ+i55+ih1I0A7omgIQiDWT4AF5b5R5eGqEq+0OWL7mh19FpLeXBPSLI20suP138mCdpXJS+9VMqnFRQUGas5pKvUC+KQb0yeWnsp//T8xgjYM8nMz+ScjuUQH1EyR95c+QDA2HJ33L69EasXz8ZYipeYOPKiCiLqQGEbZlopZ2hMfpd04N/qHfGBa7XIMWFC54cmxqZuvqa4fLfUvNsR/Bn424/LpqAJRl8VTGqOTUBpnUNbZoyLssuDxjzg6Baw8d5u6orpXgxpj2WK5XbV+bhuVzi3xLsNkflStS45HXeMFdj/m0bdO0g6eRvwFxihzzCOIK8PGUcgs00NIOf8t/9kyFbkXFDzEgkaztyhVk10nTiltkkrGclOOsxlwVdPKY3AXnP+tE20/T7F9rtGET/6Zzs0/LhGHEtWG91+TpDDj7f38j4XEh+2pTHLh3qEKeMCqFgnhjRlT0ot38Ov2XdpgNPk4JzA3hFmNlGfT6a/mHZfjJf0wXSjDqYUfSvsEe792yfmeCQndTn9BTqA0IxjEKNpiQxhFRw7L+hMFrTUtSfv6cNpz8fRlp3UIJDWvGaiGkD/l2uM3Jjsf4jkOl3VmRe5Afd3YY/dMU+uRSzGQCEipb7imWw1q20D2Y6FOrOxkTyVCcMwUnoEbum18wJ4oiTgfqXsgycTOBGXTP/VmUYFlpNLErMrkLJZaDaiY/wOa60ilvu6AGzgm1BM/ijnpBvzPu9wsvfE1Qi4mQiBHL/I3aR46DUBLNuo3L00lQnt2j4RpjSPcssGdz2A9o1c7G7X83THDCL4mW1UXYeN+lw3GmGQ8ZXVrs/IxfvEB22BOBoJhGe37BMMz4VR4S6onqmO7gdExNWB4XdsWRql073u6+2A0M4OWNr8+thpPwC90ctWqqRqYkCmpchGTfTZ5YjjszP4wwxUssCdox8SCo7A4lAOPLk1NnEiRWjN/XDLnKTTftqDNNoZV0Dy+7ZW9k2dq092P2HnwvmQdoLC6dJyF3kbsXcFQZURAkDa31qrNgJ31xOXz31jfxDo3Nxs/xDSRXaOAD5vlBXq+fwQTNHCL2OPg2gmhSr/Czq/q+Sinf2ObMVkM4vib2W+N8TBxfQDP1OTBRnPHm/Gqr/UVV0VWA3pxa9zD8tIh6fmnVuRq3lEvOyRqHz9UhFJKdjeCiBMqKJptb3i+4ytyGkB1OOSYXh78H7cX+V92AFSVV8rnLhRBe65xkrjgImGWCo7txTqjiVrVUQ23j7UhE7aJAEvTgtTPkDym9GaHxE1HsqYnU+NdWV6ndybJxAJ+bUSOOvN+blrmzXbLcrQbHDH+Hz6oLmbtVJpAvw844vXsCt57q1q8G0YxnpWUAOiSGLu2h3nikSvWPloLZUoEGYeyo/gUGJqUjy0xWRlYRalVoAwHIghblc9SorXoqwf4ulxtfvBvc089GGrKX9rwOutGIe8TbE1dMu8WiZ0QvvnvHs2qNeCwre0cObOckKjsUFtU3HNc7x32fvAQ5GNTlsnYyTPkUmjsiuiIhZAf/G0NwA/8HlaA6Z6Skq+DI9T16u10xHeqJpwH54bZPUJJ8E30/0l6xERw1mv3poOml5mhgMjGShungL4K5xJH3skIoT8a5D7bbRVWId/o7DmUsKIAyLrTZ5aLsQx1Nl2VMwXTbFsmIN3xUVmcv03JSH0x1u3NOIPy5ZoJjPAFI+QDQ01fP5vPPKnYefYdTI/e01gcHMlGnjDYM8K/TLeysn4wGu60jsOzciO1aN03yI4BB1xGBgxxkvgs/SFZ9GC01EfQ30S1xH0pzk0munq8nRuLmTFp/jZHIMhSXa/tRKZECCaDcr+mp07ONLwc4/InrAafusMhAo/7Xy9xc1TgjFhadXL5mK0CCZlnkNZ6C6DfUg1h5YSO73mvRSBIV1XtmWop2y6qQjOplwpg/m31iI/Z0pNpSYE82psoMTxac4so0CWWCUd5E3eEn4zpWG3MRCwfxh1+KkSJ/zsiRGgU0Fr2lEYxOEOeU8gKVLCIuZCtbD7FJ/KS/cf7Ud37Wygbg5ywi0zKmtXE7CqeEUlWU+SBjgI1ZO9zRU8XgVaYBhB52ByJqW8LVUZvosSj+MaNW6WXSWn7ggCrGrPIMU9cpot9/M58E3+gc+71fLax9wGDz3lTZNobWwbqLPBzyl+m8053elZIGU6Me2PR8RT9frby7YANstc4yy80f0UCNX0NPU//SIzz7g64iKrv+E6yePcgVYNtADccmJ05lakevq1a45oWfy37dvDBQJTLRzCq0jQe0KKs3L35Wm9S6DFqlTaVjlA53bSG82meEOhjB4O4Abh+9c6N7V0XO2wS84PDH3YzHTWRg5QYf5oAlhmGnaYu624pdapqfEeb3PTN8OT7YGF4w3fkONCW1HMgH+5RsMNlhXM1vmC9Xs09IgrOaKeoTNhm6YmJxZEQNSIhFuXFw4+Eo7YdDDErVVDeQifmrxUUOWpZ69WukG1lzmuBmfioOgkq2YukkrU8fmRxmJHbKM1Zzsb60m/D2lGxhEhpgQFRZWPrj4lVBNGLR1K0qGNBylIUzuo/7yPbiBy383GK+ou7ZCMBXhJqc89dpnEeKixKJv4yG4gUJ6MICzasNAthZRupXzkk8RDCKSix3y/8N6AjmBI9I6jOWYPZDhDxOmAwGOa1Pp6puVC1FTcZEp74GrgmW8hmyQ/KMcvLRwOcIUxXs8d0A046tdAqqA7wqGyvFZFUxn22B+1sEvsmFo/hiP0GaIkZR66yWEwfYChgdLL0s6pCEBNNv5xV3B6fiq9muCmJ4P2Y7KeUF42Oksz7UIJsfjq2BKxUyMQKHZacw1HyIULrti+ZdzUZCsgdu3KV2cR0M2YbjAKok0Dqsm99krBas/Zzf1zx+iflsuFldnDSRw6sY8BpbybKUFH2x9tVavwQvmLHJYwlzjeAdzRaF9ZpQqp9hO9mX3TRoCGfc6o2XcHl/V4eHlyc4w9bc6J9S7PRmAKOx1YsGTqSyXwy1wJ5irKInAeMaktPeMlW3U0WnKnRgsZYtMQX28+9krNm2+54W/3jyFSPS80+TVZajMD4wpZfIBWztGhgpjm2f5IdW447B9ipk0BoQHQFP8x5YrXm6aFJucPrLOKF4MNEAIDDL/cWzn9O2M6IgaiXUlCcsYNIrFTaLOO6n3VjCA6bUxloUd/3kqBsmYq16lUVQA1/eidlB/SqCRKJW78UAboh0uW6NK//CuJ4BfBOyowE41OnqCr21AEf8vErvmlLyioRpXHHY/oi9IxXI903HmE7uyw3x39S5zfs30HkOkXQ/W3qVxe1KEcINgjkBGOkSZm83In1WcWcWmJbKbGFK2EhIkThnFmepJIjAq3WXcFyduKR1M3HVaDxhIC73MEBo8ckjZe+EQmlr2P1PS/hQYlZUsVZdrZeD8b+FgaiLIj20C4oWOOJtfL3u2f64iLTyLB342e5df4U3hJnBmBYwkzoB8ekwfmRhs7wO9Wvg1dtkcJNCgT7P599hVXtZZ56BZPShgloNolUEGrV8qiarZ7XXTGnlFVgrkTjY4H3xaADpRk9uQwsOIepGAS79PHqVOB5n+7MqaMel7zzD45ajRVE6zEaOB3jN9PJOnCozhWeKYUokXXY3ASKNqWETaGYEThDehlHMPMktqeYPGT90tIKLx5aEqr0W06Z8h/18V+XbGfndbq+06r4M3DbZqYX2gJjwTWsZpPgSIb3AKgCQXwuYk2X2JdVuNGbRlvLYCFOJlkypgSwqzoM5BhoqNnUIZ3i8/IrKGViolIL0M46H6w7d/jy6Yq2fsbCryJmgpt5S2YjCW59qlR61v1VpfB8wPIMJ++sCGFXV6I9rSy7Bx7LFxTlZeapJ4PbEMbL3QNVIyvi7XDcHfxM8XXIuLgBvqyA6kTgd0K7wxO5sFIW114ak5a/uT+yovSeHtB5hZsqAHi9f0B+TzmvQ85xY+oAneOCwYyrVxZPytxuf7+ZpZymoEO5Jkzol7wFCfn5Ah3DG2Bm60nM2OAOeKQWjqfuEC/zMrdBdUmtLASWtM95HRN0LuWxTEny+S9YbImzdbnFgCMlBotS+vyVOTKmTm4Tul6QFfuSnSoDY4t+5+tFM5QoWM7xvUDDz4225bl9sLJWWmOFV27aFlXSpuKo+CCzgfusi7w3nblZq7uWB7jjiFHRV3839qeEQ0mZUA8Zmz9r3J5xBOK+YD9oDgkmxXotGAEyciBbRV6SOO8fmw755IwE6dqh0X0bNCOKXL+BS0iFxt+KtVTNnqeq6wBD8swv8YMAWadkrZfOy+dVO4xE8kxfEle9IFq/NgrYzseIHQqWfgiDPeNCqUv6mNK7rfwgLmdB20MvGnBGqz2wKLWydIUPTXshvtdLD9Yx8OoVIZpwTCK7hP7VbRxCrjIfv5NIctGdzHu08wO+cxtzGQ86a0OAhrlmW9NJqGqUrD8a7r7QucLZhLoJq/KLzr2s13PpPR5q0bgBJWEaZ9QVY/Wst+rKjUAD7oXw9dhTFAMuqcbY/6+Z6W5+zo1EIUCsU4q12+zd8X7TtpNHU0Yl4EbeQY1tidVbKPxbd8Bm/GaIxp/8RhIAuYvUj/y23EjR0LvjjA/B+hXIbolsO9ZwRWtaepAlE5NrAzf5SSQMw4SJ1Fb/JDsOkF15mDMtVRhHYnjVfpsMq2tiqAlEAVQhd9qZBjvK/yrLoKxm9mcmCi/iX5C60AZh9oJ4oQ7efpoHOCmNYprvoz3CXkWMhUlOvjahaCN6eK5maoI2d3ab1YsSp3hBsxxjWakh9u2d53bnw+DzQqEzInMsklUrsplMkgqNcXQDuEpJM1wix9o0O0qPFy8Xs37hN+P1e+0HKBIRdZt4l1MWofslhlVEj8PiM2nYvcF2VHa8GFK1xWQIHu9fw/yaD0j5qTXY3lpjOgAJp6+ripDhBDpI4t8w63MDTr4rxzbQj03YUcpozru92TVh/dYxumTg1dYx612mgLoLINg/92L2jBM5nS0RwTo92stJzueUFRf5FXdw0K06HnlD3jeJC4utxgfNsoafuh6BVVEos4Kos9/1Mfi+jWxFIe2XwyGedt5/h1v/7xnTgdnd9bG1hEY88HXINP4/ZxaYsWShvr6G9zNtKLyS28XrYNm+7r9UM0Utuw37kc+b2fQwFNi9bIM+3zanZZHm2MdhN6kz+8hg/hioKErzwAxy1vUSEgCCbKpSuUbmaImJn+lTP1yEVHCaft85EbMGAvkvJVjDBxGT6t+3rEx7st04lJVJnKLvj/1q8hUAYIUmXfiVGw3wWppQXEac/aKEDsoA2umDbPox5DYmBbdtvUzfGWYBTpGlkc/r7wVZBFerpjMX9dX0GW7wIu/gR0jfvsyrvzhsoUB5URV+IYHuFCHvDrDH5kFcP3N7C+BiOMBrZpu1/1RA7efdYvD7xdWHyOmM/8VraCm5057cJpfhossGIdyBuCxhi8zT96rB9Tic0T6IVLnyUxzAC5tRbPkGjBHQdRg2VC7I8DZJKsCwK62ksFaTo17QjMljCNQdDhas0Ou/9VtLSkxxShbfXjY39LR7qj6yuCIiHIppmCIvjsRn01qoolqf6ggRccDkTzbeYZtcat0dFFOieo2IuCgy0SCYetH5PjTz4QOLsjPntFfRdy4fXssaDaEpzR59Ah1J5G0WLpPl6yS0/iWr+XHQkM8//dIzItzrUbqbV1niCwcLxdP48BcJEhVZoWalea7vv6jf9tse9Y3n7pmWasFDYqGgd1Z3tQAk0cGT0OxOEk2WsI/pzkni6ZH6rIi98JY2ebbqLQJz6bfXdVjuvIZsKMlwyOePaWMJKNPFTvfBf4JnVFcd+sGX/1uv129x9RISLY/EfcxsRoYSpl7jrqY0PfuasIFLB9m8m1K5rt+DAFe78q8VJdmvlDdoZnQmfL4noWgS2ls2GNvTde9ms+sr5y+wHhS+NWOUZ5o85y17qlBX36c4LgKs8eCP7jiYrbldxxLk6sNDgaY9NbOybg4RJMFLMCSBIpTD+PBoUv22XaALV2aDMCZCBjiCa1outbuLWLr0CsssayTC1EA0eC24kuElEH3YzBB0IK3U7dB3mpaWP4w+XILzxnbsUIdjY3slNvlNTbZSuYFhpIRsXjxzuXaCc3/Ibe231HrXPYCrQRpdoX0jgWkI4qrsGO/qEPvZ5cS2g0vUTiROq0pZ38/vMnRwwxct/fpodyzmz2hiYT+C+U2GLbUkSC+m38Er6J2Q1FrSC0LGlbbug1yHabNHqk5A6Gx+Sf5EtbaUCn3WZgHHo72Gj9CGuazQn37Qz4Xut5oztqiRgply2ps6qFhIQFVYomh+JyVDDSY8ixms9JvQUiI6NPiq2MQksYcM3iZuQOXDqoXqdZBwWiis1gtzsMB5SLu1mrQxk4a6kHBINlvinVMpKPRN8cN5/qgvPDE9dkwg4xpt+gzN36zyqf6NxhFqI5LMu/lYIl7zMbi0Uqsi/o/GgPEefZ9QcTXCW9z6HilnqbWLM78+nG7QFoqVZDmoy3oj6bHGG5otA4+X8Mx8hDuGSSkTQsvkYRT/fIWdZqoNYTa5k/hDKToqzUpMjfdz7ymi88loJQicOvMgjH0rI430cEs/eD0qYsoyHFIAKLPnvxIwXSJBMOdc3HOVAiAMF73jRfrrE+76EFA8+J2Q3s4n69BbkDTWmPv0aAxChGtGIeVRExmaw0tmQFxUXl4QFOMnN3WrbJFLUpX0OXoP5wfU2eOlk1uvlEVygMEsymykgxyGnQqz8RXAu71l5XRaNkfSg0lYJozcomQYMlRKRNpcPtpWmv0n51tvIAkNFOlMBU8SR7kcBpfuvZKlIPcuGOae7ls6u6qT5UDl2TQo0haGyJATECuCofkHVxbZoXSz66KYTxwdbIT8vkJS8M8cOLtWjiAD5NwRWdw7JafKu/E+HCTXnBm+3zIVekksooX+tmSgkPBLDjV0s2ZBktgHKGrNAc1rvBCRlq/M87ASdRIygm/pKKWtX08c5UKQF/9vSQ54NHfEKAb4n42UhzAfptNzslbuD0vcVJh9rCXoEZxvJ2V6m+C7wNUUVAHOYEJ2cvDPKVNAdl+Gr8nQox0DhKCCIfDcZ+FqThbtquo97teq8ty1g8xlvpjLHhspZVTGWOnzjQ6AP8martOBGnOP0zTr6oA1OwXBu7s0phdrZKW2nKEGuRTT8AnTr5XJzhFavBTNjpICUn0wabwXcvWNazaJOg1ri4+CbA7p+YXcdm1oanRXc4eTf8yUZdumGkPUiJk8j/fl07SJdtWIDkkOe6l98BYOKbpdpmP0OP6d8KZ6knv4o8WUGjZSodW9wA0FNVpE3w/LgHXcmeCYHR0I21dgDubftXAQ2glkOwysACrwsqyaUto416kCWapyZDReTijIx0UwjafPpxBy1UafFThUtgeIGb3T4bfxBh/rCvc9jbfaasJJ74KdR66iGyVQXBwAAf7cO4IfEKAjMkVXhAhvuxAUXzEz6YGK3zCUNEFzuF4tzGXosFu9naHWlyuEvBusREJyThHOY4u8CvuJKvRTa50Zkc6tzJxGX80dBSqo4MBzry+SaxiWxNcsCqkZ7vNHPYAz2GY24Ti1x3HDZBD5bSTYsS5CQ6Q90YM6Rl3A6F4vL3rQ1T196glJ7NKw37C9R/4IDnI55Tq5JimfGVLERj+v8Re+ruB0pVVCDgmc2CqMDQ051u/ANhEQ5N9C5vFK90wLGOQ9T7g/9IPEdCJFJYwW58Rh7aeiTG5et9ZmFuhmbb9Kk+NCnVkxJDV8I7KQxYUdx9XjBex8aAx9Wnm6lXM2IIGfA0HhuEzyN8+iYlCP7kDU0qBJCV/pJzX5rptS7D/gNNsfhTmAZTlw9jceoPBiN/T/p/h7ZhtblRmPer7AAcwVwDE7r1aiMkbrlFyzEgz2Ft+W2yZJrNRV6gKdX4FxEbAvCOQLuZWZcJX4rsD2xCVe/Sx85AIMl73uSBdTVfM8ReMh6X0EWwAUf1N9afkwwa0W9f30nJYwGbqTgOXCbmlHLdmNXIEAv6McioPlAKVUXAl+7cn8IaFZUW48ziZACJwF7mTRshTtpX5iA1egXWhSLAGBHXA+HkYrPcW1uFbk5SaOva0hBch3ig8WviyQ/09XrKY9mNv81Ayg9RHnC7l+pgS9mUnvq+wFKGo1U0M/AtFQL9nVlwetDYuklg5GEBn7ZapQn6+R1WS7bZ7Pz1ThqSqhogYMDqffAwtWi8stiDhwU/qKwENFYyai/Z23oEYM/X9gWEOdSViO7XIFqdL/ylWl0Eb7SdX2DQLPBizvWyEIAr7oAeZjiBpiyGcFQ62kDtU3Is26MPFRJ5ChqyIbLDPtCBP79xheEG7Lehiyu7laUJ/oHChsTCjrn6BPF8JzyRkTcPEP9DcleYdh8X9oXfG1oqdKbMNWKGowFX1gw85gm+XJmlJ/CZMqklQrOdMHIbqp4kjRAS2Ufr5a/ycvtaSWTHlwVfAHUQkTkE2va6LW7mA6e3nRRtTaAgzm2747sTZ5cuvw3RgvdTIyiynnzW5qynX03mOKTvTHFTmNCrxIFWpYwcxN581Ats9cyIz8iH64avQvzUGarqR0Mhnwra6ZDYu1eXtXsl+Zb2VyDq8SVBd2IpIp1y2BSn9YNpyhllEH/yBAcEuhnBKFsLZG1GzKSg7UUILDARZVjdl/8du/Wd+vnJVzp3UbLbRSRmgS2Oa26bkaBPgOc+h0wx2bEzlRx5Cxy5M/JO8xP+8TPbcHXWIyKV1/QaGwy2KgHJe1y5SZdh/kPzvafVqLXxneOlu1ZMidMxAO911Zu4u+jpwoASQZCSQnF1GNasJrhHy1bSEM+IkxmLQoaXIYq5BlqHQ5Ceupp4p7+mRFeQJrJ6QArPz7f3+Muxb8UUAwor3JNEZvxgSa6AO6Wn1ld0n+WNeOW8jp+rK4kTCJrSQkVWP+KkaQnbarX7BmlEwlPk84cSbg6wYBglS6mP4h/qHStFjjLHYgVesfGeWc3KeJZvIzDZA9jxtkp+KL6QFrSez7ffoOTnyAIU9zwL5k167ADqfU+fl2zbJxll/LBcmeatzNeyFwXh/pb6uCjy6I8O86kUBDcxJTfSiftadw6VjkWEdrismI1iC1mSrFwRtNOXRw02uKz9GbgPCtFLt6q+lRQ6ly/dfP6IPY+N9B+b45xMPCCNJaIsphqTUBp1LlKMhxWbS/5rJV7Rr687wHDaeG1KWxlHXV6ofRKSg9FAybdJacSZ2mOCLt21NdWOyrRUWT7AchTlgTkifuaWUJh+cvFNw5oSKY3TCMyQv4r5JGtzeWRuS9jpro5ElmLkrycshQlRKuvIddr2RkQJel5TiLJQ0dlXferq4EUMulMWGr9jqRbiLUvinABpkEYxDPKeI0oiVM9OhWXaHkXXkKzs42GAx1Mv+I8yKhDkJCO7TmmtTPP7CJPoxatAFizWOw5OV9g4SI/jzDNMikIFKScJxtFgwYpej13IbOEKHUfS5guJvM5Fix2qo6sobS+SvQfixUkd+V+anX7+qdLFF9gIsZRIBkrgfTwVwYzSKstVqtwVBIJ9O0JxEVD35KKvzosa27m8uSz9vjS0Tzs73Cch+t92ChRb23JA3vgdkQ7LvG2WNlP8oLCffSIbiciSiLrLU7zYVWwe+VTiswlgvCXWbowxJWsXNDQztm8950aYxgcH/whv7PYhbXRtyqfuDFhAUp9A0ADGUfZWun7ISAd07fvrrcsMwcNEEa2JBRwibm+5GPqEM5JyOfuhBahQnquIqxXUUlLG+6BV4UFoiOcpN4nW6+hLdrMq7pjUAIq6d1CVhltXXMzozTkwq1JbccEwLa1F1b86bAXaPgsMW3i22ADNQXAv2koFS5tq8iHoXpiPWRMUE7igbWkuLuQKMjRsT+9hcvjbKio6m2+oC1KYFCKB5r42xEjpOTVkCGwqyO0cD2W5V6aHfglwCUNSf2Jq5MxGRZ8Thti2RTofufIzz9E06XnFYeIgw9dtGwqhV749I/oIjb+jE6abVrkf3XmtHRms4QUyvFTNSrOvD8J2I8KxFUg+pAADGHgXi//SliExhsvu3PpjdTnXWw+gEHvnDZwmVodPASroR6WD0vGAZs1TOMYYlLaHzJlsXwgvHPsmqM8X65RUwQ0y6zttXckGBXDSAfH6E5cYttdyQjWDW21XZzVSsC7IyvlSZpEiNBk82HzagLj5E45jKPLlw32YL+sXETM1Gsyr2HYbtte4IOCjHFIQFb5bGxHe92jNz5OJZ946vH5ID0Hj8ZvYkMBmUkeDoFH0AIyYJTdJEg/ZFf8BjBL97fSsfqlwY0owqroWDeFA+BgApGHc4XKBN80TlcBxBsbfyyeke00ybwkTaMHWYN32YIFRA4jzgSlmWQ7y6dCGZU73D7kB5od1P5l+rnvgY7hkPm4t0jH8sQk5/zctFSuXW8uc7oNX/3WTOvBMkUL7jgbG/1p20/uAjNY536iGU7W76HV+Le9Cx9mP3kIwDJqqkiK/C0j7kCsDt0hYCXgfdQLZey+W5m+2J76WvnENFempkdVcodPb+gxCj4tfM+DJc8Wq3Z7H5Y2YmocZrJyK9ACAKSmj+KoFZpdHWxJ9Wv7L1fpnsqHW8oKem9wnrhPCUaAaa94nqImEuTIL6Q8PckP62EPtiHEyMPgaOUFV3UUlsRdmw/Tyw1p/nHxWunNJg1OLamIu1iCUFemf6qBMG5P/DJcDdeE2KmOqTChEcbva2YkQdhxhqA+v8r87ZSKHeOcmvmM9UNvYn7uWNSeraYVqwfT6y4RN+cJoNFWsovHQAtdtBFirqbzKCtuvZvWoLalm6zTTu7J7Npqbb/GazDKb3shDJLXnUEyoGnMdablrPbScP6Ctuy5f/5E9gZFCw2EQmLWGp8HaC9dhjNqECeR+B/ACVrezP126SqQeKR0AoGpuSVn1ee3wIC65fixYhmggne7UQ620kJV1XgBJ6GgOx1YkmSPsa0z8zfVmkOzpY6G3Abtg4ExLRHpxkUU8Wmy7OxGtyOHcJ0zYQG9X3CxK3OUr+6MQkjkqIgE4OpuNViaePp+Lda52lvDJaQhml5duKewMqk9/M60JpYoiYbsZ3qsTm89hItFqBHJcU1SBNA7MG+HBWvwplnYHweQnrYBRms9B6l8mQ5UYA+uccY1rojyG5wt6VJE5aJpn20dtCb9cjkGqDK2Fg7fyWeLFwRXoyP2UVeVchd0Y4+0qWG9AJFkjkMD/M3TqNYfUNnUEJ9gydwVpoHf9jtUKctTbY5t4wEdG2p5LmoFdAbujoLcRN2MLQU8qraz7sXVnMT3nwgtvvvkSAg6YAT9vVFS124I6wZLHTSbGH4fXrK9rEGLy41MqyqeRVZJp3CCA02Ady6g3DjRrH3zEmUxnO/wx5JBr4KzoMs/8MOO31vz6kCRBR+/Co8ZluAR07TzgtYRBrJ0V3xjaRAotl8VZ/0WnTnKvUsuuThTI4PMaIRTSiMMKVNz/dLs+9uKESahoZIvuJcogndqbqCPdtiR6fxHxKaStCCOBzgsGnw2sVZXZxccEYqd2zOjzP2Mxbv2cpwYLZ+A6Tc3AztE1oBlrlXltmwnVfIKWzVh11VUR6bDmEneLIPvxAgUkWBYbPWZbrL4OaDJsaNzi9mRHUkzefJKFdjRpW3/qfCIPKfRc6mlNNB7JrVrqd+XVGB1VKSqxmvzPSz4BdiNobhVRRBvQFObhUZtl9lVF87YbrDdDbIj/rtcyF3w2/dQkJLe5txe1v3jaDHxQAWY3umJMGme+kEJDMntT9WopRd+7UKz2ACS0wXmH/4qlxSOEiaScLD8XP9iUiq5pWiiz/sHYrJfRoq3es5Q/DyaNAyYDuv5MeueBBrIsYK5c4+GOlOH2im2ea54w/Kn3uf0RoW/VXScYDC0lJ1FBOr5f/whgydrznYmV+tKuvvP5Qm8Ds6Na6XokS9V7TlW1F2LdyPTvfzodYPTJmlV6lXe7Dn9Qi8VIBtblH3qCFnrXt9c+DXQwWn8ZwZNokl6JAxiLHsJpfQFf5RSCCUUtwlxff0vRFi3TFjTu08YsdWsHXI9/SCnnOj8S/KRH6CEOk77XcJLJoVF82yIgZFHPskNK2chEf4VaIZwX+YKkqvhvNSgdgSGG/7SHDYb6HH+zmp8VnjwqSDi/gbl2aAUdYXipzptFAsSoQd54t+XkDgK5Q+L/BEO2jnY9p6a4G2LK8a5uYe9iauTRQNI19KqGXy1ufZoQ4jTh9fAibVW6SqaN6hPzGilC0WWMDCVYkS8a/FC8ip3DAFrNrIidQyWjd+5my+vIFKbB0tq6FtNY0X5qWCroX1nVCVlBaYbzlW9JGwhiKwnklg7p59njP5mBcBflLMt4Ahx4GTZUyD5fZPD28s0OQwBW34usz/YWHZ9IlHNX2F9UKxbrUd2nlUEdGQJMfMZHKFSSe+PLrWT9k1U+ML91zSK1FxBhxYhjBJ/KSEv4Ntg8oxY9nIyYp5EREym8/FwaKbJi08L0eT8rtgL5+xmpmFqaju40UUKz7iy7gVcU+rCaPNlfwYjXPMv5o3RGdXGOVSkC+JZ7J5lGBRTTBtzhJhAiYgrUAhLerCYITwvtilcgvfpYZkecHcA8O4kB/tnqNLRxzpU0jPN/IyRPyH3oCs8l5H+gljnoByFWaVHVo25rfAJsO5HZmOHfqz4ruIMhpcJc8QMCY1niq2ttN25Q88dOihCNuEaUZ8Yb00UXvLYWHfHUfu4BE3GjQ/ImKvEo7JWwgSfTMbq4EUxBRnTEMb9iJG0nZLPKHYtQOzRJr2MvR81WEz0bH+4LT9+H5J4Q0Jc8C4M6zzdoX0eDV8fgCmWWYVw/tt3UhmX03meY5VznUxHBQwYWmTlfEtqlyI4PPO0dBVRh4PMQl3A+5FVKSVeLY0/lKx5I5LZMPzfysvEbSS4SVnEGEjxQlSkMz5ZZxMW+mNgE32TSIEPVaXQJ5fjkBG5dBZa8qKhg8ahXX/zAx8MSEQoJX/qmTjc8c0UuN+wrzTdm8s9WO3XP6eLsQnJXPodZlNof6Fqh9K3uiAYYNwIOfbI1Zn+GWUxrwo5f96DUaVJfSnAsnMpNj9UD7kt9mOdF6FPkIyV/cstip4hjbGNphF937rZk+f3MAuFvccNsqlo+lrLEjBOWp6x2m8DySTV1zzxms8ewASFjEv+7FD8zKLOFe01PRzVKt5c0S+qE++YWf/FkCqv6iQ0EbwMb5DlUO4Rb9KaPSxOMpoh64D+BmlUa4+IC5bdLbeS8oFld4V5AtiHuYdDB17SbwDp+CZHJe/w96EX7WC1Z9SIFUEgyJmIE+Bl3NTj0FrYF2ga5qJ1Upmk3asQcPi4EOmeln1s7J2xZOvkF27RAh8n9TGHMoYRpgnssVh0xPmPUsA0wdfYT1nSjiN3/5ODX2hSbXIqgDZE5QLcne7d3Os1fn+ZfXDW9Npctt7I3DXObb7M+khnju4u3m2CmnsKr1cHo56DGty5hBM0gR6vr5vTQM8r9vDCSXonUGR33Z4aXBZ5QIMrjWmqV0lmQsHrgYrOmsRkn2Nb66MqP1vKBjkNUSSSfbMZWm7Bp7zqsx7K3MbL8j8oe4nNXCOHL9Sl+fwt2L5Rcp2cbT2rZCP8k5n/hYRmUPgn/3459quSMx88Tr/BTSUFmdgI6vfQZVsyxvJED9DDvBKD1uYpB9mvMKV26qT5I8plA24wt68dhTaM02PP1+YFl8/y6FifAQW143lKZQW/c/UXPXMZDxdZGZjcbwWuspLR9eBdYGOM/0vUNilNwlbdjK+eDIgGHqH6j+1aRFHCD8fvUROIGJsV8hgBoUSl12zFYwN4e23qv1w9lGTCGUyoR2eTvrH9hh28LlJQouFxu6TYgneFsxUtDiSWANKICU7j8TrdR1C77mFsTQNdNbrE7KWU7jcx6sYKke32i3FbRbj7ZoG8SwDHUs4en+CM/qqiBHQ+n6WRSm8V+qyHH1hDgaamxot56nszdLW4jxwzAgnesRi/Iix/Hxzs3OQnmTeqYGjdmD9A8Tf4kx8qnOKDfJAQ2gRlRBLbfA+EWTl8/eU5pvQnKO4Aks81/7p5JNwH91Jny1qgmZa+0n2IQVnL/3TgMx22xeIY5OV3RD50p1M16c+7JhBbcML5sT2nkQFTBTzBMMDYit9h4oQ/K78WiRje/Mf4OHUp1fPQmC5jQ7KCN+RaSy22FrKBcj9+GKzCAWQ5NfrKMouYunpmdjtlR9/MVRqG6WPajfBLDeJoAAHG+M3R/qn+4+Y6Tu8H6FX0ckS74PysKfzS3jVfD3J2p3X+Qxcb2RzB4h3lTKOm9A32yW7S6YZC85EqcuB9VD+iljcV/20Zqwi1bzQiOf4XKLvgL5fvTRBNn8ONw8yb2w1w2c0d+JWNxvfl7NoRMlZStY3SFkYq9xvffGVubkA8jmP450EgBn/UTSsfeiBdxEl+RA08GbyHQLBnloADSu0FYHNscrRGABNRjUbxH2NEUMWmm2ZD8+JPJ3gU628uLxkRcr/Cdxau5otqruxSubCfEV0JfUyuUOfySR31tT1ZyD2m4La0lhJMCsA/7vELIrDUy4v4+sBUxS9MPJc8ulDbjcU7RljVTpJE4YWbDosY4EPORbM40GET9d4/+GphgLsyxJB73gTUxwjagoMdV9SxmWupEh0g6P52iyJQKg5Qtac7HQSRhYNVUTu4rhB3SGd3y868wTO9WW+Y6OqJKj8tMUB1a3S4PI5IaDVqytgFM54f8HUzFRCvYo8mPAHN8J0Qd3/D8NttfqbQN8gAYr2TBb3t3lNFZXkED1D3FVuMVKWo9XpgrVtRmdVKb7BsSRqYN1HDMJOmktj4CTEqwtrOg2zouHibWlzoSJQywQvCpMrXdY9/8ETqBWyscraJnCr3cRUj0cNs6gs4M5PmeF+le7kZJFVMi8r1dghEZ8p8YeGjoCJ+TzI60oLXFAbUQIwOK0fuj6Dlm8f+a3qDQb2tzrt5c/GRq/Dwx+dPwx8oDakaQUg0OwwlxJ2eo01UvybezcgwPZsVHtPwP2pi9Wp2HW6ZEaFewJ2iodUWm4JBwVOuC/Mz0GtdEicgiNp+tBiEJaZ8U6dUdCw6f6RGptV/xhxBjbE614BCFq/2f92I6KOmxXsbpbl/VO/WuudpAlcj1jPROJDeWkimTGj2hC7uRKLJHm+KfoPnHSI+vQh8H0Q97/rdsGmn6TqNUXzUY0UamJKxE6I4YXrzNccR65KIQR1fBjmWg6Jc02Ck/mcWRZ63iP26RJGysrQ6XluHEk34m7NaeRGzT0mpVlAM6iuuozVqiK7mupvWBV8YKKYfMzJgcnd8la1RZytZEJgvvqTIyEqX7p07BhrwVh6618J2MHvK3bPk8G9MAR8p2SB64IorZ8Z5ANSqZLKpvsLi0fUUqJOYB5wgO1garbYPKSmMctYupsFhj6kmY7iAoArLkQPyBF4jolEvgOxNFXkpmDzRwQ1UZkg5SWoY9aN0XKDqClH0darOonsvvlAZOXTQa4JkvGVeRscS1DoGAIG/Fwj1v3oEVkbddPuEwODxtP1EuM0HwWDbSm0Tx/0gOdjAc3V4p/2GfW7r1c+5CmFLy/bTFIz/J3WQvwqSpDfpDfdGZ0BFlzW6PkpK24HyOaS498xcwfvtJc+HXV7YiVNJbf5+L5+SE86i0r9HoKfMIZFJFjtLMWa86/gFqTmrsxi9Gq6LhHn+eCF0ylENWl2ZyTdiP+LFhP+5CgrNXbxKQxcxqjz9LHiAbQlMxsNgqY" title="Mekko Graphics Chart">
            <a:extLst>
              <a:ext uri="{FF2B5EF4-FFF2-40B4-BE49-F238E27FC236}">
                <a16:creationId xmlns:a16="http://schemas.microsoft.com/office/drawing/2014/main" id="{ADF9A08C-FD77-4FF3-9307-10D9D9652E8E}"/>
              </a:ext>
            </a:extLst>
          </p:cNvPr>
          <p:cNvSpPr>
            <a:spLocks noChangeAspect="1"/>
          </p:cNvSpPr>
          <p:nvPr>
            <p:custDataLst>
              <p:tags r:id="rId3"/>
            </p:custDataLst>
          </p:nvPr>
        </p:nvSpPr>
        <p:spPr bwMode="gray">
          <a:xfrm>
            <a:off x="366093" y="1400066"/>
            <a:ext cx="9205417" cy="4968890"/>
          </a:xfrm>
          <a:prstGeom prst="rect">
            <a:avLst/>
          </a:prstGeom>
          <a:blipFill>
            <a:blip r:embed="rId37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43" name="btfpColumnIndicatorGroup2">
            <a:extLst>
              <a:ext uri="{FF2B5EF4-FFF2-40B4-BE49-F238E27FC236}">
                <a16:creationId xmlns:a16="http://schemas.microsoft.com/office/drawing/2014/main" id="{1E684987-FD41-4CE4-9655-BD1C7E4FF729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40" name="btfpColumnGapBlocker942773">
              <a:extLst>
                <a:ext uri="{FF2B5EF4-FFF2-40B4-BE49-F238E27FC236}">
                  <a16:creationId xmlns:a16="http://schemas.microsoft.com/office/drawing/2014/main" id="{07779027-31DB-4A7B-87DE-AFB775D41FD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38" name="btfpColumnGapBlocker648732">
              <a:extLst>
                <a:ext uri="{FF2B5EF4-FFF2-40B4-BE49-F238E27FC236}">
                  <a16:creationId xmlns:a16="http://schemas.microsoft.com/office/drawing/2014/main" id="{D17D13B3-729A-4E10-933D-64E784401C1C}"/>
                </a:ext>
              </a:extLst>
            </p:cNvPr>
            <p:cNvSpPr/>
            <p:nvPr/>
          </p:nvSpPr>
          <p:spPr bwMode="gray">
            <a:xfrm>
              <a:off x="7837752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1" name="btfpColumnIndicator913244">
              <a:extLst>
                <a:ext uri="{FF2B5EF4-FFF2-40B4-BE49-F238E27FC236}">
                  <a16:creationId xmlns:a16="http://schemas.microsoft.com/office/drawing/2014/main" id="{C0267C4C-2040-4D67-99FD-04C22F5A14C8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btfpColumnIndicator700844">
              <a:extLst>
                <a:ext uri="{FF2B5EF4-FFF2-40B4-BE49-F238E27FC236}">
                  <a16:creationId xmlns:a16="http://schemas.microsoft.com/office/drawing/2014/main" id="{990689FB-5D33-43EB-A1C6-7B303FCEC0D2}"/>
                </a:ext>
              </a:extLst>
            </p:cNvPr>
            <p:cNvCxnSpPr/>
            <p:nvPr/>
          </p:nvCxnSpPr>
          <p:spPr bwMode="gray">
            <a:xfrm flipV="1">
              <a:off x="8378296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btfpColumnGapBlocker148025">
              <a:extLst>
                <a:ext uri="{FF2B5EF4-FFF2-40B4-BE49-F238E27FC236}">
                  <a16:creationId xmlns:a16="http://schemas.microsoft.com/office/drawing/2014/main" id="{7215A000-5BAF-441F-8F94-F84154727208}"/>
                </a:ext>
              </a:extLst>
            </p:cNvPr>
            <p:cNvSpPr/>
            <p:nvPr/>
          </p:nvSpPr>
          <p:spPr bwMode="gray">
            <a:xfrm>
              <a:off x="3813704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4" name="btfpColumnIndicator943053">
              <a:extLst>
                <a:ext uri="{FF2B5EF4-FFF2-40B4-BE49-F238E27FC236}">
                  <a16:creationId xmlns:a16="http://schemas.microsoft.com/office/drawing/2014/main" id="{A618271D-E2CE-4734-AE89-2CECCBAFF6EB}"/>
                </a:ext>
              </a:extLst>
            </p:cNvPr>
            <p:cNvCxnSpPr/>
            <p:nvPr/>
          </p:nvCxnSpPr>
          <p:spPr bwMode="gray">
            <a:xfrm flipV="1">
              <a:off x="783775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btfpColumnIndicator725581">
              <a:extLst>
                <a:ext uri="{FF2B5EF4-FFF2-40B4-BE49-F238E27FC236}">
                  <a16:creationId xmlns:a16="http://schemas.microsoft.com/office/drawing/2014/main" id="{E65A491C-9342-417A-AB76-FCE644C6B7A2}"/>
                </a:ext>
              </a:extLst>
            </p:cNvPr>
            <p:cNvCxnSpPr/>
            <p:nvPr/>
          </p:nvCxnSpPr>
          <p:spPr bwMode="gray">
            <a:xfrm flipV="1">
              <a:off x="435424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btfpColumnGapBlocker789773">
              <a:extLst>
                <a:ext uri="{FF2B5EF4-FFF2-40B4-BE49-F238E27FC236}">
                  <a16:creationId xmlns:a16="http://schemas.microsoft.com/office/drawing/2014/main" id="{7D319600-C5F3-4516-A666-99EC07F575BB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8" name="btfpColumnIndicator175847">
              <a:extLst>
                <a:ext uri="{FF2B5EF4-FFF2-40B4-BE49-F238E27FC236}">
                  <a16:creationId xmlns:a16="http://schemas.microsoft.com/office/drawing/2014/main" id="{4A99A18B-4592-485A-BCD0-479561679136}"/>
                </a:ext>
              </a:extLst>
            </p:cNvPr>
            <p:cNvCxnSpPr/>
            <p:nvPr/>
          </p:nvCxnSpPr>
          <p:spPr bwMode="gray">
            <a:xfrm flipV="1">
              <a:off x="3813704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253055">
              <a:extLst>
                <a:ext uri="{FF2B5EF4-FFF2-40B4-BE49-F238E27FC236}">
                  <a16:creationId xmlns:a16="http://schemas.microsoft.com/office/drawing/2014/main" id="{E5F20E72-CED5-41BB-8625-42E4883D0D17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2" name="btfpColumnIndicatorGroup1">
            <a:extLst>
              <a:ext uri="{FF2B5EF4-FFF2-40B4-BE49-F238E27FC236}">
                <a16:creationId xmlns:a16="http://schemas.microsoft.com/office/drawing/2014/main" id="{D9A572FE-67A9-4E0B-B67C-5C82B156F5B6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39" name="btfpColumnGapBlocker299740">
              <a:extLst>
                <a:ext uri="{FF2B5EF4-FFF2-40B4-BE49-F238E27FC236}">
                  <a16:creationId xmlns:a16="http://schemas.microsoft.com/office/drawing/2014/main" id="{B21BF74B-6198-4EBF-9D0A-D9351472AC78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35" name="btfpColumnGapBlocker281797">
              <a:extLst>
                <a:ext uri="{FF2B5EF4-FFF2-40B4-BE49-F238E27FC236}">
                  <a16:creationId xmlns:a16="http://schemas.microsoft.com/office/drawing/2014/main" id="{E959CFBF-4C0D-4A4B-94C7-44AF5A760415}"/>
                </a:ext>
              </a:extLst>
            </p:cNvPr>
            <p:cNvSpPr/>
            <p:nvPr/>
          </p:nvSpPr>
          <p:spPr bwMode="gray">
            <a:xfrm>
              <a:off x="7837752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9" name="btfpColumnIndicator499124">
              <a:extLst>
                <a:ext uri="{FF2B5EF4-FFF2-40B4-BE49-F238E27FC236}">
                  <a16:creationId xmlns:a16="http://schemas.microsoft.com/office/drawing/2014/main" id="{3FFD4269-D08A-4944-A7C3-60C133D2F3FA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btfpColumnIndicator834502">
              <a:extLst>
                <a:ext uri="{FF2B5EF4-FFF2-40B4-BE49-F238E27FC236}">
                  <a16:creationId xmlns:a16="http://schemas.microsoft.com/office/drawing/2014/main" id="{2B9295D0-BFA4-4985-B1BD-437383117985}"/>
                </a:ext>
              </a:extLst>
            </p:cNvPr>
            <p:cNvCxnSpPr/>
            <p:nvPr/>
          </p:nvCxnSpPr>
          <p:spPr bwMode="gray">
            <a:xfrm flipV="1">
              <a:off x="8378296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btfpColumnGapBlocker725468">
              <a:extLst>
                <a:ext uri="{FF2B5EF4-FFF2-40B4-BE49-F238E27FC236}">
                  <a16:creationId xmlns:a16="http://schemas.microsoft.com/office/drawing/2014/main" id="{6406FC8A-9158-47BB-A3E4-309F5D1883FC}"/>
                </a:ext>
              </a:extLst>
            </p:cNvPr>
            <p:cNvSpPr/>
            <p:nvPr/>
          </p:nvSpPr>
          <p:spPr bwMode="gray">
            <a:xfrm>
              <a:off x="3813704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3" name="btfpColumnIndicator207414">
              <a:extLst>
                <a:ext uri="{FF2B5EF4-FFF2-40B4-BE49-F238E27FC236}">
                  <a16:creationId xmlns:a16="http://schemas.microsoft.com/office/drawing/2014/main" id="{66693C35-70BD-4952-82AF-0C19305D4133}"/>
                </a:ext>
              </a:extLst>
            </p:cNvPr>
            <p:cNvCxnSpPr/>
            <p:nvPr/>
          </p:nvCxnSpPr>
          <p:spPr bwMode="gray">
            <a:xfrm flipV="1">
              <a:off x="783775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btfpColumnIndicator891237">
              <a:extLst>
                <a:ext uri="{FF2B5EF4-FFF2-40B4-BE49-F238E27FC236}">
                  <a16:creationId xmlns:a16="http://schemas.microsoft.com/office/drawing/2014/main" id="{E22E6B23-E6F4-4EED-9429-040AA09ABC1E}"/>
                </a:ext>
              </a:extLst>
            </p:cNvPr>
            <p:cNvCxnSpPr/>
            <p:nvPr/>
          </p:nvCxnSpPr>
          <p:spPr bwMode="gray">
            <a:xfrm flipV="1">
              <a:off x="435424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btfpColumnGapBlocker568354">
              <a:extLst>
                <a:ext uri="{FF2B5EF4-FFF2-40B4-BE49-F238E27FC236}">
                  <a16:creationId xmlns:a16="http://schemas.microsoft.com/office/drawing/2014/main" id="{A0A72D13-0FA5-4F74-A821-727CCD2D3F71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5" name="btfpColumnIndicator252422">
              <a:extLst>
                <a:ext uri="{FF2B5EF4-FFF2-40B4-BE49-F238E27FC236}">
                  <a16:creationId xmlns:a16="http://schemas.microsoft.com/office/drawing/2014/main" id="{C1B7B5E9-DAFE-419A-BDD7-0ACD42EB3483}"/>
                </a:ext>
              </a:extLst>
            </p:cNvPr>
            <p:cNvCxnSpPr/>
            <p:nvPr/>
          </p:nvCxnSpPr>
          <p:spPr bwMode="gray">
            <a:xfrm flipV="1">
              <a:off x="3813704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" name="btfpColumnIndicator889916">
              <a:extLst>
                <a:ext uri="{FF2B5EF4-FFF2-40B4-BE49-F238E27FC236}">
                  <a16:creationId xmlns:a16="http://schemas.microsoft.com/office/drawing/2014/main" id="{720F5DD7-A17A-49CD-B49F-4B097E76E749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2" name="btfpRunningAgenda2Level228391">
            <a:extLst>
              <a:ext uri="{FF2B5EF4-FFF2-40B4-BE49-F238E27FC236}">
                <a16:creationId xmlns:a16="http://schemas.microsoft.com/office/drawing/2014/main" id="{3C3ED3CF-9695-4C80-ACD0-EF63C1245ECF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-1" y="944429"/>
            <a:ext cx="5004606" cy="257442"/>
            <a:chOff x="-1" y="876300"/>
            <a:chExt cx="5004606" cy="257442"/>
          </a:xfrm>
        </p:grpSpPr>
        <p:sp>
          <p:nvSpPr>
            <p:cNvPr id="33" name="btfpRunningAgenda2LevelBarLeft228391">
              <a:extLst>
                <a:ext uri="{FF2B5EF4-FFF2-40B4-BE49-F238E27FC236}">
                  <a16:creationId xmlns:a16="http://schemas.microsoft.com/office/drawing/2014/main" id="{28C9D338-C5AF-48A5-A47C-2AEBA4F1D927}"/>
                </a:ext>
              </a:extLst>
            </p:cNvPr>
            <p:cNvSpPr/>
            <p:nvPr/>
          </p:nvSpPr>
          <p:spPr bwMode="gray">
            <a:xfrm>
              <a:off x="-1" y="876300"/>
              <a:ext cx="2327781" cy="257442"/>
            </a:xfrm>
            <a:custGeom>
              <a:avLst/>
              <a:gdLst>
                <a:gd name="connsiteX0" fmla="*/ 986067 w 2696920"/>
                <a:gd name="connsiteY0" fmla="*/ 0 h 257442"/>
                <a:gd name="connsiteX1" fmla="*/ 2696920 w 2696920"/>
                <a:gd name="connsiteY1" fmla="*/ 0 h 257442"/>
                <a:gd name="connsiteX2" fmla="*/ 2642199 w 2696920"/>
                <a:gd name="connsiteY2" fmla="*/ 257442 h 257442"/>
                <a:gd name="connsiteX3" fmla="*/ 0 w 2696920"/>
                <a:gd name="connsiteY3" fmla="*/ 257442 h 257442"/>
                <a:gd name="connsiteX0" fmla="*/ 986067 w 2642199"/>
                <a:gd name="connsiteY0" fmla="*/ 0 h 257442"/>
                <a:gd name="connsiteX1" fmla="*/ 931346 w 2642199"/>
                <a:gd name="connsiteY1" fmla="*/ 257442 h 257442"/>
                <a:gd name="connsiteX2" fmla="*/ 2642199 w 2642199"/>
                <a:gd name="connsiteY2" fmla="*/ 257442 h 257442"/>
                <a:gd name="connsiteX3" fmla="*/ 0 w 2642199"/>
                <a:gd name="connsiteY3" fmla="*/ 257442 h 257442"/>
                <a:gd name="connsiteX0" fmla="*/ 986067 w 986067"/>
                <a:gd name="connsiteY0" fmla="*/ 0 h 257442"/>
                <a:gd name="connsiteX1" fmla="*/ 931346 w 986067"/>
                <a:gd name="connsiteY1" fmla="*/ 257442 h 257442"/>
                <a:gd name="connsiteX2" fmla="*/ 1 w 986067"/>
                <a:gd name="connsiteY2" fmla="*/ 257442 h 257442"/>
                <a:gd name="connsiteX3" fmla="*/ 0 w 986067"/>
                <a:gd name="connsiteY3" fmla="*/ 257442 h 257442"/>
                <a:gd name="connsiteX0" fmla="*/ 986066 w 986066"/>
                <a:gd name="connsiteY0" fmla="*/ 0 h 257442"/>
                <a:gd name="connsiteX1" fmla="*/ 931345 w 986066"/>
                <a:gd name="connsiteY1" fmla="*/ 257442 h 257442"/>
                <a:gd name="connsiteX2" fmla="*/ 0 w 986066"/>
                <a:gd name="connsiteY2" fmla="*/ 257442 h 257442"/>
                <a:gd name="connsiteX3" fmla="*/ 0 w 986066"/>
                <a:gd name="connsiteY3" fmla="*/ 0 h 257442"/>
                <a:gd name="connsiteX0" fmla="*/ 1163999 w 1163999"/>
                <a:gd name="connsiteY0" fmla="*/ 0 h 257442"/>
                <a:gd name="connsiteX1" fmla="*/ 931345 w 1163999"/>
                <a:gd name="connsiteY1" fmla="*/ 257442 h 257442"/>
                <a:gd name="connsiteX2" fmla="*/ 0 w 1163999"/>
                <a:gd name="connsiteY2" fmla="*/ 257442 h 257442"/>
                <a:gd name="connsiteX3" fmla="*/ 0 w 1163999"/>
                <a:gd name="connsiteY3" fmla="*/ 0 h 257442"/>
                <a:gd name="connsiteX0" fmla="*/ 1163999 w 1163999"/>
                <a:gd name="connsiteY0" fmla="*/ 0 h 257442"/>
                <a:gd name="connsiteX1" fmla="*/ 1109278 w 1163999"/>
                <a:gd name="connsiteY1" fmla="*/ 257442 h 257442"/>
                <a:gd name="connsiteX2" fmla="*/ 0 w 1163999"/>
                <a:gd name="connsiteY2" fmla="*/ 257442 h 257442"/>
                <a:gd name="connsiteX3" fmla="*/ 0 w 1163999"/>
                <a:gd name="connsiteY3" fmla="*/ 0 h 257442"/>
                <a:gd name="connsiteX0" fmla="*/ 1164000 w 1164000"/>
                <a:gd name="connsiteY0" fmla="*/ 0 h 257442"/>
                <a:gd name="connsiteX1" fmla="*/ 1109279 w 1164000"/>
                <a:gd name="connsiteY1" fmla="*/ 257442 h 257442"/>
                <a:gd name="connsiteX2" fmla="*/ 0 w 1164000"/>
                <a:gd name="connsiteY2" fmla="*/ 257442 h 257442"/>
                <a:gd name="connsiteX3" fmla="*/ 1 w 1164000"/>
                <a:gd name="connsiteY3" fmla="*/ 0 h 257442"/>
                <a:gd name="connsiteX0" fmla="*/ 1164000 w 1164000"/>
                <a:gd name="connsiteY0" fmla="*/ 0 h 257442"/>
                <a:gd name="connsiteX1" fmla="*/ 1109279 w 1164000"/>
                <a:gd name="connsiteY1" fmla="*/ 257442 h 257442"/>
                <a:gd name="connsiteX2" fmla="*/ 0 w 1164000"/>
                <a:gd name="connsiteY2" fmla="*/ 257442 h 257442"/>
                <a:gd name="connsiteX3" fmla="*/ 0 w 1164000"/>
                <a:gd name="connsiteY3" fmla="*/ 0 h 257442"/>
                <a:gd name="connsiteX0" fmla="*/ 1332316 w 1332316"/>
                <a:gd name="connsiteY0" fmla="*/ 0 h 257442"/>
                <a:gd name="connsiteX1" fmla="*/ 1109279 w 1332316"/>
                <a:gd name="connsiteY1" fmla="*/ 257442 h 257442"/>
                <a:gd name="connsiteX2" fmla="*/ 0 w 1332316"/>
                <a:gd name="connsiteY2" fmla="*/ 257442 h 257442"/>
                <a:gd name="connsiteX3" fmla="*/ 0 w 1332316"/>
                <a:gd name="connsiteY3" fmla="*/ 0 h 257442"/>
                <a:gd name="connsiteX0" fmla="*/ 1332316 w 1332316"/>
                <a:gd name="connsiteY0" fmla="*/ 0 h 257442"/>
                <a:gd name="connsiteX1" fmla="*/ 1277595 w 1332316"/>
                <a:gd name="connsiteY1" fmla="*/ 257442 h 257442"/>
                <a:gd name="connsiteX2" fmla="*/ 0 w 1332316"/>
                <a:gd name="connsiteY2" fmla="*/ 257442 h 257442"/>
                <a:gd name="connsiteX3" fmla="*/ 0 w 1332316"/>
                <a:gd name="connsiteY3" fmla="*/ 0 h 257442"/>
                <a:gd name="connsiteX0" fmla="*/ 1332316 w 1332316"/>
                <a:gd name="connsiteY0" fmla="*/ 0 h 257442"/>
                <a:gd name="connsiteX1" fmla="*/ 1277595 w 1332316"/>
                <a:gd name="connsiteY1" fmla="*/ 257442 h 257442"/>
                <a:gd name="connsiteX2" fmla="*/ 0 w 1332316"/>
                <a:gd name="connsiteY2" fmla="*/ 257442 h 257442"/>
                <a:gd name="connsiteX3" fmla="*/ 0 w 1332316"/>
                <a:gd name="connsiteY3" fmla="*/ 0 h 257442"/>
                <a:gd name="connsiteX0" fmla="*/ 1332316 w 1332316"/>
                <a:gd name="connsiteY0" fmla="*/ 0 h 257442"/>
                <a:gd name="connsiteX1" fmla="*/ 1277595 w 1332316"/>
                <a:gd name="connsiteY1" fmla="*/ 257442 h 257442"/>
                <a:gd name="connsiteX2" fmla="*/ 0 w 1332316"/>
                <a:gd name="connsiteY2" fmla="*/ 257442 h 257442"/>
                <a:gd name="connsiteX3" fmla="*/ 0 w 1332316"/>
                <a:gd name="connsiteY3" fmla="*/ 0 h 257442"/>
                <a:gd name="connsiteX0" fmla="*/ 1164000 w 1277595"/>
                <a:gd name="connsiteY0" fmla="*/ 0 h 257442"/>
                <a:gd name="connsiteX1" fmla="*/ 1277595 w 1277595"/>
                <a:gd name="connsiteY1" fmla="*/ 257442 h 257442"/>
                <a:gd name="connsiteX2" fmla="*/ 0 w 1277595"/>
                <a:gd name="connsiteY2" fmla="*/ 257442 h 257442"/>
                <a:gd name="connsiteX3" fmla="*/ 0 w 1277595"/>
                <a:gd name="connsiteY3" fmla="*/ 0 h 257442"/>
                <a:gd name="connsiteX0" fmla="*/ 1164000 w 1164000"/>
                <a:gd name="connsiteY0" fmla="*/ 0 h 257442"/>
                <a:gd name="connsiteX1" fmla="*/ 1109280 w 1164000"/>
                <a:gd name="connsiteY1" fmla="*/ 257442 h 257442"/>
                <a:gd name="connsiteX2" fmla="*/ 0 w 1164000"/>
                <a:gd name="connsiteY2" fmla="*/ 257442 h 257442"/>
                <a:gd name="connsiteX3" fmla="*/ 0 w 1164000"/>
                <a:gd name="connsiteY3" fmla="*/ 0 h 257442"/>
                <a:gd name="connsiteX0" fmla="*/ 1164000 w 1164000"/>
                <a:gd name="connsiteY0" fmla="*/ 0 h 257442"/>
                <a:gd name="connsiteX1" fmla="*/ 1109280 w 1164000"/>
                <a:gd name="connsiteY1" fmla="*/ 257442 h 257442"/>
                <a:gd name="connsiteX2" fmla="*/ 1 w 1164000"/>
                <a:gd name="connsiteY2" fmla="*/ 257442 h 257442"/>
                <a:gd name="connsiteX3" fmla="*/ 0 w 1164000"/>
                <a:gd name="connsiteY3" fmla="*/ 0 h 257442"/>
                <a:gd name="connsiteX0" fmla="*/ 1163999 w 1163999"/>
                <a:gd name="connsiteY0" fmla="*/ 0 h 257442"/>
                <a:gd name="connsiteX1" fmla="*/ 1109279 w 1163999"/>
                <a:gd name="connsiteY1" fmla="*/ 257442 h 257442"/>
                <a:gd name="connsiteX2" fmla="*/ 0 w 1163999"/>
                <a:gd name="connsiteY2" fmla="*/ 257442 h 257442"/>
                <a:gd name="connsiteX3" fmla="*/ 0 w 1163999"/>
                <a:gd name="connsiteY3" fmla="*/ 0 h 257442"/>
                <a:gd name="connsiteX0" fmla="*/ 986067 w 1109279"/>
                <a:gd name="connsiteY0" fmla="*/ 0 h 257442"/>
                <a:gd name="connsiteX1" fmla="*/ 1109279 w 1109279"/>
                <a:gd name="connsiteY1" fmla="*/ 257442 h 257442"/>
                <a:gd name="connsiteX2" fmla="*/ 0 w 1109279"/>
                <a:gd name="connsiteY2" fmla="*/ 257442 h 257442"/>
                <a:gd name="connsiteX3" fmla="*/ 0 w 1109279"/>
                <a:gd name="connsiteY3" fmla="*/ 0 h 257442"/>
                <a:gd name="connsiteX0" fmla="*/ 986067 w 986067"/>
                <a:gd name="connsiteY0" fmla="*/ 0 h 257442"/>
                <a:gd name="connsiteX1" fmla="*/ 931346 w 986067"/>
                <a:gd name="connsiteY1" fmla="*/ 257442 h 257442"/>
                <a:gd name="connsiteX2" fmla="*/ 0 w 986067"/>
                <a:gd name="connsiteY2" fmla="*/ 257442 h 257442"/>
                <a:gd name="connsiteX3" fmla="*/ 0 w 986067"/>
                <a:gd name="connsiteY3" fmla="*/ 0 h 257442"/>
                <a:gd name="connsiteX0" fmla="*/ 986067 w 986067"/>
                <a:gd name="connsiteY0" fmla="*/ 0 h 257442"/>
                <a:gd name="connsiteX1" fmla="*/ 931346 w 986067"/>
                <a:gd name="connsiteY1" fmla="*/ 257442 h 257442"/>
                <a:gd name="connsiteX2" fmla="*/ 0 w 986067"/>
                <a:gd name="connsiteY2" fmla="*/ 257442 h 257442"/>
                <a:gd name="connsiteX3" fmla="*/ 0 w 986067"/>
                <a:gd name="connsiteY3" fmla="*/ 0 h 257442"/>
                <a:gd name="connsiteX0" fmla="*/ 986067 w 986067"/>
                <a:gd name="connsiteY0" fmla="*/ 0 h 257442"/>
                <a:gd name="connsiteX1" fmla="*/ 931346 w 986067"/>
                <a:gd name="connsiteY1" fmla="*/ 257442 h 257442"/>
                <a:gd name="connsiteX2" fmla="*/ 0 w 986067"/>
                <a:gd name="connsiteY2" fmla="*/ 257442 h 257442"/>
                <a:gd name="connsiteX3" fmla="*/ 0 w 986067"/>
                <a:gd name="connsiteY3" fmla="*/ 0 h 257442"/>
                <a:gd name="connsiteX0" fmla="*/ 782550 w 931346"/>
                <a:gd name="connsiteY0" fmla="*/ 0 h 257442"/>
                <a:gd name="connsiteX1" fmla="*/ 931346 w 931346"/>
                <a:gd name="connsiteY1" fmla="*/ 257442 h 257442"/>
                <a:gd name="connsiteX2" fmla="*/ 0 w 931346"/>
                <a:gd name="connsiteY2" fmla="*/ 257442 h 257442"/>
                <a:gd name="connsiteX3" fmla="*/ 0 w 931346"/>
                <a:gd name="connsiteY3" fmla="*/ 0 h 257442"/>
                <a:gd name="connsiteX0" fmla="*/ 782550 w 782550"/>
                <a:gd name="connsiteY0" fmla="*/ 0 h 257442"/>
                <a:gd name="connsiteX1" fmla="*/ 727829 w 782550"/>
                <a:gd name="connsiteY1" fmla="*/ 257442 h 257442"/>
                <a:gd name="connsiteX2" fmla="*/ 0 w 782550"/>
                <a:gd name="connsiteY2" fmla="*/ 257442 h 257442"/>
                <a:gd name="connsiteX3" fmla="*/ 0 w 782550"/>
                <a:gd name="connsiteY3" fmla="*/ 0 h 257442"/>
                <a:gd name="connsiteX0" fmla="*/ 782550 w 782550"/>
                <a:gd name="connsiteY0" fmla="*/ 0 h 257442"/>
                <a:gd name="connsiteX1" fmla="*/ 727829 w 782550"/>
                <a:gd name="connsiteY1" fmla="*/ 257442 h 257442"/>
                <a:gd name="connsiteX2" fmla="*/ 0 w 782550"/>
                <a:gd name="connsiteY2" fmla="*/ 257442 h 257442"/>
                <a:gd name="connsiteX3" fmla="*/ 0 w 782550"/>
                <a:gd name="connsiteY3" fmla="*/ 0 h 257442"/>
                <a:gd name="connsiteX0" fmla="*/ 782550 w 782550"/>
                <a:gd name="connsiteY0" fmla="*/ 0 h 257442"/>
                <a:gd name="connsiteX1" fmla="*/ 727829 w 782550"/>
                <a:gd name="connsiteY1" fmla="*/ 257442 h 257442"/>
                <a:gd name="connsiteX2" fmla="*/ 0 w 782550"/>
                <a:gd name="connsiteY2" fmla="*/ 257442 h 257442"/>
                <a:gd name="connsiteX3" fmla="*/ 0 w 782550"/>
                <a:gd name="connsiteY3" fmla="*/ 0 h 257442"/>
                <a:gd name="connsiteX0" fmla="*/ 986067 w 986067"/>
                <a:gd name="connsiteY0" fmla="*/ 0 h 257442"/>
                <a:gd name="connsiteX1" fmla="*/ 727829 w 986067"/>
                <a:gd name="connsiteY1" fmla="*/ 257442 h 257442"/>
                <a:gd name="connsiteX2" fmla="*/ 0 w 986067"/>
                <a:gd name="connsiteY2" fmla="*/ 257442 h 257442"/>
                <a:gd name="connsiteX3" fmla="*/ 0 w 986067"/>
                <a:gd name="connsiteY3" fmla="*/ 0 h 257442"/>
                <a:gd name="connsiteX0" fmla="*/ 986067 w 986067"/>
                <a:gd name="connsiteY0" fmla="*/ 0 h 257442"/>
                <a:gd name="connsiteX1" fmla="*/ 931346 w 986067"/>
                <a:gd name="connsiteY1" fmla="*/ 257442 h 257442"/>
                <a:gd name="connsiteX2" fmla="*/ 0 w 986067"/>
                <a:gd name="connsiteY2" fmla="*/ 257442 h 257442"/>
                <a:gd name="connsiteX3" fmla="*/ 0 w 986067"/>
                <a:gd name="connsiteY3" fmla="*/ 0 h 257442"/>
                <a:gd name="connsiteX0" fmla="*/ 986067 w 986067"/>
                <a:gd name="connsiteY0" fmla="*/ 0 h 257442"/>
                <a:gd name="connsiteX1" fmla="*/ 931346 w 986067"/>
                <a:gd name="connsiteY1" fmla="*/ 257442 h 257442"/>
                <a:gd name="connsiteX2" fmla="*/ 0 w 986067"/>
                <a:gd name="connsiteY2" fmla="*/ 257442 h 257442"/>
                <a:gd name="connsiteX3" fmla="*/ 0 w 986067"/>
                <a:gd name="connsiteY3" fmla="*/ 0 h 257442"/>
                <a:gd name="connsiteX0" fmla="*/ 986067 w 986067"/>
                <a:gd name="connsiteY0" fmla="*/ 0 h 257442"/>
                <a:gd name="connsiteX1" fmla="*/ 931346 w 986067"/>
                <a:gd name="connsiteY1" fmla="*/ 257442 h 257442"/>
                <a:gd name="connsiteX2" fmla="*/ 0 w 986067"/>
                <a:gd name="connsiteY2" fmla="*/ 257442 h 257442"/>
                <a:gd name="connsiteX3" fmla="*/ 0 w 986067"/>
                <a:gd name="connsiteY3" fmla="*/ 0 h 257442"/>
                <a:gd name="connsiteX0" fmla="*/ 1164000 w 1164000"/>
                <a:gd name="connsiteY0" fmla="*/ 0 h 257442"/>
                <a:gd name="connsiteX1" fmla="*/ 931346 w 1164000"/>
                <a:gd name="connsiteY1" fmla="*/ 257442 h 257442"/>
                <a:gd name="connsiteX2" fmla="*/ 0 w 1164000"/>
                <a:gd name="connsiteY2" fmla="*/ 257442 h 257442"/>
                <a:gd name="connsiteX3" fmla="*/ 0 w 1164000"/>
                <a:gd name="connsiteY3" fmla="*/ 0 h 257442"/>
                <a:gd name="connsiteX0" fmla="*/ 1164000 w 1164000"/>
                <a:gd name="connsiteY0" fmla="*/ 0 h 257442"/>
                <a:gd name="connsiteX1" fmla="*/ 1109278 w 1164000"/>
                <a:gd name="connsiteY1" fmla="*/ 257442 h 257442"/>
                <a:gd name="connsiteX2" fmla="*/ 0 w 1164000"/>
                <a:gd name="connsiteY2" fmla="*/ 257442 h 257442"/>
                <a:gd name="connsiteX3" fmla="*/ 0 w 1164000"/>
                <a:gd name="connsiteY3" fmla="*/ 0 h 257442"/>
                <a:gd name="connsiteX0" fmla="*/ 1164001 w 1164001"/>
                <a:gd name="connsiteY0" fmla="*/ 0 h 257442"/>
                <a:gd name="connsiteX1" fmla="*/ 1109279 w 1164001"/>
                <a:gd name="connsiteY1" fmla="*/ 257442 h 257442"/>
                <a:gd name="connsiteX2" fmla="*/ 0 w 1164001"/>
                <a:gd name="connsiteY2" fmla="*/ 257442 h 257442"/>
                <a:gd name="connsiteX3" fmla="*/ 1 w 1164001"/>
                <a:gd name="connsiteY3" fmla="*/ 0 h 257442"/>
                <a:gd name="connsiteX0" fmla="*/ 1164001 w 1164001"/>
                <a:gd name="connsiteY0" fmla="*/ 0 h 257442"/>
                <a:gd name="connsiteX1" fmla="*/ 1109279 w 1164001"/>
                <a:gd name="connsiteY1" fmla="*/ 257442 h 257442"/>
                <a:gd name="connsiteX2" fmla="*/ 0 w 1164001"/>
                <a:gd name="connsiteY2" fmla="*/ 257442 h 257442"/>
                <a:gd name="connsiteX3" fmla="*/ 1 w 1164001"/>
                <a:gd name="connsiteY3" fmla="*/ 0 h 257442"/>
                <a:gd name="connsiteX0" fmla="*/ 1332317 w 1332317"/>
                <a:gd name="connsiteY0" fmla="*/ 0 h 257442"/>
                <a:gd name="connsiteX1" fmla="*/ 1109279 w 1332317"/>
                <a:gd name="connsiteY1" fmla="*/ 257442 h 257442"/>
                <a:gd name="connsiteX2" fmla="*/ 0 w 1332317"/>
                <a:gd name="connsiteY2" fmla="*/ 257442 h 257442"/>
                <a:gd name="connsiteX3" fmla="*/ 1 w 1332317"/>
                <a:gd name="connsiteY3" fmla="*/ 0 h 257442"/>
                <a:gd name="connsiteX0" fmla="*/ 1332317 w 1332317"/>
                <a:gd name="connsiteY0" fmla="*/ 0 h 257442"/>
                <a:gd name="connsiteX1" fmla="*/ 1277596 w 1332317"/>
                <a:gd name="connsiteY1" fmla="*/ 257442 h 257442"/>
                <a:gd name="connsiteX2" fmla="*/ 0 w 1332317"/>
                <a:gd name="connsiteY2" fmla="*/ 257442 h 257442"/>
                <a:gd name="connsiteX3" fmla="*/ 1 w 1332317"/>
                <a:gd name="connsiteY3" fmla="*/ 0 h 257442"/>
                <a:gd name="connsiteX0" fmla="*/ 1332316 w 1332316"/>
                <a:gd name="connsiteY0" fmla="*/ 0 h 257442"/>
                <a:gd name="connsiteX1" fmla="*/ 1277595 w 1332316"/>
                <a:gd name="connsiteY1" fmla="*/ 257442 h 257442"/>
                <a:gd name="connsiteX2" fmla="*/ 0 w 1332316"/>
                <a:gd name="connsiteY2" fmla="*/ 257442 h 257442"/>
                <a:gd name="connsiteX3" fmla="*/ 0 w 1332316"/>
                <a:gd name="connsiteY3" fmla="*/ 0 h 257442"/>
                <a:gd name="connsiteX0" fmla="*/ 1332317 w 1332317"/>
                <a:gd name="connsiteY0" fmla="*/ 0 h 257442"/>
                <a:gd name="connsiteX1" fmla="*/ 1277596 w 1332317"/>
                <a:gd name="connsiteY1" fmla="*/ 257442 h 257442"/>
                <a:gd name="connsiteX2" fmla="*/ 1 w 1332317"/>
                <a:gd name="connsiteY2" fmla="*/ 257442 h 257442"/>
                <a:gd name="connsiteX3" fmla="*/ 0 w 1332317"/>
                <a:gd name="connsiteY3" fmla="*/ 0 h 257442"/>
                <a:gd name="connsiteX0" fmla="*/ 1500632 w 1500632"/>
                <a:gd name="connsiteY0" fmla="*/ 0 h 257442"/>
                <a:gd name="connsiteX1" fmla="*/ 1277596 w 1500632"/>
                <a:gd name="connsiteY1" fmla="*/ 257442 h 257442"/>
                <a:gd name="connsiteX2" fmla="*/ 1 w 1500632"/>
                <a:gd name="connsiteY2" fmla="*/ 257442 h 257442"/>
                <a:gd name="connsiteX3" fmla="*/ 0 w 1500632"/>
                <a:gd name="connsiteY3" fmla="*/ 0 h 257442"/>
                <a:gd name="connsiteX0" fmla="*/ 1500632 w 1500632"/>
                <a:gd name="connsiteY0" fmla="*/ 0 h 257442"/>
                <a:gd name="connsiteX1" fmla="*/ 1445910 w 1500632"/>
                <a:gd name="connsiteY1" fmla="*/ 257442 h 257442"/>
                <a:gd name="connsiteX2" fmla="*/ 1 w 1500632"/>
                <a:gd name="connsiteY2" fmla="*/ 257442 h 257442"/>
                <a:gd name="connsiteX3" fmla="*/ 0 w 1500632"/>
                <a:gd name="connsiteY3" fmla="*/ 0 h 257442"/>
                <a:gd name="connsiteX0" fmla="*/ 1500632 w 1500632"/>
                <a:gd name="connsiteY0" fmla="*/ 0 h 257442"/>
                <a:gd name="connsiteX1" fmla="*/ 1445910 w 1500632"/>
                <a:gd name="connsiteY1" fmla="*/ 257442 h 257442"/>
                <a:gd name="connsiteX2" fmla="*/ 0 w 1500632"/>
                <a:gd name="connsiteY2" fmla="*/ 257442 h 257442"/>
                <a:gd name="connsiteX3" fmla="*/ 0 w 1500632"/>
                <a:gd name="connsiteY3" fmla="*/ 0 h 257442"/>
                <a:gd name="connsiteX0" fmla="*/ 1500632 w 1500632"/>
                <a:gd name="connsiteY0" fmla="*/ 0 h 257442"/>
                <a:gd name="connsiteX1" fmla="*/ 1445910 w 1500632"/>
                <a:gd name="connsiteY1" fmla="*/ 257442 h 257442"/>
                <a:gd name="connsiteX2" fmla="*/ 0 w 1500632"/>
                <a:gd name="connsiteY2" fmla="*/ 257442 h 257442"/>
                <a:gd name="connsiteX3" fmla="*/ 0 w 1500632"/>
                <a:gd name="connsiteY3" fmla="*/ 0 h 257442"/>
                <a:gd name="connsiteX0" fmla="*/ 1652916 w 1652916"/>
                <a:gd name="connsiteY0" fmla="*/ 0 h 257442"/>
                <a:gd name="connsiteX1" fmla="*/ 1445910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652916 w 1652916"/>
                <a:gd name="connsiteY0" fmla="*/ 0 h 257442"/>
                <a:gd name="connsiteX1" fmla="*/ 1598195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652916 w 1652916"/>
                <a:gd name="connsiteY0" fmla="*/ 0 h 257442"/>
                <a:gd name="connsiteX1" fmla="*/ 1598195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652916 w 1652916"/>
                <a:gd name="connsiteY0" fmla="*/ 0 h 257442"/>
                <a:gd name="connsiteX1" fmla="*/ 1598195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821231 w 1821231"/>
                <a:gd name="connsiteY0" fmla="*/ 0 h 257442"/>
                <a:gd name="connsiteX1" fmla="*/ 1598195 w 1821231"/>
                <a:gd name="connsiteY1" fmla="*/ 257442 h 257442"/>
                <a:gd name="connsiteX2" fmla="*/ 0 w 1821231"/>
                <a:gd name="connsiteY2" fmla="*/ 257442 h 257442"/>
                <a:gd name="connsiteX3" fmla="*/ 0 w 1821231"/>
                <a:gd name="connsiteY3" fmla="*/ 0 h 257442"/>
                <a:gd name="connsiteX0" fmla="*/ 1821231 w 1821231"/>
                <a:gd name="connsiteY0" fmla="*/ 0 h 257442"/>
                <a:gd name="connsiteX1" fmla="*/ 1766510 w 1821231"/>
                <a:gd name="connsiteY1" fmla="*/ 257442 h 257442"/>
                <a:gd name="connsiteX2" fmla="*/ 0 w 1821231"/>
                <a:gd name="connsiteY2" fmla="*/ 257442 h 257442"/>
                <a:gd name="connsiteX3" fmla="*/ 0 w 1821231"/>
                <a:gd name="connsiteY3" fmla="*/ 0 h 257442"/>
                <a:gd name="connsiteX0" fmla="*/ 1821231 w 1821231"/>
                <a:gd name="connsiteY0" fmla="*/ 0 h 257442"/>
                <a:gd name="connsiteX1" fmla="*/ 1766510 w 1821231"/>
                <a:gd name="connsiteY1" fmla="*/ 257442 h 257442"/>
                <a:gd name="connsiteX2" fmla="*/ 0 w 1821231"/>
                <a:gd name="connsiteY2" fmla="*/ 257442 h 257442"/>
                <a:gd name="connsiteX3" fmla="*/ 0 w 1821231"/>
                <a:gd name="connsiteY3" fmla="*/ 0 h 257442"/>
                <a:gd name="connsiteX0" fmla="*/ 1821231 w 1821231"/>
                <a:gd name="connsiteY0" fmla="*/ 0 h 257442"/>
                <a:gd name="connsiteX1" fmla="*/ 1766510 w 1821231"/>
                <a:gd name="connsiteY1" fmla="*/ 257442 h 257442"/>
                <a:gd name="connsiteX2" fmla="*/ 0 w 1821231"/>
                <a:gd name="connsiteY2" fmla="*/ 257442 h 257442"/>
                <a:gd name="connsiteX3" fmla="*/ 0 w 1821231"/>
                <a:gd name="connsiteY3" fmla="*/ 0 h 257442"/>
                <a:gd name="connsiteX0" fmla="*/ 1999165 w 1999165"/>
                <a:gd name="connsiteY0" fmla="*/ 0 h 257442"/>
                <a:gd name="connsiteX1" fmla="*/ 1766510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2167480 w 2167480"/>
                <a:gd name="connsiteY0" fmla="*/ 0 h 257442"/>
                <a:gd name="connsiteX1" fmla="*/ 1944444 w 2167480"/>
                <a:gd name="connsiteY1" fmla="*/ 257442 h 257442"/>
                <a:gd name="connsiteX2" fmla="*/ 0 w 2167480"/>
                <a:gd name="connsiteY2" fmla="*/ 257442 h 257442"/>
                <a:gd name="connsiteX3" fmla="*/ 0 w 2167480"/>
                <a:gd name="connsiteY3" fmla="*/ 0 h 257442"/>
                <a:gd name="connsiteX0" fmla="*/ 2167480 w 2167480"/>
                <a:gd name="connsiteY0" fmla="*/ 0 h 257442"/>
                <a:gd name="connsiteX1" fmla="*/ 2112758 w 2167480"/>
                <a:gd name="connsiteY1" fmla="*/ 257442 h 257442"/>
                <a:gd name="connsiteX2" fmla="*/ 0 w 2167480"/>
                <a:gd name="connsiteY2" fmla="*/ 257442 h 257442"/>
                <a:gd name="connsiteX3" fmla="*/ 0 w 2167480"/>
                <a:gd name="connsiteY3" fmla="*/ 0 h 257442"/>
                <a:gd name="connsiteX0" fmla="*/ 2167481 w 2167481"/>
                <a:gd name="connsiteY0" fmla="*/ 0 h 257442"/>
                <a:gd name="connsiteX1" fmla="*/ 2112759 w 2167481"/>
                <a:gd name="connsiteY1" fmla="*/ 257442 h 257442"/>
                <a:gd name="connsiteX2" fmla="*/ 0 w 2167481"/>
                <a:gd name="connsiteY2" fmla="*/ 257442 h 257442"/>
                <a:gd name="connsiteX3" fmla="*/ 1 w 2167481"/>
                <a:gd name="connsiteY3" fmla="*/ 0 h 257442"/>
                <a:gd name="connsiteX0" fmla="*/ 2167481 w 2167481"/>
                <a:gd name="connsiteY0" fmla="*/ 0 h 257442"/>
                <a:gd name="connsiteX1" fmla="*/ 2112759 w 2167481"/>
                <a:gd name="connsiteY1" fmla="*/ 257442 h 257442"/>
                <a:gd name="connsiteX2" fmla="*/ 0 w 2167481"/>
                <a:gd name="connsiteY2" fmla="*/ 257442 h 257442"/>
                <a:gd name="connsiteX3" fmla="*/ 1 w 2167481"/>
                <a:gd name="connsiteY3" fmla="*/ 0 h 257442"/>
                <a:gd name="connsiteX0" fmla="*/ 2327781 w 2327781"/>
                <a:gd name="connsiteY0" fmla="*/ 0 h 257442"/>
                <a:gd name="connsiteX1" fmla="*/ 2112759 w 2327781"/>
                <a:gd name="connsiteY1" fmla="*/ 257442 h 257442"/>
                <a:gd name="connsiteX2" fmla="*/ 0 w 2327781"/>
                <a:gd name="connsiteY2" fmla="*/ 257442 h 257442"/>
                <a:gd name="connsiteX3" fmla="*/ 1 w 2327781"/>
                <a:gd name="connsiteY3" fmla="*/ 0 h 257442"/>
                <a:gd name="connsiteX0" fmla="*/ 2327781 w 2327781"/>
                <a:gd name="connsiteY0" fmla="*/ 0 h 257442"/>
                <a:gd name="connsiteX1" fmla="*/ 2273060 w 2327781"/>
                <a:gd name="connsiteY1" fmla="*/ 257442 h 257442"/>
                <a:gd name="connsiteX2" fmla="*/ 0 w 2327781"/>
                <a:gd name="connsiteY2" fmla="*/ 257442 h 257442"/>
                <a:gd name="connsiteX3" fmla="*/ 1 w 2327781"/>
                <a:gd name="connsiteY3" fmla="*/ 0 h 257442"/>
                <a:gd name="connsiteX0" fmla="*/ 2327780 w 2327780"/>
                <a:gd name="connsiteY0" fmla="*/ 0 h 257442"/>
                <a:gd name="connsiteX1" fmla="*/ 2273059 w 2327780"/>
                <a:gd name="connsiteY1" fmla="*/ 257442 h 257442"/>
                <a:gd name="connsiteX2" fmla="*/ 0 w 2327780"/>
                <a:gd name="connsiteY2" fmla="*/ 257442 h 257442"/>
                <a:gd name="connsiteX3" fmla="*/ 0 w 2327780"/>
                <a:gd name="connsiteY3" fmla="*/ 0 h 257442"/>
                <a:gd name="connsiteX0" fmla="*/ 2327781 w 2327781"/>
                <a:gd name="connsiteY0" fmla="*/ 0 h 257442"/>
                <a:gd name="connsiteX1" fmla="*/ 2273060 w 2327781"/>
                <a:gd name="connsiteY1" fmla="*/ 257442 h 257442"/>
                <a:gd name="connsiteX2" fmla="*/ 1 w 2327781"/>
                <a:gd name="connsiteY2" fmla="*/ 257442 h 257442"/>
                <a:gd name="connsiteX3" fmla="*/ 0 w 2327781"/>
                <a:gd name="connsiteY3" fmla="*/ 0 h 257442"/>
                <a:gd name="connsiteX0" fmla="*/ 2167481 w 2273060"/>
                <a:gd name="connsiteY0" fmla="*/ 0 h 257442"/>
                <a:gd name="connsiteX1" fmla="*/ 2273060 w 2273060"/>
                <a:gd name="connsiteY1" fmla="*/ 257442 h 257442"/>
                <a:gd name="connsiteX2" fmla="*/ 1 w 2273060"/>
                <a:gd name="connsiteY2" fmla="*/ 257442 h 257442"/>
                <a:gd name="connsiteX3" fmla="*/ 0 w 2273060"/>
                <a:gd name="connsiteY3" fmla="*/ 0 h 257442"/>
                <a:gd name="connsiteX0" fmla="*/ 2167481 w 2167481"/>
                <a:gd name="connsiteY0" fmla="*/ 0 h 257442"/>
                <a:gd name="connsiteX1" fmla="*/ 2112760 w 2167481"/>
                <a:gd name="connsiteY1" fmla="*/ 257442 h 257442"/>
                <a:gd name="connsiteX2" fmla="*/ 1 w 2167481"/>
                <a:gd name="connsiteY2" fmla="*/ 257442 h 257442"/>
                <a:gd name="connsiteX3" fmla="*/ 0 w 2167481"/>
                <a:gd name="connsiteY3" fmla="*/ 0 h 257442"/>
                <a:gd name="connsiteX0" fmla="*/ 2167481 w 2167481"/>
                <a:gd name="connsiteY0" fmla="*/ 0 h 257442"/>
                <a:gd name="connsiteX1" fmla="*/ 2112760 w 2167481"/>
                <a:gd name="connsiteY1" fmla="*/ 257442 h 257442"/>
                <a:gd name="connsiteX2" fmla="*/ 2 w 2167481"/>
                <a:gd name="connsiteY2" fmla="*/ 257442 h 257442"/>
                <a:gd name="connsiteX3" fmla="*/ 0 w 2167481"/>
                <a:gd name="connsiteY3" fmla="*/ 0 h 257442"/>
                <a:gd name="connsiteX0" fmla="*/ 2167479 w 2167479"/>
                <a:gd name="connsiteY0" fmla="*/ 0 h 257442"/>
                <a:gd name="connsiteX1" fmla="*/ 2112758 w 2167479"/>
                <a:gd name="connsiteY1" fmla="*/ 257442 h 257442"/>
                <a:gd name="connsiteX2" fmla="*/ 0 w 2167479"/>
                <a:gd name="connsiteY2" fmla="*/ 257442 h 257442"/>
                <a:gd name="connsiteX3" fmla="*/ 0 w 2167479"/>
                <a:gd name="connsiteY3" fmla="*/ 0 h 257442"/>
                <a:gd name="connsiteX0" fmla="*/ 1999165 w 2112758"/>
                <a:gd name="connsiteY0" fmla="*/ 0 h 257442"/>
                <a:gd name="connsiteX1" fmla="*/ 2112758 w 2112758"/>
                <a:gd name="connsiteY1" fmla="*/ 257442 h 257442"/>
                <a:gd name="connsiteX2" fmla="*/ 0 w 2112758"/>
                <a:gd name="connsiteY2" fmla="*/ 257442 h 257442"/>
                <a:gd name="connsiteX3" fmla="*/ 0 w 2112758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1 w 1999165"/>
                <a:gd name="connsiteY2" fmla="*/ 257442 h 257442"/>
                <a:gd name="connsiteX3" fmla="*/ 0 w 1999165"/>
                <a:gd name="connsiteY3" fmla="*/ 0 h 257442"/>
                <a:gd name="connsiteX0" fmla="*/ 1999164 w 1999164"/>
                <a:gd name="connsiteY0" fmla="*/ 0 h 257442"/>
                <a:gd name="connsiteX1" fmla="*/ 1944443 w 1999164"/>
                <a:gd name="connsiteY1" fmla="*/ 257442 h 257442"/>
                <a:gd name="connsiteX2" fmla="*/ 0 w 1999164"/>
                <a:gd name="connsiteY2" fmla="*/ 257442 h 257442"/>
                <a:gd name="connsiteX3" fmla="*/ 0 w 1999164"/>
                <a:gd name="connsiteY3" fmla="*/ 0 h 257442"/>
                <a:gd name="connsiteX0" fmla="*/ 1821230 w 1944443"/>
                <a:gd name="connsiteY0" fmla="*/ 0 h 257442"/>
                <a:gd name="connsiteX1" fmla="*/ 1944443 w 1944443"/>
                <a:gd name="connsiteY1" fmla="*/ 257442 h 257442"/>
                <a:gd name="connsiteX2" fmla="*/ 0 w 1944443"/>
                <a:gd name="connsiteY2" fmla="*/ 257442 h 257442"/>
                <a:gd name="connsiteX3" fmla="*/ 0 w 1944443"/>
                <a:gd name="connsiteY3" fmla="*/ 0 h 257442"/>
                <a:gd name="connsiteX0" fmla="*/ 1821230 w 1821230"/>
                <a:gd name="connsiteY0" fmla="*/ 0 h 257442"/>
                <a:gd name="connsiteX1" fmla="*/ 1766510 w 1821230"/>
                <a:gd name="connsiteY1" fmla="*/ 257442 h 257442"/>
                <a:gd name="connsiteX2" fmla="*/ 0 w 1821230"/>
                <a:gd name="connsiteY2" fmla="*/ 257442 h 257442"/>
                <a:gd name="connsiteX3" fmla="*/ 0 w 1821230"/>
                <a:gd name="connsiteY3" fmla="*/ 0 h 257442"/>
                <a:gd name="connsiteX0" fmla="*/ 1821230 w 1821230"/>
                <a:gd name="connsiteY0" fmla="*/ 0 h 257442"/>
                <a:gd name="connsiteX1" fmla="*/ 1766510 w 1821230"/>
                <a:gd name="connsiteY1" fmla="*/ 257442 h 257442"/>
                <a:gd name="connsiteX2" fmla="*/ 0 w 1821230"/>
                <a:gd name="connsiteY2" fmla="*/ 257442 h 257442"/>
                <a:gd name="connsiteX3" fmla="*/ 0 w 1821230"/>
                <a:gd name="connsiteY3" fmla="*/ 0 h 257442"/>
                <a:gd name="connsiteX0" fmla="*/ 1821230 w 1821230"/>
                <a:gd name="connsiteY0" fmla="*/ 0 h 257442"/>
                <a:gd name="connsiteX1" fmla="*/ 1766510 w 1821230"/>
                <a:gd name="connsiteY1" fmla="*/ 257442 h 257442"/>
                <a:gd name="connsiteX2" fmla="*/ 0 w 1821230"/>
                <a:gd name="connsiteY2" fmla="*/ 257442 h 257442"/>
                <a:gd name="connsiteX3" fmla="*/ 0 w 1821230"/>
                <a:gd name="connsiteY3" fmla="*/ 0 h 257442"/>
                <a:gd name="connsiteX0" fmla="*/ 1652916 w 1766510"/>
                <a:gd name="connsiteY0" fmla="*/ 0 h 257442"/>
                <a:gd name="connsiteX1" fmla="*/ 1766510 w 1766510"/>
                <a:gd name="connsiteY1" fmla="*/ 257442 h 257442"/>
                <a:gd name="connsiteX2" fmla="*/ 0 w 1766510"/>
                <a:gd name="connsiteY2" fmla="*/ 257442 h 257442"/>
                <a:gd name="connsiteX3" fmla="*/ 0 w 1766510"/>
                <a:gd name="connsiteY3" fmla="*/ 0 h 257442"/>
                <a:gd name="connsiteX0" fmla="*/ 1652916 w 1652916"/>
                <a:gd name="connsiteY0" fmla="*/ 0 h 257442"/>
                <a:gd name="connsiteX1" fmla="*/ 1598195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652916 w 1652916"/>
                <a:gd name="connsiteY0" fmla="*/ 0 h 257442"/>
                <a:gd name="connsiteX1" fmla="*/ 1598195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652916 w 1652916"/>
                <a:gd name="connsiteY0" fmla="*/ 0 h 257442"/>
                <a:gd name="connsiteX1" fmla="*/ 1598195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830849 w 1830849"/>
                <a:gd name="connsiteY0" fmla="*/ 0 h 257442"/>
                <a:gd name="connsiteX1" fmla="*/ 1598195 w 1830849"/>
                <a:gd name="connsiteY1" fmla="*/ 257442 h 257442"/>
                <a:gd name="connsiteX2" fmla="*/ 0 w 1830849"/>
                <a:gd name="connsiteY2" fmla="*/ 257442 h 257442"/>
                <a:gd name="connsiteX3" fmla="*/ 0 w 1830849"/>
                <a:gd name="connsiteY3" fmla="*/ 0 h 257442"/>
                <a:gd name="connsiteX0" fmla="*/ 1830849 w 1830849"/>
                <a:gd name="connsiteY0" fmla="*/ 0 h 257442"/>
                <a:gd name="connsiteX1" fmla="*/ 1776128 w 1830849"/>
                <a:gd name="connsiteY1" fmla="*/ 257442 h 257442"/>
                <a:gd name="connsiteX2" fmla="*/ 0 w 1830849"/>
                <a:gd name="connsiteY2" fmla="*/ 257442 h 257442"/>
                <a:gd name="connsiteX3" fmla="*/ 0 w 1830849"/>
                <a:gd name="connsiteY3" fmla="*/ 0 h 257442"/>
                <a:gd name="connsiteX0" fmla="*/ 1830849 w 1830849"/>
                <a:gd name="connsiteY0" fmla="*/ 0 h 257442"/>
                <a:gd name="connsiteX1" fmla="*/ 1776128 w 1830849"/>
                <a:gd name="connsiteY1" fmla="*/ 257442 h 257442"/>
                <a:gd name="connsiteX2" fmla="*/ 0 w 1830849"/>
                <a:gd name="connsiteY2" fmla="*/ 257442 h 257442"/>
                <a:gd name="connsiteX3" fmla="*/ 0 w 1830849"/>
                <a:gd name="connsiteY3" fmla="*/ 0 h 257442"/>
                <a:gd name="connsiteX0" fmla="*/ 1830849 w 1830849"/>
                <a:gd name="connsiteY0" fmla="*/ 0 h 257442"/>
                <a:gd name="connsiteX1" fmla="*/ 1776128 w 1830849"/>
                <a:gd name="connsiteY1" fmla="*/ 257442 h 257442"/>
                <a:gd name="connsiteX2" fmla="*/ 0 w 1830849"/>
                <a:gd name="connsiteY2" fmla="*/ 257442 h 257442"/>
                <a:gd name="connsiteX3" fmla="*/ 0 w 1830849"/>
                <a:gd name="connsiteY3" fmla="*/ 0 h 257442"/>
                <a:gd name="connsiteX0" fmla="*/ 1999165 w 1999165"/>
                <a:gd name="connsiteY0" fmla="*/ 0 h 257442"/>
                <a:gd name="connsiteX1" fmla="*/ 1776128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2167480 w 2167480"/>
                <a:gd name="connsiteY0" fmla="*/ 0 h 257442"/>
                <a:gd name="connsiteX1" fmla="*/ 1944444 w 2167480"/>
                <a:gd name="connsiteY1" fmla="*/ 257442 h 257442"/>
                <a:gd name="connsiteX2" fmla="*/ 0 w 2167480"/>
                <a:gd name="connsiteY2" fmla="*/ 257442 h 257442"/>
                <a:gd name="connsiteX3" fmla="*/ 0 w 2167480"/>
                <a:gd name="connsiteY3" fmla="*/ 0 h 257442"/>
                <a:gd name="connsiteX0" fmla="*/ 2167480 w 2167480"/>
                <a:gd name="connsiteY0" fmla="*/ 0 h 257442"/>
                <a:gd name="connsiteX1" fmla="*/ 2112758 w 2167480"/>
                <a:gd name="connsiteY1" fmla="*/ 257442 h 257442"/>
                <a:gd name="connsiteX2" fmla="*/ 0 w 2167480"/>
                <a:gd name="connsiteY2" fmla="*/ 257442 h 257442"/>
                <a:gd name="connsiteX3" fmla="*/ 0 w 2167480"/>
                <a:gd name="connsiteY3" fmla="*/ 0 h 257442"/>
                <a:gd name="connsiteX0" fmla="*/ 2167481 w 2167481"/>
                <a:gd name="connsiteY0" fmla="*/ 0 h 257442"/>
                <a:gd name="connsiteX1" fmla="*/ 2112759 w 2167481"/>
                <a:gd name="connsiteY1" fmla="*/ 257442 h 257442"/>
                <a:gd name="connsiteX2" fmla="*/ 0 w 2167481"/>
                <a:gd name="connsiteY2" fmla="*/ 257442 h 257442"/>
                <a:gd name="connsiteX3" fmla="*/ 1 w 2167481"/>
                <a:gd name="connsiteY3" fmla="*/ 0 h 257442"/>
                <a:gd name="connsiteX0" fmla="*/ 2167481 w 2167481"/>
                <a:gd name="connsiteY0" fmla="*/ 0 h 257442"/>
                <a:gd name="connsiteX1" fmla="*/ 2112759 w 2167481"/>
                <a:gd name="connsiteY1" fmla="*/ 257442 h 257442"/>
                <a:gd name="connsiteX2" fmla="*/ 0 w 2167481"/>
                <a:gd name="connsiteY2" fmla="*/ 257442 h 257442"/>
                <a:gd name="connsiteX3" fmla="*/ 1 w 2167481"/>
                <a:gd name="connsiteY3" fmla="*/ 0 h 257442"/>
                <a:gd name="connsiteX0" fmla="*/ 2327781 w 2327781"/>
                <a:gd name="connsiteY0" fmla="*/ 0 h 257442"/>
                <a:gd name="connsiteX1" fmla="*/ 2112759 w 2327781"/>
                <a:gd name="connsiteY1" fmla="*/ 257442 h 257442"/>
                <a:gd name="connsiteX2" fmla="*/ 0 w 2327781"/>
                <a:gd name="connsiteY2" fmla="*/ 257442 h 257442"/>
                <a:gd name="connsiteX3" fmla="*/ 1 w 2327781"/>
                <a:gd name="connsiteY3" fmla="*/ 0 h 257442"/>
                <a:gd name="connsiteX0" fmla="*/ 2327781 w 2327781"/>
                <a:gd name="connsiteY0" fmla="*/ 0 h 257442"/>
                <a:gd name="connsiteX1" fmla="*/ 2273060 w 2327781"/>
                <a:gd name="connsiteY1" fmla="*/ 257442 h 257442"/>
                <a:gd name="connsiteX2" fmla="*/ 0 w 2327781"/>
                <a:gd name="connsiteY2" fmla="*/ 257442 h 257442"/>
                <a:gd name="connsiteX3" fmla="*/ 1 w 2327781"/>
                <a:gd name="connsiteY3" fmla="*/ 0 h 257442"/>
                <a:gd name="connsiteX0" fmla="*/ 2327780 w 2327780"/>
                <a:gd name="connsiteY0" fmla="*/ 0 h 257442"/>
                <a:gd name="connsiteX1" fmla="*/ 2273059 w 2327780"/>
                <a:gd name="connsiteY1" fmla="*/ 257442 h 257442"/>
                <a:gd name="connsiteX2" fmla="*/ 0 w 2327780"/>
                <a:gd name="connsiteY2" fmla="*/ 257442 h 257442"/>
                <a:gd name="connsiteX3" fmla="*/ 0 w 2327780"/>
                <a:gd name="connsiteY3" fmla="*/ 0 h 257442"/>
                <a:gd name="connsiteX0" fmla="*/ 2327781 w 2327781"/>
                <a:gd name="connsiteY0" fmla="*/ 0 h 257442"/>
                <a:gd name="connsiteX1" fmla="*/ 2273060 w 2327781"/>
                <a:gd name="connsiteY1" fmla="*/ 257442 h 257442"/>
                <a:gd name="connsiteX2" fmla="*/ 1 w 2327781"/>
                <a:gd name="connsiteY2" fmla="*/ 257442 h 257442"/>
                <a:gd name="connsiteX3" fmla="*/ 0 w 2327781"/>
                <a:gd name="connsiteY3" fmla="*/ 0 h 257442"/>
                <a:gd name="connsiteX0" fmla="*/ 960420 w 2273060"/>
                <a:gd name="connsiteY0" fmla="*/ 0 h 257442"/>
                <a:gd name="connsiteX1" fmla="*/ 2273060 w 2273060"/>
                <a:gd name="connsiteY1" fmla="*/ 257442 h 257442"/>
                <a:gd name="connsiteX2" fmla="*/ 1 w 2273060"/>
                <a:gd name="connsiteY2" fmla="*/ 257442 h 257442"/>
                <a:gd name="connsiteX3" fmla="*/ 0 w 2273060"/>
                <a:gd name="connsiteY3" fmla="*/ 0 h 257442"/>
                <a:gd name="connsiteX0" fmla="*/ 960420 w 960420"/>
                <a:gd name="connsiteY0" fmla="*/ 0 h 257442"/>
                <a:gd name="connsiteX1" fmla="*/ 905699 w 960420"/>
                <a:gd name="connsiteY1" fmla="*/ 257442 h 257442"/>
                <a:gd name="connsiteX2" fmla="*/ 1 w 960420"/>
                <a:gd name="connsiteY2" fmla="*/ 257442 h 257442"/>
                <a:gd name="connsiteX3" fmla="*/ 0 w 960420"/>
                <a:gd name="connsiteY3" fmla="*/ 0 h 257442"/>
                <a:gd name="connsiteX0" fmla="*/ 960420 w 960420"/>
                <a:gd name="connsiteY0" fmla="*/ 0 h 257442"/>
                <a:gd name="connsiteX1" fmla="*/ 905699 w 960420"/>
                <a:gd name="connsiteY1" fmla="*/ 257442 h 257442"/>
                <a:gd name="connsiteX2" fmla="*/ 1 w 960420"/>
                <a:gd name="connsiteY2" fmla="*/ 257442 h 257442"/>
                <a:gd name="connsiteX3" fmla="*/ 0 w 960420"/>
                <a:gd name="connsiteY3" fmla="*/ 0 h 257442"/>
                <a:gd name="connsiteX0" fmla="*/ 960419 w 960419"/>
                <a:gd name="connsiteY0" fmla="*/ 0 h 257442"/>
                <a:gd name="connsiteX1" fmla="*/ 905698 w 960419"/>
                <a:gd name="connsiteY1" fmla="*/ 257442 h 257442"/>
                <a:gd name="connsiteX2" fmla="*/ 0 w 960419"/>
                <a:gd name="connsiteY2" fmla="*/ 257442 h 257442"/>
                <a:gd name="connsiteX3" fmla="*/ 0 w 960419"/>
                <a:gd name="connsiteY3" fmla="*/ 0 h 257442"/>
                <a:gd name="connsiteX0" fmla="*/ 1128734 w 1128734"/>
                <a:gd name="connsiteY0" fmla="*/ 0 h 257442"/>
                <a:gd name="connsiteX1" fmla="*/ 905698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128734 w 1128734"/>
                <a:gd name="connsiteY0" fmla="*/ 0 h 257442"/>
                <a:gd name="connsiteX1" fmla="*/ 1074012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128735 w 1128735"/>
                <a:gd name="connsiteY0" fmla="*/ 0 h 257442"/>
                <a:gd name="connsiteX1" fmla="*/ 1074013 w 1128735"/>
                <a:gd name="connsiteY1" fmla="*/ 257442 h 257442"/>
                <a:gd name="connsiteX2" fmla="*/ 0 w 1128735"/>
                <a:gd name="connsiteY2" fmla="*/ 257442 h 257442"/>
                <a:gd name="connsiteX3" fmla="*/ 1 w 1128735"/>
                <a:gd name="connsiteY3" fmla="*/ 0 h 257442"/>
                <a:gd name="connsiteX0" fmla="*/ 1128735 w 1128735"/>
                <a:gd name="connsiteY0" fmla="*/ 0 h 257442"/>
                <a:gd name="connsiteX1" fmla="*/ 1074013 w 1128735"/>
                <a:gd name="connsiteY1" fmla="*/ 257442 h 257442"/>
                <a:gd name="connsiteX2" fmla="*/ 0 w 1128735"/>
                <a:gd name="connsiteY2" fmla="*/ 257442 h 257442"/>
                <a:gd name="connsiteX3" fmla="*/ 1 w 1128735"/>
                <a:gd name="connsiteY3" fmla="*/ 0 h 257442"/>
                <a:gd name="connsiteX0" fmla="*/ 1306669 w 1306669"/>
                <a:gd name="connsiteY0" fmla="*/ 0 h 257442"/>
                <a:gd name="connsiteX1" fmla="*/ 1074013 w 1306669"/>
                <a:gd name="connsiteY1" fmla="*/ 257442 h 257442"/>
                <a:gd name="connsiteX2" fmla="*/ 0 w 1306669"/>
                <a:gd name="connsiteY2" fmla="*/ 257442 h 257442"/>
                <a:gd name="connsiteX3" fmla="*/ 1 w 1306669"/>
                <a:gd name="connsiteY3" fmla="*/ 0 h 257442"/>
                <a:gd name="connsiteX0" fmla="*/ 1306669 w 1306669"/>
                <a:gd name="connsiteY0" fmla="*/ 0 h 257442"/>
                <a:gd name="connsiteX1" fmla="*/ 1251948 w 1306669"/>
                <a:gd name="connsiteY1" fmla="*/ 257442 h 257442"/>
                <a:gd name="connsiteX2" fmla="*/ 0 w 1306669"/>
                <a:gd name="connsiteY2" fmla="*/ 257442 h 257442"/>
                <a:gd name="connsiteX3" fmla="*/ 1 w 1306669"/>
                <a:gd name="connsiteY3" fmla="*/ 0 h 257442"/>
                <a:gd name="connsiteX0" fmla="*/ 1306668 w 1306668"/>
                <a:gd name="connsiteY0" fmla="*/ 0 h 257442"/>
                <a:gd name="connsiteX1" fmla="*/ 1251947 w 1306668"/>
                <a:gd name="connsiteY1" fmla="*/ 257442 h 257442"/>
                <a:gd name="connsiteX2" fmla="*/ 0 w 1306668"/>
                <a:gd name="connsiteY2" fmla="*/ 257442 h 257442"/>
                <a:gd name="connsiteX3" fmla="*/ 0 w 1306668"/>
                <a:gd name="connsiteY3" fmla="*/ 0 h 257442"/>
                <a:gd name="connsiteX0" fmla="*/ 1306669 w 1306669"/>
                <a:gd name="connsiteY0" fmla="*/ 0 h 257442"/>
                <a:gd name="connsiteX1" fmla="*/ 1251948 w 1306669"/>
                <a:gd name="connsiteY1" fmla="*/ 257442 h 257442"/>
                <a:gd name="connsiteX2" fmla="*/ 1 w 1306669"/>
                <a:gd name="connsiteY2" fmla="*/ 257442 h 257442"/>
                <a:gd name="connsiteX3" fmla="*/ 0 w 1306669"/>
                <a:gd name="connsiteY3" fmla="*/ 0 h 257442"/>
                <a:gd name="connsiteX0" fmla="*/ 1407657 w 1407657"/>
                <a:gd name="connsiteY0" fmla="*/ 0 h 257442"/>
                <a:gd name="connsiteX1" fmla="*/ 1251948 w 1407657"/>
                <a:gd name="connsiteY1" fmla="*/ 257442 h 257442"/>
                <a:gd name="connsiteX2" fmla="*/ 1 w 1407657"/>
                <a:gd name="connsiteY2" fmla="*/ 257442 h 257442"/>
                <a:gd name="connsiteX3" fmla="*/ 0 w 1407657"/>
                <a:gd name="connsiteY3" fmla="*/ 0 h 257442"/>
                <a:gd name="connsiteX0" fmla="*/ 1407657 w 1407657"/>
                <a:gd name="connsiteY0" fmla="*/ 0 h 257442"/>
                <a:gd name="connsiteX1" fmla="*/ 1352936 w 1407657"/>
                <a:gd name="connsiteY1" fmla="*/ 257442 h 257442"/>
                <a:gd name="connsiteX2" fmla="*/ 1 w 1407657"/>
                <a:gd name="connsiteY2" fmla="*/ 257442 h 257442"/>
                <a:gd name="connsiteX3" fmla="*/ 0 w 1407657"/>
                <a:gd name="connsiteY3" fmla="*/ 0 h 257442"/>
                <a:gd name="connsiteX0" fmla="*/ 1407657 w 1407657"/>
                <a:gd name="connsiteY0" fmla="*/ 0 h 257442"/>
                <a:gd name="connsiteX1" fmla="*/ 1352936 w 1407657"/>
                <a:gd name="connsiteY1" fmla="*/ 257442 h 257442"/>
                <a:gd name="connsiteX2" fmla="*/ 1 w 1407657"/>
                <a:gd name="connsiteY2" fmla="*/ 257442 h 257442"/>
                <a:gd name="connsiteX3" fmla="*/ 0 w 1407657"/>
                <a:gd name="connsiteY3" fmla="*/ 0 h 257442"/>
                <a:gd name="connsiteX0" fmla="*/ 1407656 w 1407656"/>
                <a:gd name="connsiteY0" fmla="*/ 0 h 257442"/>
                <a:gd name="connsiteX1" fmla="*/ 1352935 w 1407656"/>
                <a:gd name="connsiteY1" fmla="*/ 257442 h 257442"/>
                <a:gd name="connsiteX2" fmla="*/ 0 w 1407656"/>
                <a:gd name="connsiteY2" fmla="*/ 257442 h 257442"/>
                <a:gd name="connsiteX3" fmla="*/ 0 w 1407656"/>
                <a:gd name="connsiteY3" fmla="*/ 0 h 257442"/>
                <a:gd name="connsiteX0" fmla="*/ 1585589 w 1585589"/>
                <a:gd name="connsiteY0" fmla="*/ 0 h 257442"/>
                <a:gd name="connsiteX1" fmla="*/ 1352935 w 1585589"/>
                <a:gd name="connsiteY1" fmla="*/ 257442 h 257442"/>
                <a:gd name="connsiteX2" fmla="*/ 0 w 1585589"/>
                <a:gd name="connsiteY2" fmla="*/ 257442 h 257442"/>
                <a:gd name="connsiteX3" fmla="*/ 0 w 1585589"/>
                <a:gd name="connsiteY3" fmla="*/ 0 h 257442"/>
                <a:gd name="connsiteX0" fmla="*/ 1585589 w 1585589"/>
                <a:gd name="connsiteY0" fmla="*/ 0 h 257442"/>
                <a:gd name="connsiteX1" fmla="*/ 1530868 w 1585589"/>
                <a:gd name="connsiteY1" fmla="*/ 257442 h 257442"/>
                <a:gd name="connsiteX2" fmla="*/ 0 w 1585589"/>
                <a:gd name="connsiteY2" fmla="*/ 257442 h 257442"/>
                <a:gd name="connsiteX3" fmla="*/ 0 w 1585589"/>
                <a:gd name="connsiteY3" fmla="*/ 0 h 257442"/>
                <a:gd name="connsiteX0" fmla="*/ 1585590 w 1585590"/>
                <a:gd name="connsiteY0" fmla="*/ 0 h 257442"/>
                <a:gd name="connsiteX1" fmla="*/ 1530869 w 1585590"/>
                <a:gd name="connsiteY1" fmla="*/ 257442 h 257442"/>
                <a:gd name="connsiteX2" fmla="*/ 0 w 1585590"/>
                <a:gd name="connsiteY2" fmla="*/ 257442 h 257442"/>
                <a:gd name="connsiteX3" fmla="*/ 1 w 1585590"/>
                <a:gd name="connsiteY3" fmla="*/ 0 h 257442"/>
                <a:gd name="connsiteX0" fmla="*/ 1585590 w 1585590"/>
                <a:gd name="connsiteY0" fmla="*/ 0 h 257442"/>
                <a:gd name="connsiteX1" fmla="*/ 1530869 w 1585590"/>
                <a:gd name="connsiteY1" fmla="*/ 257442 h 257442"/>
                <a:gd name="connsiteX2" fmla="*/ 0 w 1585590"/>
                <a:gd name="connsiteY2" fmla="*/ 257442 h 257442"/>
                <a:gd name="connsiteX3" fmla="*/ 0 w 1585590"/>
                <a:gd name="connsiteY3" fmla="*/ 0 h 257442"/>
                <a:gd name="connsiteX0" fmla="*/ 1745891 w 1745891"/>
                <a:gd name="connsiteY0" fmla="*/ 0 h 257442"/>
                <a:gd name="connsiteX1" fmla="*/ 1530869 w 1745891"/>
                <a:gd name="connsiteY1" fmla="*/ 257442 h 257442"/>
                <a:gd name="connsiteX2" fmla="*/ 0 w 1745891"/>
                <a:gd name="connsiteY2" fmla="*/ 257442 h 257442"/>
                <a:gd name="connsiteX3" fmla="*/ 0 w 1745891"/>
                <a:gd name="connsiteY3" fmla="*/ 0 h 257442"/>
                <a:gd name="connsiteX0" fmla="*/ 1745891 w 1745891"/>
                <a:gd name="connsiteY0" fmla="*/ 0 h 257442"/>
                <a:gd name="connsiteX1" fmla="*/ 1691170 w 1745891"/>
                <a:gd name="connsiteY1" fmla="*/ 257442 h 257442"/>
                <a:gd name="connsiteX2" fmla="*/ 0 w 1745891"/>
                <a:gd name="connsiteY2" fmla="*/ 257442 h 257442"/>
                <a:gd name="connsiteX3" fmla="*/ 0 w 1745891"/>
                <a:gd name="connsiteY3" fmla="*/ 0 h 257442"/>
                <a:gd name="connsiteX0" fmla="*/ 1745891 w 1745891"/>
                <a:gd name="connsiteY0" fmla="*/ 0 h 257442"/>
                <a:gd name="connsiteX1" fmla="*/ 1691170 w 1745891"/>
                <a:gd name="connsiteY1" fmla="*/ 257442 h 257442"/>
                <a:gd name="connsiteX2" fmla="*/ 0 w 1745891"/>
                <a:gd name="connsiteY2" fmla="*/ 257442 h 257442"/>
                <a:gd name="connsiteX3" fmla="*/ 0 w 1745891"/>
                <a:gd name="connsiteY3" fmla="*/ 0 h 257442"/>
                <a:gd name="connsiteX0" fmla="*/ 1745891 w 1745891"/>
                <a:gd name="connsiteY0" fmla="*/ 0 h 257442"/>
                <a:gd name="connsiteX1" fmla="*/ 1691170 w 1745891"/>
                <a:gd name="connsiteY1" fmla="*/ 257442 h 257442"/>
                <a:gd name="connsiteX2" fmla="*/ 0 w 1745891"/>
                <a:gd name="connsiteY2" fmla="*/ 257442 h 257442"/>
                <a:gd name="connsiteX3" fmla="*/ 0 w 1745891"/>
                <a:gd name="connsiteY3" fmla="*/ 0 h 257442"/>
                <a:gd name="connsiteX0" fmla="*/ 1906191 w 1906191"/>
                <a:gd name="connsiteY0" fmla="*/ 0 h 257442"/>
                <a:gd name="connsiteX1" fmla="*/ 1691170 w 1906191"/>
                <a:gd name="connsiteY1" fmla="*/ 257442 h 257442"/>
                <a:gd name="connsiteX2" fmla="*/ 0 w 1906191"/>
                <a:gd name="connsiteY2" fmla="*/ 257442 h 257442"/>
                <a:gd name="connsiteX3" fmla="*/ 0 w 1906191"/>
                <a:gd name="connsiteY3" fmla="*/ 0 h 257442"/>
                <a:gd name="connsiteX0" fmla="*/ 1906191 w 1906191"/>
                <a:gd name="connsiteY0" fmla="*/ 0 h 257442"/>
                <a:gd name="connsiteX1" fmla="*/ 1851470 w 1906191"/>
                <a:gd name="connsiteY1" fmla="*/ 257442 h 257442"/>
                <a:gd name="connsiteX2" fmla="*/ 0 w 1906191"/>
                <a:gd name="connsiteY2" fmla="*/ 257442 h 257442"/>
                <a:gd name="connsiteX3" fmla="*/ 0 w 1906191"/>
                <a:gd name="connsiteY3" fmla="*/ 0 h 257442"/>
                <a:gd name="connsiteX0" fmla="*/ 1906191 w 1906191"/>
                <a:gd name="connsiteY0" fmla="*/ 0 h 257442"/>
                <a:gd name="connsiteX1" fmla="*/ 1851470 w 1906191"/>
                <a:gd name="connsiteY1" fmla="*/ 257442 h 257442"/>
                <a:gd name="connsiteX2" fmla="*/ 0 w 1906191"/>
                <a:gd name="connsiteY2" fmla="*/ 257442 h 257442"/>
                <a:gd name="connsiteX3" fmla="*/ 0 w 1906191"/>
                <a:gd name="connsiteY3" fmla="*/ 0 h 257442"/>
                <a:gd name="connsiteX0" fmla="*/ 1906191 w 1906191"/>
                <a:gd name="connsiteY0" fmla="*/ 0 h 257442"/>
                <a:gd name="connsiteX1" fmla="*/ 1851470 w 1906191"/>
                <a:gd name="connsiteY1" fmla="*/ 257442 h 257442"/>
                <a:gd name="connsiteX2" fmla="*/ 0 w 1906191"/>
                <a:gd name="connsiteY2" fmla="*/ 257442 h 257442"/>
                <a:gd name="connsiteX3" fmla="*/ 0 w 1906191"/>
                <a:gd name="connsiteY3" fmla="*/ 0 h 257442"/>
                <a:gd name="connsiteX0" fmla="*/ 2074506 w 2074506"/>
                <a:gd name="connsiteY0" fmla="*/ 0 h 257442"/>
                <a:gd name="connsiteX1" fmla="*/ 1851470 w 2074506"/>
                <a:gd name="connsiteY1" fmla="*/ 257442 h 257442"/>
                <a:gd name="connsiteX2" fmla="*/ 0 w 2074506"/>
                <a:gd name="connsiteY2" fmla="*/ 257442 h 257442"/>
                <a:gd name="connsiteX3" fmla="*/ 0 w 2074506"/>
                <a:gd name="connsiteY3" fmla="*/ 0 h 257442"/>
                <a:gd name="connsiteX0" fmla="*/ 2074506 w 2074506"/>
                <a:gd name="connsiteY0" fmla="*/ 0 h 257442"/>
                <a:gd name="connsiteX1" fmla="*/ 2019784 w 2074506"/>
                <a:gd name="connsiteY1" fmla="*/ 257442 h 257442"/>
                <a:gd name="connsiteX2" fmla="*/ 0 w 2074506"/>
                <a:gd name="connsiteY2" fmla="*/ 257442 h 257442"/>
                <a:gd name="connsiteX3" fmla="*/ 0 w 2074506"/>
                <a:gd name="connsiteY3" fmla="*/ 0 h 257442"/>
                <a:gd name="connsiteX0" fmla="*/ 2074507 w 2074507"/>
                <a:gd name="connsiteY0" fmla="*/ 0 h 257442"/>
                <a:gd name="connsiteX1" fmla="*/ 2019785 w 2074507"/>
                <a:gd name="connsiteY1" fmla="*/ 257442 h 257442"/>
                <a:gd name="connsiteX2" fmla="*/ 0 w 2074507"/>
                <a:gd name="connsiteY2" fmla="*/ 257442 h 257442"/>
                <a:gd name="connsiteX3" fmla="*/ 1 w 2074507"/>
                <a:gd name="connsiteY3" fmla="*/ 0 h 257442"/>
                <a:gd name="connsiteX0" fmla="*/ 2074507 w 2074507"/>
                <a:gd name="connsiteY0" fmla="*/ 0 h 257442"/>
                <a:gd name="connsiteX1" fmla="*/ 2019785 w 2074507"/>
                <a:gd name="connsiteY1" fmla="*/ 257442 h 257442"/>
                <a:gd name="connsiteX2" fmla="*/ 0 w 2074507"/>
                <a:gd name="connsiteY2" fmla="*/ 257442 h 257442"/>
                <a:gd name="connsiteX3" fmla="*/ 1 w 2074507"/>
                <a:gd name="connsiteY3" fmla="*/ 0 h 257442"/>
                <a:gd name="connsiteX0" fmla="*/ 2232050 w 2232050"/>
                <a:gd name="connsiteY0" fmla="*/ 0 h 257442"/>
                <a:gd name="connsiteX1" fmla="*/ 2019785 w 2232050"/>
                <a:gd name="connsiteY1" fmla="*/ 257442 h 257442"/>
                <a:gd name="connsiteX2" fmla="*/ 0 w 2232050"/>
                <a:gd name="connsiteY2" fmla="*/ 257442 h 257442"/>
                <a:gd name="connsiteX3" fmla="*/ 1 w 2232050"/>
                <a:gd name="connsiteY3" fmla="*/ 0 h 257442"/>
                <a:gd name="connsiteX0" fmla="*/ 2232050 w 2232050"/>
                <a:gd name="connsiteY0" fmla="*/ 0 h 257442"/>
                <a:gd name="connsiteX1" fmla="*/ 2177328 w 2232050"/>
                <a:gd name="connsiteY1" fmla="*/ 257442 h 257442"/>
                <a:gd name="connsiteX2" fmla="*/ 0 w 2232050"/>
                <a:gd name="connsiteY2" fmla="*/ 257442 h 257442"/>
                <a:gd name="connsiteX3" fmla="*/ 1 w 2232050"/>
                <a:gd name="connsiteY3" fmla="*/ 0 h 257442"/>
                <a:gd name="connsiteX0" fmla="*/ 2232050 w 2232050"/>
                <a:gd name="connsiteY0" fmla="*/ 0 h 257442"/>
                <a:gd name="connsiteX1" fmla="*/ 2177328 w 2232050"/>
                <a:gd name="connsiteY1" fmla="*/ 257442 h 257442"/>
                <a:gd name="connsiteX2" fmla="*/ 0 w 2232050"/>
                <a:gd name="connsiteY2" fmla="*/ 257442 h 257442"/>
                <a:gd name="connsiteX3" fmla="*/ 1 w 2232050"/>
                <a:gd name="connsiteY3" fmla="*/ 0 h 257442"/>
                <a:gd name="connsiteX0" fmla="*/ 2232050 w 2232050"/>
                <a:gd name="connsiteY0" fmla="*/ 0 h 257442"/>
                <a:gd name="connsiteX1" fmla="*/ 2177328 w 2232050"/>
                <a:gd name="connsiteY1" fmla="*/ 257442 h 257442"/>
                <a:gd name="connsiteX2" fmla="*/ 0 w 2232050"/>
                <a:gd name="connsiteY2" fmla="*/ 257442 h 257442"/>
                <a:gd name="connsiteX3" fmla="*/ 0 w 2232050"/>
                <a:gd name="connsiteY3" fmla="*/ 0 h 257442"/>
                <a:gd name="connsiteX0" fmla="*/ 2333038 w 2333038"/>
                <a:gd name="connsiteY0" fmla="*/ 0 h 257442"/>
                <a:gd name="connsiteX1" fmla="*/ 2177328 w 2333038"/>
                <a:gd name="connsiteY1" fmla="*/ 257442 h 257442"/>
                <a:gd name="connsiteX2" fmla="*/ 0 w 2333038"/>
                <a:gd name="connsiteY2" fmla="*/ 257442 h 257442"/>
                <a:gd name="connsiteX3" fmla="*/ 0 w 2333038"/>
                <a:gd name="connsiteY3" fmla="*/ 0 h 257442"/>
                <a:gd name="connsiteX0" fmla="*/ 2333038 w 2333038"/>
                <a:gd name="connsiteY0" fmla="*/ 0 h 257442"/>
                <a:gd name="connsiteX1" fmla="*/ 2278317 w 2333038"/>
                <a:gd name="connsiteY1" fmla="*/ 257442 h 257442"/>
                <a:gd name="connsiteX2" fmla="*/ 0 w 2333038"/>
                <a:gd name="connsiteY2" fmla="*/ 257442 h 257442"/>
                <a:gd name="connsiteX3" fmla="*/ 0 w 2333038"/>
                <a:gd name="connsiteY3" fmla="*/ 0 h 257442"/>
                <a:gd name="connsiteX0" fmla="*/ 2333038 w 2333038"/>
                <a:gd name="connsiteY0" fmla="*/ 0 h 257442"/>
                <a:gd name="connsiteX1" fmla="*/ 2278317 w 2333038"/>
                <a:gd name="connsiteY1" fmla="*/ 257442 h 257442"/>
                <a:gd name="connsiteX2" fmla="*/ 0 w 2333038"/>
                <a:gd name="connsiteY2" fmla="*/ 257442 h 257442"/>
                <a:gd name="connsiteX3" fmla="*/ 0 w 2333038"/>
                <a:gd name="connsiteY3" fmla="*/ 0 h 257442"/>
                <a:gd name="connsiteX0" fmla="*/ 2333038 w 2333038"/>
                <a:gd name="connsiteY0" fmla="*/ 0 h 257442"/>
                <a:gd name="connsiteX1" fmla="*/ 2278317 w 2333038"/>
                <a:gd name="connsiteY1" fmla="*/ 257442 h 257442"/>
                <a:gd name="connsiteX2" fmla="*/ 0 w 2333038"/>
                <a:gd name="connsiteY2" fmla="*/ 257442 h 257442"/>
                <a:gd name="connsiteX3" fmla="*/ 0 w 2333038"/>
                <a:gd name="connsiteY3" fmla="*/ 0 h 257442"/>
                <a:gd name="connsiteX0" fmla="*/ 2493338 w 2493338"/>
                <a:gd name="connsiteY0" fmla="*/ 0 h 257442"/>
                <a:gd name="connsiteX1" fmla="*/ 2278317 w 2493338"/>
                <a:gd name="connsiteY1" fmla="*/ 257442 h 257442"/>
                <a:gd name="connsiteX2" fmla="*/ 0 w 2493338"/>
                <a:gd name="connsiteY2" fmla="*/ 257442 h 257442"/>
                <a:gd name="connsiteX3" fmla="*/ 0 w 2493338"/>
                <a:gd name="connsiteY3" fmla="*/ 0 h 257442"/>
                <a:gd name="connsiteX0" fmla="*/ 2493338 w 2493338"/>
                <a:gd name="connsiteY0" fmla="*/ 0 h 257442"/>
                <a:gd name="connsiteX1" fmla="*/ 2438617 w 2493338"/>
                <a:gd name="connsiteY1" fmla="*/ 257442 h 257442"/>
                <a:gd name="connsiteX2" fmla="*/ 0 w 2493338"/>
                <a:gd name="connsiteY2" fmla="*/ 257442 h 257442"/>
                <a:gd name="connsiteX3" fmla="*/ 0 w 2493338"/>
                <a:gd name="connsiteY3" fmla="*/ 0 h 257442"/>
                <a:gd name="connsiteX0" fmla="*/ 2493338 w 2493338"/>
                <a:gd name="connsiteY0" fmla="*/ 0 h 257442"/>
                <a:gd name="connsiteX1" fmla="*/ 2438617 w 2493338"/>
                <a:gd name="connsiteY1" fmla="*/ 257442 h 257442"/>
                <a:gd name="connsiteX2" fmla="*/ 0 w 2493338"/>
                <a:gd name="connsiteY2" fmla="*/ 257442 h 257442"/>
                <a:gd name="connsiteX3" fmla="*/ 0 w 2493338"/>
                <a:gd name="connsiteY3" fmla="*/ 0 h 257442"/>
                <a:gd name="connsiteX0" fmla="*/ 2493338 w 2493338"/>
                <a:gd name="connsiteY0" fmla="*/ 0 h 257442"/>
                <a:gd name="connsiteX1" fmla="*/ 2438617 w 2493338"/>
                <a:gd name="connsiteY1" fmla="*/ 257442 h 257442"/>
                <a:gd name="connsiteX2" fmla="*/ 0 w 2493338"/>
                <a:gd name="connsiteY2" fmla="*/ 257442 h 257442"/>
                <a:gd name="connsiteX3" fmla="*/ 0 w 2493338"/>
                <a:gd name="connsiteY3" fmla="*/ 0 h 257442"/>
                <a:gd name="connsiteX0" fmla="*/ 2696920 w 2696920"/>
                <a:gd name="connsiteY0" fmla="*/ 0 h 257442"/>
                <a:gd name="connsiteX1" fmla="*/ 2438617 w 2696920"/>
                <a:gd name="connsiteY1" fmla="*/ 257442 h 257442"/>
                <a:gd name="connsiteX2" fmla="*/ 0 w 2696920"/>
                <a:gd name="connsiteY2" fmla="*/ 257442 h 257442"/>
                <a:gd name="connsiteX3" fmla="*/ 0 w 2696920"/>
                <a:gd name="connsiteY3" fmla="*/ 0 h 257442"/>
                <a:gd name="connsiteX0" fmla="*/ 2696920 w 2696920"/>
                <a:gd name="connsiteY0" fmla="*/ 0 h 257442"/>
                <a:gd name="connsiteX1" fmla="*/ 2642199 w 2696920"/>
                <a:gd name="connsiteY1" fmla="*/ 257442 h 257442"/>
                <a:gd name="connsiteX2" fmla="*/ 0 w 2696920"/>
                <a:gd name="connsiteY2" fmla="*/ 257442 h 257442"/>
                <a:gd name="connsiteX3" fmla="*/ 0 w 2696920"/>
                <a:gd name="connsiteY3" fmla="*/ 0 h 257442"/>
                <a:gd name="connsiteX0" fmla="*/ 2696920 w 2696920"/>
                <a:gd name="connsiteY0" fmla="*/ 0 h 257442"/>
                <a:gd name="connsiteX1" fmla="*/ 2642199 w 2696920"/>
                <a:gd name="connsiteY1" fmla="*/ 257442 h 257442"/>
                <a:gd name="connsiteX2" fmla="*/ 0 w 2696920"/>
                <a:gd name="connsiteY2" fmla="*/ 257442 h 257442"/>
                <a:gd name="connsiteX3" fmla="*/ 0 w 2696920"/>
                <a:gd name="connsiteY3" fmla="*/ 0 h 257442"/>
                <a:gd name="connsiteX0" fmla="*/ 2696920 w 2696920"/>
                <a:gd name="connsiteY0" fmla="*/ 0 h 257442"/>
                <a:gd name="connsiteX1" fmla="*/ 2642199 w 2696920"/>
                <a:gd name="connsiteY1" fmla="*/ 257442 h 257442"/>
                <a:gd name="connsiteX2" fmla="*/ 0 w 2696920"/>
                <a:gd name="connsiteY2" fmla="*/ 257442 h 257442"/>
                <a:gd name="connsiteX3" fmla="*/ 0 w 2696920"/>
                <a:gd name="connsiteY3" fmla="*/ 0 h 257442"/>
                <a:gd name="connsiteX0" fmla="*/ 986067 w 2642199"/>
                <a:gd name="connsiteY0" fmla="*/ 0 h 257442"/>
                <a:gd name="connsiteX1" fmla="*/ 2642199 w 2642199"/>
                <a:gd name="connsiteY1" fmla="*/ 257442 h 257442"/>
                <a:gd name="connsiteX2" fmla="*/ 0 w 2642199"/>
                <a:gd name="connsiteY2" fmla="*/ 257442 h 257442"/>
                <a:gd name="connsiteX3" fmla="*/ 0 w 2642199"/>
                <a:gd name="connsiteY3" fmla="*/ 0 h 257442"/>
                <a:gd name="connsiteX0" fmla="*/ 986067 w 986067"/>
                <a:gd name="connsiteY0" fmla="*/ 0 h 257442"/>
                <a:gd name="connsiteX1" fmla="*/ 931347 w 986067"/>
                <a:gd name="connsiteY1" fmla="*/ 257442 h 257442"/>
                <a:gd name="connsiteX2" fmla="*/ 0 w 986067"/>
                <a:gd name="connsiteY2" fmla="*/ 257442 h 257442"/>
                <a:gd name="connsiteX3" fmla="*/ 0 w 986067"/>
                <a:gd name="connsiteY3" fmla="*/ 0 h 257442"/>
                <a:gd name="connsiteX0" fmla="*/ 986067 w 986067"/>
                <a:gd name="connsiteY0" fmla="*/ 0 h 257442"/>
                <a:gd name="connsiteX1" fmla="*/ 931347 w 986067"/>
                <a:gd name="connsiteY1" fmla="*/ 257442 h 257442"/>
                <a:gd name="connsiteX2" fmla="*/ 1 w 986067"/>
                <a:gd name="connsiteY2" fmla="*/ 257442 h 257442"/>
                <a:gd name="connsiteX3" fmla="*/ 0 w 986067"/>
                <a:gd name="connsiteY3" fmla="*/ 0 h 257442"/>
                <a:gd name="connsiteX0" fmla="*/ 986066 w 986066"/>
                <a:gd name="connsiteY0" fmla="*/ 0 h 257442"/>
                <a:gd name="connsiteX1" fmla="*/ 931346 w 986066"/>
                <a:gd name="connsiteY1" fmla="*/ 257442 h 257442"/>
                <a:gd name="connsiteX2" fmla="*/ 0 w 986066"/>
                <a:gd name="connsiteY2" fmla="*/ 257442 h 257442"/>
                <a:gd name="connsiteX3" fmla="*/ 0 w 986066"/>
                <a:gd name="connsiteY3" fmla="*/ 0 h 257442"/>
                <a:gd name="connsiteX0" fmla="*/ 1163999 w 1163999"/>
                <a:gd name="connsiteY0" fmla="*/ 0 h 257442"/>
                <a:gd name="connsiteX1" fmla="*/ 931346 w 1163999"/>
                <a:gd name="connsiteY1" fmla="*/ 257442 h 257442"/>
                <a:gd name="connsiteX2" fmla="*/ 0 w 1163999"/>
                <a:gd name="connsiteY2" fmla="*/ 257442 h 257442"/>
                <a:gd name="connsiteX3" fmla="*/ 0 w 1163999"/>
                <a:gd name="connsiteY3" fmla="*/ 0 h 257442"/>
                <a:gd name="connsiteX0" fmla="*/ 1163999 w 1163999"/>
                <a:gd name="connsiteY0" fmla="*/ 0 h 257442"/>
                <a:gd name="connsiteX1" fmla="*/ 1109278 w 1163999"/>
                <a:gd name="connsiteY1" fmla="*/ 257442 h 257442"/>
                <a:gd name="connsiteX2" fmla="*/ 0 w 1163999"/>
                <a:gd name="connsiteY2" fmla="*/ 257442 h 257442"/>
                <a:gd name="connsiteX3" fmla="*/ 0 w 1163999"/>
                <a:gd name="connsiteY3" fmla="*/ 0 h 257442"/>
                <a:gd name="connsiteX0" fmla="*/ 1164000 w 1164000"/>
                <a:gd name="connsiteY0" fmla="*/ 0 h 257442"/>
                <a:gd name="connsiteX1" fmla="*/ 1109279 w 1164000"/>
                <a:gd name="connsiteY1" fmla="*/ 257442 h 257442"/>
                <a:gd name="connsiteX2" fmla="*/ 0 w 1164000"/>
                <a:gd name="connsiteY2" fmla="*/ 257442 h 257442"/>
                <a:gd name="connsiteX3" fmla="*/ 1 w 1164000"/>
                <a:gd name="connsiteY3" fmla="*/ 0 h 257442"/>
                <a:gd name="connsiteX0" fmla="*/ 1164000 w 1164000"/>
                <a:gd name="connsiteY0" fmla="*/ 0 h 257442"/>
                <a:gd name="connsiteX1" fmla="*/ 1109279 w 1164000"/>
                <a:gd name="connsiteY1" fmla="*/ 257442 h 257442"/>
                <a:gd name="connsiteX2" fmla="*/ 0 w 1164000"/>
                <a:gd name="connsiteY2" fmla="*/ 257442 h 257442"/>
                <a:gd name="connsiteX3" fmla="*/ 0 w 1164000"/>
                <a:gd name="connsiteY3" fmla="*/ 0 h 257442"/>
                <a:gd name="connsiteX0" fmla="*/ 1332316 w 1332316"/>
                <a:gd name="connsiteY0" fmla="*/ 0 h 257442"/>
                <a:gd name="connsiteX1" fmla="*/ 1109279 w 1332316"/>
                <a:gd name="connsiteY1" fmla="*/ 257442 h 257442"/>
                <a:gd name="connsiteX2" fmla="*/ 0 w 1332316"/>
                <a:gd name="connsiteY2" fmla="*/ 257442 h 257442"/>
                <a:gd name="connsiteX3" fmla="*/ 0 w 1332316"/>
                <a:gd name="connsiteY3" fmla="*/ 0 h 257442"/>
                <a:gd name="connsiteX0" fmla="*/ 1332316 w 1332316"/>
                <a:gd name="connsiteY0" fmla="*/ 0 h 257442"/>
                <a:gd name="connsiteX1" fmla="*/ 1277595 w 1332316"/>
                <a:gd name="connsiteY1" fmla="*/ 257442 h 257442"/>
                <a:gd name="connsiteX2" fmla="*/ 0 w 1332316"/>
                <a:gd name="connsiteY2" fmla="*/ 257442 h 257442"/>
                <a:gd name="connsiteX3" fmla="*/ 0 w 1332316"/>
                <a:gd name="connsiteY3" fmla="*/ 0 h 257442"/>
                <a:gd name="connsiteX0" fmla="*/ 1332316 w 1332316"/>
                <a:gd name="connsiteY0" fmla="*/ 0 h 257442"/>
                <a:gd name="connsiteX1" fmla="*/ 1277595 w 1332316"/>
                <a:gd name="connsiteY1" fmla="*/ 257442 h 257442"/>
                <a:gd name="connsiteX2" fmla="*/ 0 w 1332316"/>
                <a:gd name="connsiteY2" fmla="*/ 257442 h 257442"/>
                <a:gd name="connsiteX3" fmla="*/ 0 w 1332316"/>
                <a:gd name="connsiteY3" fmla="*/ 0 h 257442"/>
                <a:gd name="connsiteX0" fmla="*/ 1332316 w 1332316"/>
                <a:gd name="connsiteY0" fmla="*/ 0 h 257442"/>
                <a:gd name="connsiteX1" fmla="*/ 1277595 w 1332316"/>
                <a:gd name="connsiteY1" fmla="*/ 257442 h 257442"/>
                <a:gd name="connsiteX2" fmla="*/ 0 w 1332316"/>
                <a:gd name="connsiteY2" fmla="*/ 257442 h 257442"/>
                <a:gd name="connsiteX3" fmla="*/ 0 w 1332316"/>
                <a:gd name="connsiteY3" fmla="*/ 0 h 257442"/>
                <a:gd name="connsiteX0" fmla="*/ 1500631 w 1500631"/>
                <a:gd name="connsiteY0" fmla="*/ 0 h 257442"/>
                <a:gd name="connsiteX1" fmla="*/ 1277595 w 1500631"/>
                <a:gd name="connsiteY1" fmla="*/ 257442 h 257442"/>
                <a:gd name="connsiteX2" fmla="*/ 0 w 1500631"/>
                <a:gd name="connsiteY2" fmla="*/ 257442 h 257442"/>
                <a:gd name="connsiteX3" fmla="*/ 0 w 1500631"/>
                <a:gd name="connsiteY3" fmla="*/ 0 h 257442"/>
                <a:gd name="connsiteX0" fmla="*/ 1500631 w 1500631"/>
                <a:gd name="connsiteY0" fmla="*/ 0 h 257442"/>
                <a:gd name="connsiteX1" fmla="*/ 1445910 w 1500631"/>
                <a:gd name="connsiteY1" fmla="*/ 257442 h 257442"/>
                <a:gd name="connsiteX2" fmla="*/ 0 w 1500631"/>
                <a:gd name="connsiteY2" fmla="*/ 257442 h 257442"/>
                <a:gd name="connsiteX3" fmla="*/ 0 w 1500631"/>
                <a:gd name="connsiteY3" fmla="*/ 0 h 257442"/>
                <a:gd name="connsiteX0" fmla="*/ 1500631 w 1500631"/>
                <a:gd name="connsiteY0" fmla="*/ 0 h 257442"/>
                <a:gd name="connsiteX1" fmla="*/ 1445910 w 1500631"/>
                <a:gd name="connsiteY1" fmla="*/ 257442 h 257442"/>
                <a:gd name="connsiteX2" fmla="*/ 0 w 1500631"/>
                <a:gd name="connsiteY2" fmla="*/ 257442 h 257442"/>
                <a:gd name="connsiteX3" fmla="*/ 0 w 1500631"/>
                <a:gd name="connsiteY3" fmla="*/ 0 h 257442"/>
                <a:gd name="connsiteX0" fmla="*/ 1500631 w 1500631"/>
                <a:gd name="connsiteY0" fmla="*/ 0 h 257442"/>
                <a:gd name="connsiteX1" fmla="*/ 1445910 w 1500631"/>
                <a:gd name="connsiteY1" fmla="*/ 257442 h 257442"/>
                <a:gd name="connsiteX2" fmla="*/ 0 w 1500631"/>
                <a:gd name="connsiteY2" fmla="*/ 257442 h 257442"/>
                <a:gd name="connsiteX3" fmla="*/ 0 w 1500631"/>
                <a:gd name="connsiteY3" fmla="*/ 0 h 257442"/>
                <a:gd name="connsiteX0" fmla="*/ 1652916 w 1652916"/>
                <a:gd name="connsiteY0" fmla="*/ 0 h 257442"/>
                <a:gd name="connsiteX1" fmla="*/ 1445910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652916 w 1652916"/>
                <a:gd name="connsiteY0" fmla="*/ 0 h 257442"/>
                <a:gd name="connsiteX1" fmla="*/ 1598194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652917 w 1652917"/>
                <a:gd name="connsiteY0" fmla="*/ 0 h 257442"/>
                <a:gd name="connsiteX1" fmla="*/ 1598195 w 1652917"/>
                <a:gd name="connsiteY1" fmla="*/ 257442 h 257442"/>
                <a:gd name="connsiteX2" fmla="*/ 0 w 1652917"/>
                <a:gd name="connsiteY2" fmla="*/ 257442 h 257442"/>
                <a:gd name="connsiteX3" fmla="*/ 1 w 1652917"/>
                <a:gd name="connsiteY3" fmla="*/ 0 h 257442"/>
                <a:gd name="connsiteX0" fmla="*/ 1652917 w 1652917"/>
                <a:gd name="connsiteY0" fmla="*/ 0 h 257442"/>
                <a:gd name="connsiteX1" fmla="*/ 1598195 w 1652917"/>
                <a:gd name="connsiteY1" fmla="*/ 257442 h 257442"/>
                <a:gd name="connsiteX2" fmla="*/ 0 w 1652917"/>
                <a:gd name="connsiteY2" fmla="*/ 257442 h 257442"/>
                <a:gd name="connsiteX3" fmla="*/ 1 w 1652917"/>
                <a:gd name="connsiteY3" fmla="*/ 0 h 257442"/>
                <a:gd name="connsiteX0" fmla="*/ 1830850 w 1830850"/>
                <a:gd name="connsiteY0" fmla="*/ 0 h 257442"/>
                <a:gd name="connsiteX1" fmla="*/ 1598195 w 1830850"/>
                <a:gd name="connsiteY1" fmla="*/ 257442 h 257442"/>
                <a:gd name="connsiteX2" fmla="*/ 0 w 1830850"/>
                <a:gd name="connsiteY2" fmla="*/ 257442 h 257442"/>
                <a:gd name="connsiteX3" fmla="*/ 1 w 1830850"/>
                <a:gd name="connsiteY3" fmla="*/ 0 h 257442"/>
                <a:gd name="connsiteX0" fmla="*/ 1830850 w 1830850"/>
                <a:gd name="connsiteY0" fmla="*/ 0 h 257442"/>
                <a:gd name="connsiteX1" fmla="*/ 1776128 w 1830850"/>
                <a:gd name="connsiteY1" fmla="*/ 257442 h 257442"/>
                <a:gd name="connsiteX2" fmla="*/ 0 w 1830850"/>
                <a:gd name="connsiteY2" fmla="*/ 257442 h 257442"/>
                <a:gd name="connsiteX3" fmla="*/ 1 w 1830850"/>
                <a:gd name="connsiteY3" fmla="*/ 0 h 257442"/>
                <a:gd name="connsiteX0" fmla="*/ 1830850 w 1830850"/>
                <a:gd name="connsiteY0" fmla="*/ 0 h 257442"/>
                <a:gd name="connsiteX1" fmla="*/ 1776128 w 1830850"/>
                <a:gd name="connsiteY1" fmla="*/ 257442 h 257442"/>
                <a:gd name="connsiteX2" fmla="*/ 0 w 1830850"/>
                <a:gd name="connsiteY2" fmla="*/ 257442 h 257442"/>
                <a:gd name="connsiteX3" fmla="*/ 1 w 1830850"/>
                <a:gd name="connsiteY3" fmla="*/ 0 h 257442"/>
                <a:gd name="connsiteX0" fmla="*/ 1830850 w 1830850"/>
                <a:gd name="connsiteY0" fmla="*/ 0 h 257442"/>
                <a:gd name="connsiteX1" fmla="*/ 1776128 w 1830850"/>
                <a:gd name="connsiteY1" fmla="*/ 257442 h 257442"/>
                <a:gd name="connsiteX2" fmla="*/ 0 w 1830850"/>
                <a:gd name="connsiteY2" fmla="*/ 257442 h 257442"/>
                <a:gd name="connsiteX3" fmla="*/ 0 w 1830850"/>
                <a:gd name="connsiteY3" fmla="*/ 0 h 257442"/>
                <a:gd name="connsiteX0" fmla="*/ 1999165 w 1999165"/>
                <a:gd name="connsiteY0" fmla="*/ 0 h 257442"/>
                <a:gd name="connsiteX1" fmla="*/ 1776128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2167480 w 2167480"/>
                <a:gd name="connsiteY0" fmla="*/ 0 h 257442"/>
                <a:gd name="connsiteX1" fmla="*/ 1944444 w 2167480"/>
                <a:gd name="connsiteY1" fmla="*/ 257442 h 257442"/>
                <a:gd name="connsiteX2" fmla="*/ 0 w 2167480"/>
                <a:gd name="connsiteY2" fmla="*/ 257442 h 257442"/>
                <a:gd name="connsiteX3" fmla="*/ 0 w 2167480"/>
                <a:gd name="connsiteY3" fmla="*/ 0 h 257442"/>
                <a:gd name="connsiteX0" fmla="*/ 2167480 w 2167480"/>
                <a:gd name="connsiteY0" fmla="*/ 0 h 257442"/>
                <a:gd name="connsiteX1" fmla="*/ 2112758 w 2167480"/>
                <a:gd name="connsiteY1" fmla="*/ 257442 h 257442"/>
                <a:gd name="connsiteX2" fmla="*/ 0 w 2167480"/>
                <a:gd name="connsiteY2" fmla="*/ 257442 h 257442"/>
                <a:gd name="connsiteX3" fmla="*/ 0 w 2167480"/>
                <a:gd name="connsiteY3" fmla="*/ 0 h 257442"/>
                <a:gd name="connsiteX0" fmla="*/ 2167481 w 2167481"/>
                <a:gd name="connsiteY0" fmla="*/ 0 h 257442"/>
                <a:gd name="connsiteX1" fmla="*/ 2112759 w 2167481"/>
                <a:gd name="connsiteY1" fmla="*/ 257442 h 257442"/>
                <a:gd name="connsiteX2" fmla="*/ 0 w 2167481"/>
                <a:gd name="connsiteY2" fmla="*/ 257442 h 257442"/>
                <a:gd name="connsiteX3" fmla="*/ 1 w 2167481"/>
                <a:gd name="connsiteY3" fmla="*/ 0 h 257442"/>
                <a:gd name="connsiteX0" fmla="*/ 2167481 w 2167481"/>
                <a:gd name="connsiteY0" fmla="*/ 0 h 257442"/>
                <a:gd name="connsiteX1" fmla="*/ 2112759 w 2167481"/>
                <a:gd name="connsiteY1" fmla="*/ 257442 h 257442"/>
                <a:gd name="connsiteX2" fmla="*/ 0 w 2167481"/>
                <a:gd name="connsiteY2" fmla="*/ 257442 h 257442"/>
                <a:gd name="connsiteX3" fmla="*/ 1 w 2167481"/>
                <a:gd name="connsiteY3" fmla="*/ 0 h 257442"/>
                <a:gd name="connsiteX0" fmla="*/ 2327781 w 2327781"/>
                <a:gd name="connsiteY0" fmla="*/ 0 h 257442"/>
                <a:gd name="connsiteX1" fmla="*/ 2112759 w 2327781"/>
                <a:gd name="connsiteY1" fmla="*/ 257442 h 257442"/>
                <a:gd name="connsiteX2" fmla="*/ 0 w 2327781"/>
                <a:gd name="connsiteY2" fmla="*/ 257442 h 257442"/>
                <a:gd name="connsiteX3" fmla="*/ 1 w 2327781"/>
                <a:gd name="connsiteY3" fmla="*/ 0 h 257442"/>
                <a:gd name="connsiteX0" fmla="*/ 2327781 w 2327781"/>
                <a:gd name="connsiteY0" fmla="*/ 0 h 257442"/>
                <a:gd name="connsiteX1" fmla="*/ 2273060 w 2327781"/>
                <a:gd name="connsiteY1" fmla="*/ 257442 h 257442"/>
                <a:gd name="connsiteX2" fmla="*/ 0 w 2327781"/>
                <a:gd name="connsiteY2" fmla="*/ 257442 h 257442"/>
                <a:gd name="connsiteX3" fmla="*/ 1 w 2327781"/>
                <a:gd name="connsiteY3" fmla="*/ 0 h 257442"/>
                <a:gd name="connsiteX0" fmla="*/ 2327780 w 2327780"/>
                <a:gd name="connsiteY0" fmla="*/ 0 h 257442"/>
                <a:gd name="connsiteX1" fmla="*/ 2273059 w 2327780"/>
                <a:gd name="connsiteY1" fmla="*/ 257442 h 257442"/>
                <a:gd name="connsiteX2" fmla="*/ 0 w 2327780"/>
                <a:gd name="connsiteY2" fmla="*/ 257442 h 257442"/>
                <a:gd name="connsiteX3" fmla="*/ 0 w 2327780"/>
                <a:gd name="connsiteY3" fmla="*/ 0 h 257442"/>
                <a:gd name="connsiteX0" fmla="*/ 2327781 w 2327781"/>
                <a:gd name="connsiteY0" fmla="*/ 0 h 257442"/>
                <a:gd name="connsiteX1" fmla="*/ 2273060 w 2327781"/>
                <a:gd name="connsiteY1" fmla="*/ 257442 h 257442"/>
                <a:gd name="connsiteX2" fmla="*/ 1 w 2327781"/>
                <a:gd name="connsiteY2" fmla="*/ 257442 h 257442"/>
                <a:gd name="connsiteX3" fmla="*/ 0 w 2327781"/>
                <a:gd name="connsiteY3" fmla="*/ 0 h 257442"/>
                <a:gd name="connsiteX0" fmla="*/ 950802 w 2273060"/>
                <a:gd name="connsiteY0" fmla="*/ 0 h 257442"/>
                <a:gd name="connsiteX1" fmla="*/ 2273060 w 2273060"/>
                <a:gd name="connsiteY1" fmla="*/ 257442 h 257442"/>
                <a:gd name="connsiteX2" fmla="*/ 1 w 2273060"/>
                <a:gd name="connsiteY2" fmla="*/ 257442 h 257442"/>
                <a:gd name="connsiteX3" fmla="*/ 0 w 2273060"/>
                <a:gd name="connsiteY3" fmla="*/ 0 h 257442"/>
                <a:gd name="connsiteX0" fmla="*/ 950802 w 950802"/>
                <a:gd name="connsiteY0" fmla="*/ 0 h 257442"/>
                <a:gd name="connsiteX1" fmla="*/ 896081 w 950802"/>
                <a:gd name="connsiteY1" fmla="*/ 257442 h 257442"/>
                <a:gd name="connsiteX2" fmla="*/ 1 w 950802"/>
                <a:gd name="connsiteY2" fmla="*/ 257442 h 257442"/>
                <a:gd name="connsiteX3" fmla="*/ 0 w 950802"/>
                <a:gd name="connsiteY3" fmla="*/ 0 h 257442"/>
                <a:gd name="connsiteX0" fmla="*/ 950802 w 950802"/>
                <a:gd name="connsiteY0" fmla="*/ 0 h 257442"/>
                <a:gd name="connsiteX1" fmla="*/ 896081 w 950802"/>
                <a:gd name="connsiteY1" fmla="*/ 257442 h 257442"/>
                <a:gd name="connsiteX2" fmla="*/ 1 w 950802"/>
                <a:gd name="connsiteY2" fmla="*/ 257442 h 257442"/>
                <a:gd name="connsiteX3" fmla="*/ 0 w 950802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1128734 w 1128734"/>
                <a:gd name="connsiteY0" fmla="*/ 0 h 257442"/>
                <a:gd name="connsiteX1" fmla="*/ 896080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128734 w 1128734"/>
                <a:gd name="connsiteY0" fmla="*/ 0 h 257442"/>
                <a:gd name="connsiteX1" fmla="*/ 1074012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128735 w 1128735"/>
                <a:gd name="connsiteY0" fmla="*/ 0 h 257442"/>
                <a:gd name="connsiteX1" fmla="*/ 1074013 w 1128735"/>
                <a:gd name="connsiteY1" fmla="*/ 257442 h 257442"/>
                <a:gd name="connsiteX2" fmla="*/ 0 w 1128735"/>
                <a:gd name="connsiteY2" fmla="*/ 257442 h 257442"/>
                <a:gd name="connsiteX3" fmla="*/ 1 w 1128735"/>
                <a:gd name="connsiteY3" fmla="*/ 0 h 257442"/>
                <a:gd name="connsiteX0" fmla="*/ 1128735 w 1128735"/>
                <a:gd name="connsiteY0" fmla="*/ 0 h 257442"/>
                <a:gd name="connsiteX1" fmla="*/ 1074013 w 1128735"/>
                <a:gd name="connsiteY1" fmla="*/ 257442 h 257442"/>
                <a:gd name="connsiteX2" fmla="*/ 0 w 1128735"/>
                <a:gd name="connsiteY2" fmla="*/ 257442 h 257442"/>
                <a:gd name="connsiteX3" fmla="*/ 1 w 1128735"/>
                <a:gd name="connsiteY3" fmla="*/ 0 h 257442"/>
                <a:gd name="connsiteX0" fmla="*/ 1314683 w 1314683"/>
                <a:gd name="connsiteY0" fmla="*/ 0 h 257442"/>
                <a:gd name="connsiteX1" fmla="*/ 1074013 w 1314683"/>
                <a:gd name="connsiteY1" fmla="*/ 257442 h 257442"/>
                <a:gd name="connsiteX2" fmla="*/ 0 w 1314683"/>
                <a:gd name="connsiteY2" fmla="*/ 257442 h 257442"/>
                <a:gd name="connsiteX3" fmla="*/ 1 w 1314683"/>
                <a:gd name="connsiteY3" fmla="*/ 0 h 257442"/>
                <a:gd name="connsiteX0" fmla="*/ 1314683 w 1314683"/>
                <a:gd name="connsiteY0" fmla="*/ 0 h 257442"/>
                <a:gd name="connsiteX1" fmla="*/ 1259962 w 1314683"/>
                <a:gd name="connsiteY1" fmla="*/ 257442 h 257442"/>
                <a:gd name="connsiteX2" fmla="*/ 0 w 1314683"/>
                <a:gd name="connsiteY2" fmla="*/ 257442 h 257442"/>
                <a:gd name="connsiteX3" fmla="*/ 1 w 1314683"/>
                <a:gd name="connsiteY3" fmla="*/ 0 h 257442"/>
                <a:gd name="connsiteX0" fmla="*/ 1314682 w 1314682"/>
                <a:gd name="connsiteY0" fmla="*/ 0 h 257442"/>
                <a:gd name="connsiteX1" fmla="*/ 1259961 w 1314682"/>
                <a:gd name="connsiteY1" fmla="*/ 257442 h 257442"/>
                <a:gd name="connsiteX2" fmla="*/ 0 w 1314682"/>
                <a:gd name="connsiteY2" fmla="*/ 257442 h 257442"/>
                <a:gd name="connsiteX3" fmla="*/ 0 w 1314682"/>
                <a:gd name="connsiteY3" fmla="*/ 0 h 257442"/>
                <a:gd name="connsiteX0" fmla="*/ 1314683 w 1314683"/>
                <a:gd name="connsiteY0" fmla="*/ 0 h 257442"/>
                <a:gd name="connsiteX1" fmla="*/ 1259962 w 1314683"/>
                <a:gd name="connsiteY1" fmla="*/ 257442 h 257442"/>
                <a:gd name="connsiteX2" fmla="*/ 1 w 1314683"/>
                <a:gd name="connsiteY2" fmla="*/ 257442 h 257442"/>
                <a:gd name="connsiteX3" fmla="*/ 0 w 1314683"/>
                <a:gd name="connsiteY3" fmla="*/ 0 h 257442"/>
                <a:gd name="connsiteX0" fmla="*/ 1474984 w 1474984"/>
                <a:gd name="connsiteY0" fmla="*/ 0 h 257442"/>
                <a:gd name="connsiteX1" fmla="*/ 1259962 w 1474984"/>
                <a:gd name="connsiteY1" fmla="*/ 257442 h 257442"/>
                <a:gd name="connsiteX2" fmla="*/ 1 w 1474984"/>
                <a:gd name="connsiteY2" fmla="*/ 257442 h 257442"/>
                <a:gd name="connsiteX3" fmla="*/ 0 w 1474984"/>
                <a:gd name="connsiteY3" fmla="*/ 0 h 257442"/>
                <a:gd name="connsiteX0" fmla="*/ 1474984 w 1474984"/>
                <a:gd name="connsiteY0" fmla="*/ 0 h 257442"/>
                <a:gd name="connsiteX1" fmla="*/ 1420262 w 1474984"/>
                <a:gd name="connsiteY1" fmla="*/ 257442 h 257442"/>
                <a:gd name="connsiteX2" fmla="*/ 1 w 1474984"/>
                <a:gd name="connsiteY2" fmla="*/ 257442 h 257442"/>
                <a:gd name="connsiteX3" fmla="*/ 0 w 1474984"/>
                <a:gd name="connsiteY3" fmla="*/ 0 h 257442"/>
                <a:gd name="connsiteX0" fmla="*/ 1474984 w 1474984"/>
                <a:gd name="connsiteY0" fmla="*/ 0 h 257442"/>
                <a:gd name="connsiteX1" fmla="*/ 1420262 w 1474984"/>
                <a:gd name="connsiteY1" fmla="*/ 257442 h 257442"/>
                <a:gd name="connsiteX2" fmla="*/ 0 w 1474984"/>
                <a:gd name="connsiteY2" fmla="*/ 257442 h 257442"/>
                <a:gd name="connsiteX3" fmla="*/ 0 w 1474984"/>
                <a:gd name="connsiteY3" fmla="*/ 0 h 257442"/>
                <a:gd name="connsiteX0" fmla="*/ 1474984 w 1474984"/>
                <a:gd name="connsiteY0" fmla="*/ 0 h 257442"/>
                <a:gd name="connsiteX1" fmla="*/ 1420262 w 1474984"/>
                <a:gd name="connsiteY1" fmla="*/ 257442 h 257442"/>
                <a:gd name="connsiteX2" fmla="*/ 0 w 1474984"/>
                <a:gd name="connsiteY2" fmla="*/ 257442 h 257442"/>
                <a:gd name="connsiteX3" fmla="*/ 0 w 1474984"/>
                <a:gd name="connsiteY3" fmla="*/ 0 h 257442"/>
                <a:gd name="connsiteX0" fmla="*/ 1635283 w 1635283"/>
                <a:gd name="connsiteY0" fmla="*/ 0 h 257442"/>
                <a:gd name="connsiteX1" fmla="*/ 1420262 w 1635283"/>
                <a:gd name="connsiteY1" fmla="*/ 257442 h 257442"/>
                <a:gd name="connsiteX2" fmla="*/ 0 w 1635283"/>
                <a:gd name="connsiteY2" fmla="*/ 257442 h 257442"/>
                <a:gd name="connsiteX3" fmla="*/ 0 w 1635283"/>
                <a:gd name="connsiteY3" fmla="*/ 0 h 257442"/>
                <a:gd name="connsiteX0" fmla="*/ 1635283 w 1635283"/>
                <a:gd name="connsiteY0" fmla="*/ 0 h 257442"/>
                <a:gd name="connsiteX1" fmla="*/ 1580562 w 1635283"/>
                <a:gd name="connsiteY1" fmla="*/ 257442 h 257442"/>
                <a:gd name="connsiteX2" fmla="*/ 0 w 1635283"/>
                <a:gd name="connsiteY2" fmla="*/ 257442 h 257442"/>
                <a:gd name="connsiteX3" fmla="*/ 0 w 1635283"/>
                <a:gd name="connsiteY3" fmla="*/ 0 h 257442"/>
                <a:gd name="connsiteX0" fmla="*/ 1635283 w 1635283"/>
                <a:gd name="connsiteY0" fmla="*/ 0 h 257442"/>
                <a:gd name="connsiteX1" fmla="*/ 1580562 w 1635283"/>
                <a:gd name="connsiteY1" fmla="*/ 257442 h 257442"/>
                <a:gd name="connsiteX2" fmla="*/ 0 w 1635283"/>
                <a:gd name="connsiteY2" fmla="*/ 257442 h 257442"/>
                <a:gd name="connsiteX3" fmla="*/ 0 w 1635283"/>
                <a:gd name="connsiteY3" fmla="*/ 0 h 257442"/>
                <a:gd name="connsiteX0" fmla="*/ 1635283 w 1635283"/>
                <a:gd name="connsiteY0" fmla="*/ 0 h 257442"/>
                <a:gd name="connsiteX1" fmla="*/ 1580562 w 1635283"/>
                <a:gd name="connsiteY1" fmla="*/ 257442 h 257442"/>
                <a:gd name="connsiteX2" fmla="*/ 0 w 1635283"/>
                <a:gd name="connsiteY2" fmla="*/ 257442 h 257442"/>
                <a:gd name="connsiteX3" fmla="*/ 0 w 1635283"/>
                <a:gd name="connsiteY3" fmla="*/ 0 h 257442"/>
                <a:gd name="connsiteX0" fmla="*/ 1787569 w 1787569"/>
                <a:gd name="connsiteY0" fmla="*/ 0 h 257442"/>
                <a:gd name="connsiteX1" fmla="*/ 1580562 w 1787569"/>
                <a:gd name="connsiteY1" fmla="*/ 257442 h 257442"/>
                <a:gd name="connsiteX2" fmla="*/ 0 w 1787569"/>
                <a:gd name="connsiteY2" fmla="*/ 257442 h 257442"/>
                <a:gd name="connsiteX3" fmla="*/ 0 w 1787569"/>
                <a:gd name="connsiteY3" fmla="*/ 0 h 257442"/>
                <a:gd name="connsiteX0" fmla="*/ 1787569 w 1787569"/>
                <a:gd name="connsiteY0" fmla="*/ 0 h 257442"/>
                <a:gd name="connsiteX1" fmla="*/ 1732848 w 1787569"/>
                <a:gd name="connsiteY1" fmla="*/ 257442 h 257442"/>
                <a:gd name="connsiteX2" fmla="*/ 0 w 1787569"/>
                <a:gd name="connsiteY2" fmla="*/ 257442 h 257442"/>
                <a:gd name="connsiteX3" fmla="*/ 0 w 1787569"/>
                <a:gd name="connsiteY3" fmla="*/ 0 h 257442"/>
                <a:gd name="connsiteX0" fmla="*/ 1787569 w 1787569"/>
                <a:gd name="connsiteY0" fmla="*/ 0 h 257442"/>
                <a:gd name="connsiteX1" fmla="*/ 1732848 w 1787569"/>
                <a:gd name="connsiteY1" fmla="*/ 257442 h 257442"/>
                <a:gd name="connsiteX2" fmla="*/ 0 w 1787569"/>
                <a:gd name="connsiteY2" fmla="*/ 257442 h 257442"/>
                <a:gd name="connsiteX3" fmla="*/ 0 w 1787569"/>
                <a:gd name="connsiteY3" fmla="*/ 0 h 257442"/>
                <a:gd name="connsiteX0" fmla="*/ 1787569 w 1787569"/>
                <a:gd name="connsiteY0" fmla="*/ 0 h 257442"/>
                <a:gd name="connsiteX1" fmla="*/ 1732848 w 1787569"/>
                <a:gd name="connsiteY1" fmla="*/ 257442 h 257442"/>
                <a:gd name="connsiteX2" fmla="*/ 0 w 1787569"/>
                <a:gd name="connsiteY2" fmla="*/ 257442 h 257442"/>
                <a:gd name="connsiteX3" fmla="*/ 0 w 1787569"/>
                <a:gd name="connsiteY3" fmla="*/ 0 h 257442"/>
                <a:gd name="connsiteX0" fmla="*/ 1888557 w 1888557"/>
                <a:gd name="connsiteY0" fmla="*/ 0 h 257442"/>
                <a:gd name="connsiteX1" fmla="*/ 1732848 w 1888557"/>
                <a:gd name="connsiteY1" fmla="*/ 257442 h 257442"/>
                <a:gd name="connsiteX2" fmla="*/ 0 w 1888557"/>
                <a:gd name="connsiteY2" fmla="*/ 257442 h 257442"/>
                <a:gd name="connsiteX3" fmla="*/ 0 w 1888557"/>
                <a:gd name="connsiteY3" fmla="*/ 0 h 257442"/>
                <a:gd name="connsiteX0" fmla="*/ 1888557 w 1888557"/>
                <a:gd name="connsiteY0" fmla="*/ 0 h 257442"/>
                <a:gd name="connsiteX1" fmla="*/ 1833836 w 1888557"/>
                <a:gd name="connsiteY1" fmla="*/ 257442 h 257442"/>
                <a:gd name="connsiteX2" fmla="*/ 0 w 1888557"/>
                <a:gd name="connsiteY2" fmla="*/ 257442 h 257442"/>
                <a:gd name="connsiteX3" fmla="*/ 0 w 1888557"/>
                <a:gd name="connsiteY3" fmla="*/ 0 h 257442"/>
                <a:gd name="connsiteX0" fmla="*/ 1888557 w 1888557"/>
                <a:gd name="connsiteY0" fmla="*/ 0 h 257442"/>
                <a:gd name="connsiteX1" fmla="*/ 1833836 w 1888557"/>
                <a:gd name="connsiteY1" fmla="*/ 257442 h 257442"/>
                <a:gd name="connsiteX2" fmla="*/ 0 w 1888557"/>
                <a:gd name="connsiteY2" fmla="*/ 257442 h 257442"/>
                <a:gd name="connsiteX3" fmla="*/ 0 w 1888557"/>
                <a:gd name="connsiteY3" fmla="*/ 0 h 257442"/>
                <a:gd name="connsiteX0" fmla="*/ 1888557 w 1888557"/>
                <a:gd name="connsiteY0" fmla="*/ 0 h 257442"/>
                <a:gd name="connsiteX1" fmla="*/ 1833836 w 1888557"/>
                <a:gd name="connsiteY1" fmla="*/ 257442 h 257442"/>
                <a:gd name="connsiteX2" fmla="*/ 0 w 1888557"/>
                <a:gd name="connsiteY2" fmla="*/ 257442 h 257442"/>
                <a:gd name="connsiteX3" fmla="*/ 0 w 1888557"/>
                <a:gd name="connsiteY3" fmla="*/ 0 h 257442"/>
                <a:gd name="connsiteX0" fmla="*/ 2040843 w 2040843"/>
                <a:gd name="connsiteY0" fmla="*/ 0 h 257442"/>
                <a:gd name="connsiteX1" fmla="*/ 1833836 w 2040843"/>
                <a:gd name="connsiteY1" fmla="*/ 257442 h 257442"/>
                <a:gd name="connsiteX2" fmla="*/ 0 w 2040843"/>
                <a:gd name="connsiteY2" fmla="*/ 257442 h 257442"/>
                <a:gd name="connsiteX3" fmla="*/ 0 w 2040843"/>
                <a:gd name="connsiteY3" fmla="*/ 0 h 257442"/>
                <a:gd name="connsiteX0" fmla="*/ 2040843 w 2040843"/>
                <a:gd name="connsiteY0" fmla="*/ 0 h 257442"/>
                <a:gd name="connsiteX1" fmla="*/ 1986122 w 2040843"/>
                <a:gd name="connsiteY1" fmla="*/ 257442 h 257442"/>
                <a:gd name="connsiteX2" fmla="*/ 0 w 2040843"/>
                <a:gd name="connsiteY2" fmla="*/ 257442 h 257442"/>
                <a:gd name="connsiteX3" fmla="*/ 0 w 2040843"/>
                <a:gd name="connsiteY3" fmla="*/ 0 h 257442"/>
                <a:gd name="connsiteX0" fmla="*/ 2040843 w 2040843"/>
                <a:gd name="connsiteY0" fmla="*/ 0 h 257442"/>
                <a:gd name="connsiteX1" fmla="*/ 1986122 w 2040843"/>
                <a:gd name="connsiteY1" fmla="*/ 257442 h 257442"/>
                <a:gd name="connsiteX2" fmla="*/ 0 w 2040843"/>
                <a:gd name="connsiteY2" fmla="*/ 257442 h 257442"/>
                <a:gd name="connsiteX3" fmla="*/ 0 w 2040843"/>
                <a:gd name="connsiteY3" fmla="*/ 0 h 257442"/>
                <a:gd name="connsiteX0" fmla="*/ 2040843 w 2040843"/>
                <a:gd name="connsiteY0" fmla="*/ 0 h 257442"/>
                <a:gd name="connsiteX1" fmla="*/ 1986122 w 2040843"/>
                <a:gd name="connsiteY1" fmla="*/ 257442 h 257442"/>
                <a:gd name="connsiteX2" fmla="*/ 0 w 2040843"/>
                <a:gd name="connsiteY2" fmla="*/ 257442 h 257442"/>
                <a:gd name="connsiteX3" fmla="*/ 0 w 2040843"/>
                <a:gd name="connsiteY3" fmla="*/ 0 h 257442"/>
                <a:gd name="connsiteX0" fmla="*/ 2141832 w 2141832"/>
                <a:gd name="connsiteY0" fmla="*/ 0 h 257442"/>
                <a:gd name="connsiteX1" fmla="*/ 1986122 w 2141832"/>
                <a:gd name="connsiteY1" fmla="*/ 257442 h 257442"/>
                <a:gd name="connsiteX2" fmla="*/ 0 w 2141832"/>
                <a:gd name="connsiteY2" fmla="*/ 257442 h 257442"/>
                <a:gd name="connsiteX3" fmla="*/ 0 w 2141832"/>
                <a:gd name="connsiteY3" fmla="*/ 0 h 257442"/>
                <a:gd name="connsiteX0" fmla="*/ 2141832 w 2141832"/>
                <a:gd name="connsiteY0" fmla="*/ 0 h 257442"/>
                <a:gd name="connsiteX1" fmla="*/ 2087110 w 2141832"/>
                <a:gd name="connsiteY1" fmla="*/ 257442 h 257442"/>
                <a:gd name="connsiteX2" fmla="*/ 0 w 2141832"/>
                <a:gd name="connsiteY2" fmla="*/ 257442 h 257442"/>
                <a:gd name="connsiteX3" fmla="*/ 0 w 2141832"/>
                <a:gd name="connsiteY3" fmla="*/ 0 h 257442"/>
                <a:gd name="connsiteX0" fmla="*/ 2141833 w 2141833"/>
                <a:gd name="connsiteY0" fmla="*/ 0 h 257442"/>
                <a:gd name="connsiteX1" fmla="*/ 2087111 w 2141833"/>
                <a:gd name="connsiteY1" fmla="*/ 257442 h 257442"/>
                <a:gd name="connsiteX2" fmla="*/ 0 w 2141833"/>
                <a:gd name="connsiteY2" fmla="*/ 257442 h 257442"/>
                <a:gd name="connsiteX3" fmla="*/ 1 w 2141833"/>
                <a:gd name="connsiteY3" fmla="*/ 0 h 257442"/>
                <a:gd name="connsiteX0" fmla="*/ 2141833 w 2141833"/>
                <a:gd name="connsiteY0" fmla="*/ 0 h 257442"/>
                <a:gd name="connsiteX1" fmla="*/ 2087111 w 2141833"/>
                <a:gd name="connsiteY1" fmla="*/ 257442 h 257442"/>
                <a:gd name="connsiteX2" fmla="*/ 0 w 2141833"/>
                <a:gd name="connsiteY2" fmla="*/ 257442 h 257442"/>
                <a:gd name="connsiteX3" fmla="*/ 1 w 2141833"/>
                <a:gd name="connsiteY3" fmla="*/ 0 h 257442"/>
                <a:gd name="connsiteX0" fmla="*/ 2302133 w 2302133"/>
                <a:gd name="connsiteY0" fmla="*/ 0 h 257442"/>
                <a:gd name="connsiteX1" fmla="*/ 2087111 w 2302133"/>
                <a:gd name="connsiteY1" fmla="*/ 257442 h 257442"/>
                <a:gd name="connsiteX2" fmla="*/ 0 w 2302133"/>
                <a:gd name="connsiteY2" fmla="*/ 257442 h 257442"/>
                <a:gd name="connsiteX3" fmla="*/ 1 w 2302133"/>
                <a:gd name="connsiteY3" fmla="*/ 0 h 257442"/>
                <a:gd name="connsiteX0" fmla="*/ 2302133 w 2302133"/>
                <a:gd name="connsiteY0" fmla="*/ 0 h 257442"/>
                <a:gd name="connsiteX1" fmla="*/ 2247412 w 2302133"/>
                <a:gd name="connsiteY1" fmla="*/ 257442 h 257442"/>
                <a:gd name="connsiteX2" fmla="*/ 0 w 2302133"/>
                <a:gd name="connsiteY2" fmla="*/ 257442 h 257442"/>
                <a:gd name="connsiteX3" fmla="*/ 1 w 2302133"/>
                <a:gd name="connsiteY3" fmla="*/ 0 h 257442"/>
                <a:gd name="connsiteX0" fmla="*/ 2302132 w 2302132"/>
                <a:gd name="connsiteY0" fmla="*/ 0 h 257442"/>
                <a:gd name="connsiteX1" fmla="*/ 2247411 w 2302132"/>
                <a:gd name="connsiteY1" fmla="*/ 257442 h 257442"/>
                <a:gd name="connsiteX2" fmla="*/ 0 w 2302132"/>
                <a:gd name="connsiteY2" fmla="*/ 257442 h 257442"/>
                <a:gd name="connsiteX3" fmla="*/ 0 w 2302132"/>
                <a:gd name="connsiteY3" fmla="*/ 0 h 257442"/>
                <a:gd name="connsiteX0" fmla="*/ 2302133 w 2302133"/>
                <a:gd name="connsiteY0" fmla="*/ 0 h 257442"/>
                <a:gd name="connsiteX1" fmla="*/ 2247412 w 2302133"/>
                <a:gd name="connsiteY1" fmla="*/ 257442 h 257442"/>
                <a:gd name="connsiteX2" fmla="*/ 1 w 2302133"/>
                <a:gd name="connsiteY2" fmla="*/ 257442 h 257442"/>
                <a:gd name="connsiteX3" fmla="*/ 0 w 2302133"/>
                <a:gd name="connsiteY3" fmla="*/ 0 h 257442"/>
                <a:gd name="connsiteX0" fmla="*/ 2462433 w 2462433"/>
                <a:gd name="connsiteY0" fmla="*/ 0 h 257442"/>
                <a:gd name="connsiteX1" fmla="*/ 2247412 w 2462433"/>
                <a:gd name="connsiteY1" fmla="*/ 257442 h 257442"/>
                <a:gd name="connsiteX2" fmla="*/ 1 w 2462433"/>
                <a:gd name="connsiteY2" fmla="*/ 257442 h 257442"/>
                <a:gd name="connsiteX3" fmla="*/ 0 w 2462433"/>
                <a:gd name="connsiteY3" fmla="*/ 0 h 257442"/>
                <a:gd name="connsiteX0" fmla="*/ 2462433 w 2462433"/>
                <a:gd name="connsiteY0" fmla="*/ 0 h 257442"/>
                <a:gd name="connsiteX1" fmla="*/ 2407712 w 2462433"/>
                <a:gd name="connsiteY1" fmla="*/ 257442 h 257442"/>
                <a:gd name="connsiteX2" fmla="*/ 1 w 2462433"/>
                <a:gd name="connsiteY2" fmla="*/ 257442 h 257442"/>
                <a:gd name="connsiteX3" fmla="*/ 0 w 2462433"/>
                <a:gd name="connsiteY3" fmla="*/ 0 h 257442"/>
                <a:gd name="connsiteX0" fmla="*/ 2462433 w 2462433"/>
                <a:gd name="connsiteY0" fmla="*/ 0 h 257442"/>
                <a:gd name="connsiteX1" fmla="*/ 2407712 w 2462433"/>
                <a:gd name="connsiteY1" fmla="*/ 257442 h 257442"/>
                <a:gd name="connsiteX2" fmla="*/ 1 w 2462433"/>
                <a:gd name="connsiteY2" fmla="*/ 257442 h 257442"/>
                <a:gd name="connsiteX3" fmla="*/ 0 w 2462433"/>
                <a:gd name="connsiteY3" fmla="*/ 0 h 257442"/>
                <a:gd name="connsiteX0" fmla="*/ 2462432 w 2462432"/>
                <a:gd name="connsiteY0" fmla="*/ 0 h 257442"/>
                <a:gd name="connsiteX1" fmla="*/ 2407711 w 2462432"/>
                <a:gd name="connsiteY1" fmla="*/ 257442 h 257442"/>
                <a:gd name="connsiteX2" fmla="*/ 0 w 2462432"/>
                <a:gd name="connsiteY2" fmla="*/ 257442 h 257442"/>
                <a:gd name="connsiteX3" fmla="*/ 0 w 2462432"/>
                <a:gd name="connsiteY3" fmla="*/ 0 h 257442"/>
                <a:gd name="connsiteX0" fmla="*/ 2563421 w 2563421"/>
                <a:gd name="connsiteY0" fmla="*/ 0 h 257442"/>
                <a:gd name="connsiteX1" fmla="*/ 2407711 w 2563421"/>
                <a:gd name="connsiteY1" fmla="*/ 257442 h 257442"/>
                <a:gd name="connsiteX2" fmla="*/ 0 w 2563421"/>
                <a:gd name="connsiteY2" fmla="*/ 257442 h 257442"/>
                <a:gd name="connsiteX3" fmla="*/ 0 w 2563421"/>
                <a:gd name="connsiteY3" fmla="*/ 0 h 257442"/>
                <a:gd name="connsiteX0" fmla="*/ 2563421 w 2563421"/>
                <a:gd name="connsiteY0" fmla="*/ 0 h 257442"/>
                <a:gd name="connsiteX1" fmla="*/ 2508700 w 2563421"/>
                <a:gd name="connsiteY1" fmla="*/ 257442 h 257442"/>
                <a:gd name="connsiteX2" fmla="*/ 0 w 2563421"/>
                <a:gd name="connsiteY2" fmla="*/ 257442 h 257442"/>
                <a:gd name="connsiteX3" fmla="*/ 0 w 2563421"/>
                <a:gd name="connsiteY3" fmla="*/ 0 h 257442"/>
                <a:gd name="connsiteX0" fmla="*/ 2563422 w 2563422"/>
                <a:gd name="connsiteY0" fmla="*/ 0 h 257442"/>
                <a:gd name="connsiteX1" fmla="*/ 2508701 w 2563422"/>
                <a:gd name="connsiteY1" fmla="*/ 257442 h 257442"/>
                <a:gd name="connsiteX2" fmla="*/ 0 w 2563422"/>
                <a:gd name="connsiteY2" fmla="*/ 257442 h 257442"/>
                <a:gd name="connsiteX3" fmla="*/ 1 w 2563422"/>
                <a:gd name="connsiteY3" fmla="*/ 0 h 257442"/>
                <a:gd name="connsiteX0" fmla="*/ 2563422 w 2563422"/>
                <a:gd name="connsiteY0" fmla="*/ 0 h 257442"/>
                <a:gd name="connsiteX1" fmla="*/ 2508701 w 2563422"/>
                <a:gd name="connsiteY1" fmla="*/ 257442 h 257442"/>
                <a:gd name="connsiteX2" fmla="*/ 0 w 2563422"/>
                <a:gd name="connsiteY2" fmla="*/ 257442 h 257442"/>
                <a:gd name="connsiteX3" fmla="*/ 0 w 2563422"/>
                <a:gd name="connsiteY3" fmla="*/ 0 h 257442"/>
                <a:gd name="connsiteX0" fmla="*/ 2731737 w 2731737"/>
                <a:gd name="connsiteY0" fmla="*/ 0 h 257442"/>
                <a:gd name="connsiteX1" fmla="*/ 2508701 w 2731737"/>
                <a:gd name="connsiteY1" fmla="*/ 257442 h 257442"/>
                <a:gd name="connsiteX2" fmla="*/ 0 w 2731737"/>
                <a:gd name="connsiteY2" fmla="*/ 257442 h 257442"/>
                <a:gd name="connsiteX3" fmla="*/ 0 w 2731737"/>
                <a:gd name="connsiteY3" fmla="*/ 0 h 257442"/>
                <a:gd name="connsiteX0" fmla="*/ 2731737 w 2731737"/>
                <a:gd name="connsiteY0" fmla="*/ 0 h 257442"/>
                <a:gd name="connsiteX1" fmla="*/ 2677016 w 2731737"/>
                <a:gd name="connsiteY1" fmla="*/ 257442 h 257442"/>
                <a:gd name="connsiteX2" fmla="*/ 0 w 2731737"/>
                <a:gd name="connsiteY2" fmla="*/ 257442 h 257442"/>
                <a:gd name="connsiteX3" fmla="*/ 0 w 2731737"/>
                <a:gd name="connsiteY3" fmla="*/ 0 h 257442"/>
                <a:gd name="connsiteX0" fmla="*/ 2731737 w 2731737"/>
                <a:gd name="connsiteY0" fmla="*/ 0 h 257442"/>
                <a:gd name="connsiteX1" fmla="*/ 2677016 w 2731737"/>
                <a:gd name="connsiteY1" fmla="*/ 257442 h 257442"/>
                <a:gd name="connsiteX2" fmla="*/ 0 w 2731737"/>
                <a:gd name="connsiteY2" fmla="*/ 257442 h 257442"/>
                <a:gd name="connsiteX3" fmla="*/ 0 w 2731737"/>
                <a:gd name="connsiteY3" fmla="*/ 0 h 257442"/>
                <a:gd name="connsiteX0" fmla="*/ 2731737 w 2731737"/>
                <a:gd name="connsiteY0" fmla="*/ 0 h 257442"/>
                <a:gd name="connsiteX1" fmla="*/ 2677016 w 2731737"/>
                <a:gd name="connsiteY1" fmla="*/ 257442 h 257442"/>
                <a:gd name="connsiteX2" fmla="*/ 0 w 2731737"/>
                <a:gd name="connsiteY2" fmla="*/ 257442 h 257442"/>
                <a:gd name="connsiteX3" fmla="*/ 0 w 2731737"/>
                <a:gd name="connsiteY3" fmla="*/ 0 h 257442"/>
                <a:gd name="connsiteX0" fmla="*/ 2892037 w 2892037"/>
                <a:gd name="connsiteY0" fmla="*/ 0 h 257442"/>
                <a:gd name="connsiteX1" fmla="*/ 2677016 w 2892037"/>
                <a:gd name="connsiteY1" fmla="*/ 257442 h 257442"/>
                <a:gd name="connsiteX2" fmla="*/ 0 w 2892037"/>
                <a:gd name="connsiteY2" fmla="*/ 257442 h 257442"/>
                <a:gd name="connsiteX3" fmla="*/ 0 w 2892037"/>
                <a:gd name="connsiteY3" fmla="*/ 0 h 257442"/>
                <a:gd name="connsiteX0" fmla="*/ 2892037 w 2892037"/>
                <a:gd name="connsiteY0" fmla="*/ 0 h 257442"/>
                <a:gd name="connsiteX1" fmla="*/ 2837316 w 2892037"/>
                <a:gd name="connsiteY1" fmla="*/ 257442 h 257442"/>
                <a:gd name="connsiteX2" fmla="*/ 0 w 2892037"/>
                <a:gd name="connsiteY2" fmla="*/ 257442 h 257442"/>
                <a:gd name="connsiteX3" fmla="*/ 0 w 2892037"/>
                <a:gd name="connsiteY3" fmla="*/ 0 h 257442"/>
                <a:gd name="connsiteX0" fmla="*/ 2892037 w 2892037"/>
                <a:gd name="connsiteY0" fmla="*/ 0 h 257442"/>
                <a:gd name="connsiteX1" fmla="*/ 2837316 w 2892037"/>
                <a:gd name="connsiteY1" fmla="*/ 257442 h 257442"/>
                <a:gd name="connsiteX2" fmla="*/ 0 w 2892037"/>
                <a:gd name="connsiteY2" fmla="*/ 257442 h 257442"/>
                <a:gd name="connsiteX3" fmla="*/ 0 w 2892037"/>
                <a:gd name="connsiteY3" fmla="*/ 0 h 257442"/>
                <a:gd name="connsiteX0" fmla="*/ 2892037 w 2892037"/>
                <a:gd name="connsiteY0" fmla="*/ 0 h 257442"/>
                <a:gd name="connsiteX1" fmla="*/ 2837316 w 2892037"/>
                <a:gd name="connsiteY1" fmla="*/ 257442 h 257442"/>
                <a:gd name="connsiteX2" fmla="*/ 0 w 2892037"/>
                <a:gd name="connsiteY2" fmla="*/ 257442 h 257442"/>
                <a:gd name="connsiteX3" fmla="*/ 0 w 2892037"/>
                <a:gd name="connsiteY3" fmla="*/ 0 h 257442"/>
                <a:gd name="connsiteX0" fmla="*/ 3060353 w 3060353"/>
                <a:gd name="connsiteY0" fmla="*/ 0 h 257442"/>
                <a:gd name="connsiteX1" fmla="*/ 2837316 w 3060353"/>
                <a:gd name="connsiteY1" fmla="*/ 257442 h 257442"/>
                <a:gd name="connsiteX2" fmla="*/ 0 w 3060353"/>
                <a:gd name="connsiteY2" fmla="*/ 257442 h 257442"/>
                <a:gd name="connsiteX3" fmla="*/ 0 w 3060353"/>
                <a:gd name="connsiteY3" fmla="*/ 0 h 257442"/>
                <a:gd name="connsiteX0" fmla="*/ 3060353 w 3060353"/>
                <a:gd name="connsiteY0" fmla="*/ 0 h 257442"/>
                <a:gd name="connsiteX1" fmla="*/ 3005632 w 3060353"/>
                <a:gd name="connsiteY1" fmla="*/ 257442 h 257442"/>
                <a:gd name="connsiteX2" fmla="*/ 0 w 3060353"/>
                <a:gd name="connsiteY2" fmla="*/ 257442 h 257442"/>
                <a:gd name="connsiteX3" fmla="*/ 0 w 3060353"/>
                <a:gd name="connsiteY3" fmla="*/ 0 h 257442"/>
                <a:gd name="connsiteX0" fmla="*/ 3060353 w 3060353"/>
                <a:gd name="connsiteY0" fmla="*/ 0 h 257442"/>
                <a:gd name="connsiteX1" fmla="*/ 3005632 w 3060353"/>
                <a:gd name="connsiteY1" fmla="*/ 257442 h 257442"/>
                <a:gd name="connsiteX2" fmla="*/ 0 w 3060353"/>
                <a:gd name="connsiteY2" fmla="*/ 257442 h 257442"/>
                <a:gd name="connsiteX3" fmla="*/ 0 w 3060353"/>
                <a:gd name="connsiteY3" fmla="*/ 0 h 257442"/>
                <a:gd name="connsiteX0" fmla="*/ 3060353 w 3060353"/>
                <a:gd name="connsiteY0" fmla="*/ 0 h 257442"/>
                <a:gd name="connsiteX1" fmla="*/ 3005632 w 3060353"/>
                <a:gd name="connsiteY1" fmla="*/ 257442 h 257442"/>
                <a:gd name="connsiteX2" fmla="*/ 0 w 3060353"/>
                <a:gd name="connsiteY2" fmla="*/ 257442 h 257442"/>
                <a:gd name="connsiteX3" fmla="*/ 0 w 3060353"/>
                <a:gd name="connsiteY3" fmla="*/ 0 h 257442"/>
                <a:gd name="connsiteX0" fmla="*/ 3228668 w 3228668"/>
                <a:gd name="connsiteY0" fmla="*/ 0 h 257442"/>
                <a:gd name="connsiteX1" fmla="*/ 3005632 w 3228668"/>
                <a:gd name="connsiteY1" fmla="*/ 257442 h 257442"/>
                <a:gd name="connsiteX2" fmla="*/ 0 w 3228668"/>
                <a:gd name="connsiteY2" fmla="*/ 257442 h 257442"/>
                <a:gd name="connsiteX3" fmla="*/ 0 w 3228668"/>
                <a:gd name="connsiteY3" fmla="*/ 0 h 257442"/>
                <a:gd name="connsiteX0" fmla="*/ 3228668 w 3228668"/>
                <a:gd name="connsiteY0" fmla="*/ 0 h 257442"/>
                <a:gd name="connsiteX1" fmla="*/ 3173946 w 3228668"/>
                <a:gd name="connsiteY1" fmla="*/ 257442 h 257442"/>
                <a:gd name="connsiteX2" fmla="*/ 0 w 3228668"/>
                <a:gd name="connsiteY2" fmla="*/ 257442 h 257442"/>
                <a:gd name="connsiteX3" fmla="*/ 0 w 3228668"/>
                <a:gd name="connsiteY3" fmla="*/ 0 h 257442"/>
                <a:gd name="connsiteX0" fmla="*/ 3228669 w 3228669"/>
                <a:gd name="connsiteY0" fmla="*/ 0 h 257442"/>
                <a:gd name="connsiteX1" fmla="*/ 3173947 w 3228669"/>
                <a:gd name="connsiteY1" fmla="*/ 257442 h 257442"/>
                <a:gd name="connsiteX2" fmla="*/ 0 w 3228669"/>
                <a:gd name="connsiteY2" fmla="*/ 257442 h 257442"/>
                <a:gd name="connsiteX3" fmla="*/ 1 w 3228669"/>
                <a:gd name="connsiteY3" fmla="*/ 0 h 257442"/>
                <a:gd name="connsiteX0" fmla="*/ 3228669 w 3228669"/>
                <a:gd name="connsiteY0" fmla="*/ 0 h 257442"/>
                <a:gd name="connsiteX1" fmla="*/ 3173947 w 3228669"/>
                <a:gd name="connsiteY1" fmla="*/ 257442 h 257442"/>
                <a:gd name="connsiteX2" fmla="*/ 0 w 3228669"/>
                <a:gd name="connsiteY2" fmla="*/ 257442 h 257442"/>
                <a:gd name="connsiteX3" fmla="*/ 1 w 3228669"/>
                <a:gd name="connsiteY3" fmla="*/ 0 h 257442"/>
                <a:gd name="connsiteX0" fmla="*/ 3414617 w 3414617"/>
                <a:gd name="connsiteY0" fmla="*/ 0 h 257442"/>
                <a:gd name="connsiteX1" fmla="*/ 3173947 w 3414617"/>
                <a:gd name="connsiteY1" fmla="*/ 257442 h 257442"/>
                <a:gd name="connsiteX2" fmla="*/ 0 w 3414617"/>
                <a:gd name="connsiteY2" fmla="*/ 257442 h 257442"/>
                <a:gd name="connsiteX3" fmla="*/ 1 w 3414617"/>
                <a:gd name="connsiteY3" fmla="*/ 0 h 257442"/>
                <a:gd name="connsiteX0" fmla="*/ 3414617 w 3414617"/>
                <a:gd name="connsiteY0" fmla="*/ 0 h 257442"/>
                <a:gd name="connsiteX1" fmla="*/ 3359896 w 3414617"/>
                <a:gd name="connsiteY1" fmla="*/ 257442 h 257442"/>
                <a:gd name="connsiteX2" fmla="*/ 0 w 3414617"/>
                <a:gd name="connsiteY2" fmla="*/ 257442 h 257442"/>
                <a:gd name="connsiteX3" fmla="*/ 1 w 3414617"/>
                <a:gd name="connsiteY3" fmla="*/ 0 h 257442"/>
                <a:gd name="connsiteX0" fmla="*/ 3414616 w 3414616"/>
                <a:gd name="connsiteY0" fmla="*/ 0 h 257442"/>
                <a:gd name="connsiteX1" fmla="*/ 3359895 w 3414616"/>
                <a:gd name="connsiteY1" fmla="*/ 257442 h 257442"/>
                <a:gd name="connsiteX2" fmla="*/ 0 w 3414616"/>
                <a:gd name="connsiteY2" fmla="*/ 257442 h 257442"/>
                <a:gd name="connsiteX3" fmla="*/ 0 w 3414616"/>
                <a:gd name="connsiteY3" fmla="*/ 0 h 257442"/>
                <a:gd name="connsiteX0" fmla="*/ 3414617 w 3414617"/>
                <a:gd name="connsiteY0" fmla="*/ 0 h 257442"/>
                <a:gd name="connsiteX1" fmla="*/ 3359896 w 3414617"/>
                <a:gd name="connsiteY1" fmla="*/ 257442 h 257442"/>
                <a:gd name="connsiteX2" fmla="*/ 1 w 3414617"/>
                <a:gd name="connsiteY2" fmla="*/ 257442 h 257442"/>
                <a:gd name="connsiteX3" fmla="*/ 0 w 3414617"/>
                <a:gd name="connsiteY3" fmla="*/ 0 h 257442"/>
                <a:gd name="connsiteX0" fmla="*/ 3515607 w 3515607"/>
                <a:gd name="connsiteY0" fmla="*/ 0 h 257442"/>
                <a:gd name="connsiteX1" fmla="*/ 3359896 w 3515607"/>
                <a:gd name="connsiteY1" fmla="*/ 257442 h 257442"/>
                <a:gd name="connsiteX2" fmla="*/ 1 w 3515607"/>
                <a:gd name="connsiteY2" fmla="*/ 257442 h 257442"/>
                <a:gd name="connsiteX3" fmla="*/ 0 w 3515607"/>
                <a:gd name="connsiteY3" fmla="*/ 0 h 257442"/>
                <a:gd name="connsiteX0" fmla="*/ 3515607 w 3515607"/>
                <a:gd name="connsiteY0" fmla="*/ 0 h 257442"/>
                <a:gd name="connsiteX1" fmla="*/ 3460886 w 3515607"/>
                <a:gd name="connsiteY1" fmla="*/ 257442 h 257442"/>
                <a:gd name="connsiteX2" fmla="*/ 1 w 3515607"/>
                <a:gd name="connsiteY2" fmla="*/ 257442 h 257442"/>
                <a:gd name="connsiteX3" fmla="*/ 0 w 3515607"/>
                <a:gd name="connsiteY3" fmla="*/ 0 h 257442"/>
                <a:gd name="connsiteX0" fmla="*/ 3515607 w 3515607"/>
                <a:gd name="connsiteY0" fmla="*/ 0 h 257442"/>
                <a:gd name="connsiteX1" fmla="*/ 3460886 w 3515607"/>
                <a:gd name="connsiteY1" fmla="*/ 257442 h 257442"/>
                <a:gd name="connsiteX2" fmla="*/ 1 w 3515607"/>
                <a:gd name="connsiteY2" fmla="*/ 257442 h 257442"/>
                <a:gd name="connsiteX3" fmla="*/ 0 w 3515607"/>
                <a:gd name="connsiteY3" fmla="*/ 0 h 257442"/>
                <a:gd name="connsiteX0" fmla="*/ 3515606 w 3515606"/>
                <a:gd name="connsiteY0" fmla="*/ 0 h 257442"/>
                <a:gd name="connsiteX1" fmla="*/ 3460885 w 3515606"/>
                <a:gd name="connsiteY1" fmla="*/ 257442 h 257442"/>
                <a:gd name="connsiteX2" fmla="*/ 0 w 3515606"/>
                <a:gd name="connsiteY2" fmla="*/ 257442 h 257442"/>
                <a:gd name="connsiteX3" fmla="*/ 0 w 3515606"/>
                <a:gd name="connsiteY3" fmla="*/ 0 h 257442"/>
                <a:gd name="connsiteX0" fmla="*/ 3683920 w 3683920"/>
                <a:gd name="connsiteY0" fmla="*/ 0 h 257442"/>
                <a:gd name="connsiteX1" fmla="*/ 3460885 w 3683920"/>
                <a:gd name="connsiteY1" fmla="*/ 257442 h 257442"/>
                <a:gd name="connsiteX2" fmla="*/ 0 w 3683920"/>
                <a:gd name="connsiteY2" fmla="*/ 257442 h 257442"/>
                <a:gd name="connsiteX3" fmla="*/ 0 w 3683920"/>
                <a:gd name="connsiteY3" fmla="*/ 0 h 257442"/>
                <a:gd name="connsiteX0" fmla="*/ 3683920 w 3683920"/>
                <a:gd name="connsiteY0" fmla="*/ 0 h 257442"/>
                <a:gd name="connsiteX1" fmla="*/ 3629199 w 3683920"/>
                <a:gd name="connsiteY1" fmla="*/ 257442 h 257442"/>
                <a:gd name="connsiteX2" fmla="*/ 0 w 3683920"/>
                <a:gd name="connsiteY2" fmla="*/ 257442 h 257442"/>
                <a:gd name="connsiteX3" fmla="*/ 0 w 3683920"/>
                <a:gd name="connsiteY3" fmla="*/ 0 h 257442"/>
                <a:gd name="connsiteX0" fmla="*/ 3683921 w 3683921"/>
                <a:gd name="connsiteY0" fmla="*/ 0 h 257442"/>
                <a:gd name="connsiteX1" fmla="*/ 3629200 w 3683921"/>
                <a:gd name="connsiteY1" fmla="*/ 257442 h 257442"/>
                <a:gd name="connsiteX2" fmla="*/ 0 w 3683921"/>
                <a:gd name="connsiteY2" fmla="*/ 257442 h 257442"/>
                <a:gd name="connsiteX3" fmla="*/ 1 w 3683921"/>
                <a:gd name="connsiteY3" fmla="*/ 0 h 257442"/>
                <a:gd name="connsiteX0" fmla="*/ 3683921 w 3683921"/>
                <a:gd name="connsiteY0" fmla="*/ 0 h 257442"/>
                <a:gd name="connsiteX1" fmla="*/ 3629200 w 3683921"/>
                <a:gd name="connsiteY1" fmla="*/ 257442 h 257442"/>
                <a:gd name="connsiteX2" fmla="*/ 0 w 3683921"/>
                <a:gd name="connsiteY2" fmla="*/ 257442 h 257442"/>
                <a:gd name="connsiteX3" fmla="*/ 1 w 3683921"/>
                <a:gd name="connsiteY3" fmla="*/ 0 h 257442"/>
                <a:gd name="connsiteX0" fmla="*/ 3844222 w 3844222"/>
                <a:gd name="connsiteY0" fmla="*/ 0 h 257442"/>
                <a:gd name="connsiteX1" fmla="*/ 3629200 w 3844222"/>
                <a:gd name="connsiteY1" fmla="*/ 257442 h 257442"/>
                <a:gd name="connsiteX2" fmla="*/ 0 w 3844222"/>
                <a:gd name="connsiteY2" fmla="*/ 257442 h 257442"/>
                <a:gd name="connsiteX3" fmla="*/ 1 w 3844222"/>
                <a:gd name="connsiteY3" fmla="*/ 0 h 257442"/>
                <a:gd name="connsiteX0" fmla="*/ 3844222 w 3844222"/>
                <a:gd name="connsiteY0" fmla="*/ 0 h 257442"/>
                <a:gd name="connsiteX1" fmla="*/ 3789500 w 3844222"/>
                <a:gd name="connsiteY1" fmla="*/ 257442 h 257442"/>
                <a:gd name="connsiteX2" fmla="*/ 0 w 3844222"/>
                <a:gd name="connsiteY2" fmla="*/ 257442 h 257442"/>
                <a:gd name="connsiteX3" fmla="*/ 1 w 3844222"/>
                <a:gd name="connsiteY3" fmla="*/ 0 h 257442"/>
                <a:gd name="connsiteX0" fmla="*/ 3844222 w 3844222"/>
                <a:gd name="connsiteY0" fmla="*/ 0 h 257442"/>
                <a:gd name="connsiteX1" fmla="*/ 3789500 w 3844222"/>
                <a:gd name="connsiteY1" fmla="*/ 257442 h 257442"/>
                <a:gd name="connsiteX2" fmla="*/ 0 w 3844222"/>
                <a:gd name="connsiteY2" fmla="*/ 257442 h 257442"/>
                <a:gd name="connsiteX3" fmla="*/ 1 w 3844222"/>
                <a:gd name="connsiteY3" fmla="*/ 0 h 257442"/>
                <a:gd name="connsiteX0" fmla="*/ 3844222 w 3844222"/>
                <a:gd name="connsiteY0" fmla="*/ 0 h 257442"/>
                <a:gd name="connsiteX1" fmla="*/ 3789500 w 3844222"/>
                <a:gd name="connsiteY1" fmla="*/ 257442 h 257442"/>
                <a:gd name="connsiteX2" fmla="*/ 0 w 3844222"/>
                <a:gd name="connsiteY2" fmla="*/ 257442 h 257442"/>
                <a:gd name="connsiteX3" fmla="*/ 0 w 3844222"/>
                <a:gd name="connsiteY3" fmla="*/ 0 h 257442"/>
                <a:gd name="connsiteX0" fmla="*/ 986067 w 3789500"/>
                <a:gd name="connsiteY0" fmla="*/ 0 h 257442"/>
                <a:gd name="connsiteX1" fmla="*/ 3789500 w 3789500"/>
                <a:gd name="connsiteY1" fmla="*/ 257442 h 257442"/>
                <a:gd name="connsiteX2" fmla="*/ 0 w 3789500"/>
                <a:gd name="connsiteY2" fmla="*/ 257442 h 257442"/>
                <a:gd name="connsiteX3" fmla="*/ 0 w 3789500"/>
                <a:gd name="connsiteY3" fmla="*/ 0 h 257442"/>
                <a:gd name="connsiteX0" fmla="*/ 986067 w 986067"/>
                <a:gd name="connsiteY0" fmla="*/ 0 h 257442"/>
                <a:gd name="connsiteX1" fmla="*/ 931346 w 986067"/>
                <a:gd name="connsiteY1" fmla="*/ 257442 h 257442"/>
                <a:gd name="connsiteX2" fmla="*/ 0 w 986067"/>
                <a:gd name="connsiteY2" fmla="*/ 257442 h 257442"/>
                <a:gd name="connsiteX3" fmla="*/ 0 w 986067"/>
                <a:gd name="connsiteY3" fmla="*/ 0 h 257442"/>
                <a:gd name="connsiteX0" fmla="*/ 986067 w 986067"/>
                <a:gd name="connsiteY0" fmla="*/ 0 h 257442"/>
                <a:gd name="connsiteX1" fmla="*/ 931346 w 986067"/>
                <a:gd name="connsiteY1" fmla="*/ 257442 h 257442"/>
                <a:gd name="connsiteX2" fmla="*/ 1 w 986067"/>
                <a:gd name="connsiteY2" fmla="*/ 257442 h 257442"/>
                <a:gd name="connsiteX3" fmla="*/ 0 w 986067"/>
                <a:gd name="connsiteY3" fmla="*/ 0 h 257442"/>
                <a:gd name="connsiteX0" fmla="*/ 986066 w 986066"/>
                <a:gd name="connsiteY0" fmla="*/ 0 h 257442"/>
                <a:gd name="connsiteX1" fmla="*/ 931345 w 986066"/>
                <a:gd name="connsiteY1" fmla="*/ 257442 h 257442"/>
                <a:gd name="connsiteX2" fmla="*/ 0 w 986066"/>
                <a:gd name="connsiteY2" fmla="*/ 257442 h 257442"/>
                <a:gd name="connsiteX3" fmla="*/ 0 w 986066"/>
                <a:gd name="connsiteY3" fmla="*/ 0 h 257442"/>
                <a:gd name="connsiteX0" fmla="*/ 1163999 w 1163999"/>
                <a:gd name="connsiteY0" fmla="*/ 0 h 257442"/>
                <a:gd name="connsiteX1" fmla="*/ 931345 w 1163999"/>
                <a:gd name="connsiteY1" fmla="*/ 257442 h 257442"/>
                <a:gd name="connsiteX2" fmla="*/ 0 w 1163999"/>
                <a:gd name="connsiteY2" fmla="*/ 257442 h 257442"/>
                <a:gd name="connsiteX3" fmla="*/ 0 w 1163999"/>
                <a:gd name="connsiteY3" fmla="*/ 0 h 257442"/>
                <a:gd name="connsiteX0" fmla="*/ 1163999 w 1163999"/>
                <a:gd name="connsiteY0" fmla="*/ 0 h 257442"/>
                <a:gd name="connsiteX1" fmla="*/ 1109278 w 1163999"/>
                <a:gd name="connsiteY1" fmla="*/ 257442 h 257442"/>
                <a:gd name="connsiteX2" fmla="*/ 0 w 1163999"/>
                <a:gd name="connsiteY2" fmla="*/ 257442 h 257442"/>
                <a:gd name="connsiteX3" fmla="*/ 0 w 1163999"/>
                <a:gd name="connsiteY3" fmla="*/ 0 h 257442"/>
                <a:gd name="connsiteX0" fmla="*/ 1164000 w 1164000"/>
                <a:gd name="connsiteY0" fmla="*/ 0 h 257442"/>
                <a:gd name="connsiteX1" fmla="*/ 1109279 w 1164000"/>
                <a:gd name="connsiteY1" fmla="*/ 257442 h 257442"/>
                <a:gd name="connsiteX2" fmla="*/ 0 w 1164000"/>
                <a:gd name="connsiteY2" fmla="*/ 257442 h 257442"/>
                <a:gd name="connsiteX3" fmla="*/ 1 w 1164000"/>
                <a:gd name="connsiteY3" fmla="*/ 0 h 257442"/>
                <a:gd name="connsiteX0" fmla="*/ 1164000 w 1164000"/>
                <a:gd name="connsiteY0" fmla="*/ 0 h 257442"/>
                <a:gd name="connsiteX1" fmla="*/ 1109279 w 1164000"/>
                <a:gd name="connsiteY1" fmla="*/ 257442 h 257442"/>
                <a:gd name="connsiteX2" fmla="*/ 0 w 1164000"/>
                <a:gd name="connsiteY2" fmla="*/ 257442 h 257442"/>
                <a:gd name="connsiteX3" fmla="*/ 0 w 1164000"/>
                <a:gd name="connsiteY3" fmla="*/ 0 h 257442"/>
                <a:gd name="connsiteX0" fmla="*/ 1332316 w 1332316"/>
                <a:gd name="connsiteY0" fmla="*/ 0 h 257442"/>
                <a:gd name="connsiteX1" fmla="*/ 1109279 w 1332316"/>
                <a:gd name="connsiteY1" fmla="*/ 257442 h 257442"/>
                <a:gd name="connsiteX2" fmla="*/ 0 w 1332316"/>
                <a:gd name="connsiteY2" fmla="*/ 257442 h 257442"/>
                <a:gd name="connsiteX3" fmla="*/ 0 w 1332316"/>
                <a:gd name="connsiteY3" fmla="*/ 0 h 257442"/>
                <a:gd name="connsiteX0" fmla="*/ 1332316 w 1332316"/>
                <a:gd name="connsiteY0" fmla="*/ 0 h 257442"/>
                <a:gd name="connsiteX1" fmla="*/ 1277595 w 1332316"/>
                <a:gd name="connsiteY1" fmla="*/ 257442 h 257442"/>
                <a:gd name="connsiteX2" fmla="*/ 0 w 1332316"/>
                <a:gd name="connsiteY2" fmla="*/ 257442 h 257442"/>
                <a:gd name="connsiteX3" fmla="*/ 0 w 1332316"/>
                <a:gd name="connsiteY3" fmla="*/ 0 h 257442"/>
                <a:gd name="connsiteX0" fmla="*/ 1332316 w 1332316"/>
                <a:gd name="connsiteY0" fmla="*/ 0 h 257442"/>
                <a:gd name="connsiteX1" fmla="*/ 1277595 w 1332316"/>
                <a:gd name="connsiteY1" fmla="*/ 257442 h 257442"/>
                <a:gd name="connsiteX2" fmla="*/ 0 w 1332316"/>
                <a:gd name="connsiteY2" fmla="*/ 257442 h 257442"/>
                <a:gd name="connsiteX3" fmla="*/ 0 w 1332316"/>
                <a:gd name="connsiteY3" fmla="*/ 0 h 257442"/>
                <a:gd name="connsiteX0" fmla="*/ 1332316 w 1332316"/>
                <a:gd name="connsiteY0" fmla="*/ 0 h 257442"/>
                <a:gd name="connsiteX1" fmla="*/ 1277595 w 1332316"/>
                <a:gd name="connsiteY1" fmla="*/ 257442 h 257442"/>
                <a:gd name="connsiteX2" fmla="*/ 0 w 1332316"/>
                <a:gd name="connsiteY2" fmla="*/ 257442 h 257442"/>
                <a:gd name="connsiteX3" fmla="*/ 0 w 1332316"/>
                <a:gd name="connsiteY3" fmla="*/ 0 h 257442"/>
                <a:gd name="connsiteX0" fmla="*/ 1500631 w 1500631"/>
                <a:gd name="connsiteY0" fmla="*/ 0 h 257442"/>
                <a:gd name="connsiteX1" fmla="*/ 1277595 w 1500631"/>
                <a:gd name="connsiteY1" fmla="*/ 257442 h 257442"/>
                <a:gd name="connsiteX2" fmla="*/ 0 w 1500631"/>
                <a:gd name="connsiteY2" fmla="*/ 257442 h 257442"/>
                <a:gd name="connsiteX3" fmla="*/ 0 w 1500631"/>
                <a:gd name="connsiteY3" fmla="*/ 0 h 257442"/>
                <a:gd name="connsiteX0" fmla="*/ 1500631 w 1500631"/>
                <a:gd name="connsiteY0" fmla="*/ 0 h 257442"/>
                <a:gd name="connsiteX1" fmla="*/ 1445910 w 1500631"/>
                <a:gd name="connsiteY1" fmla="*/ 257442 h 257442"/>
                <a:gd name="connsiteX2" fmla="*/ 0 w 1500631"/>
                <a:gd name="connsiteY2" fmla="*/ 257442 h 257442"/>
                <a:gd name="connsiteX3" fmla="*/ 0 w 1500631"/>
                <a:gd name="connsiteY3" fmla="*/ 0 h 257442"/>
                <a:gd name="connsiteX0" fmla="*/ 1500631 w 1500631"/>
                <a:gd name="connsiteY0" fmla="*/ 0 h 257442"/>
                <a:gd name="connsiteX1" fmla="*/ 1445910 w 1500631"/>
                <a:gd name="connsiteY1" fmla="*/ 257442 h 257442"/>
                <a:gd name="connsiteX2" fmla="*/ 0 w 1500631"/>
                <a:gd name="connsiteY2" fmla="*/ 257442 h 257442"/>
                <a:gd name="connsiteX3" fmla="*/ 0 w 1500631"/>
                <a:gd name="connsiteY3" fmla="*/ 0 h 257442"/>
                <a:gd name="connsiteX0" fmla="*/ 1500631 w 1500631"/>
                <a:gd name="connsiteY0" fmla="*/ 0 h 257442"/>
                <a:gd name="connsiteX1" fmla="*/ 1445910 w 1500631"/>
                <a:gd name="connsiteY1" fmla="*/ 257442 h 257442"/>
                <a:gd name="connsiteX2" fmla="*/ 0 w 1500631"/>
                <a:gd name="connsiteY2" fmla="*/ 257442 h 257442"/>
                <a:gd name="connsiteX3" fmla="*/ 0 w 1500631"/>
                <a:gd name="connsiteY3" fmla="*/ 0 h 257442"/>
                <a:gd name="connsiteX0" fmla="*/ 1652916 w 1652916"/>
                <a:gd name="connsiteY0" fmla="*/ 0 h 257442"/>
                <a:gd name="connsiteX1" fmla="*/ 1445910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652916 w 1652916"/>
                <a:gd name="connsiteY0" fmla="*/ 0 h 257442"/>
                <a:gd name="connsiteX1" fmla="*/ 1598194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652917 w 1652917"/>
                <a:gd name="connsiteY0" fmla="*/ 0 h 257442"/>
                <a:gd name="connsiteX1" fmla="*/ 1598195 w 1652917"/>
                <a:gd name="connsiteY1" fmla="*/ 257442 h 257442"/>
                <a:gd name="connsiteX2" fmla="*/ 0 w 1652917"/>
                <a:gd name="connsiteY2" fmla="*/ 257442 h 257442"/>
                <a:gd name="connsiteX3" fmla="*/ 1 w 1652917"/>
                <a:gd name="connsiteY3" fmla="*/ 0 h 257442"/>
                <a:gd name="connsiteX0" fmla="*/ 1652917 w 1652917"/>
                <a:gd name="connsiteY0" fmla="*/ 0 h 257442"/>
                <a:gd name="connsiteX1" fmla="*/ 1598195 w 1652917"/>
                <a:gd name="connsiteY1" fmla="*/ 257442 h 257442"/>
                <a:gd name="connsiteX2" fmla="*/ 0 w 1652917"/>
                <a:gd name="connsiteY2" fmla="*/ 257442 h 257442"/>
                <a:gd name="connsiteX3" fmla="*/ 1 w 1652917"/>
                <a:gd name="connsiteY3" fmla="*/ 0 h 257442"/>
                <a:gd name="connsiteX0" fmla="*/ 1830850 w 1830850"/>
                <a:gd name="connsiteY0" fmla="*/ 0 h 257442"/>
                <a:gd name="connsiteX1" fmla="*/ 1598195 w 1830850"/>
                <a:gd name="connsiteY1" fmla="*/ 257442 h 257442"/>
                <a:gd name="connsiteX2" fmla="*/ 0 w 1830850"/>
                <a:gd name="connsiteY2" fmla="*/ 257442 h 257442"/>
                <a:gd name="connsiteX3" fmla="*/ 1 w 1830850"/>
                <a:gd name="connsiteY3" fmla="*/ 0 h 257442"/>
                <a:gd name="connsiteX0" fmla="*/ 1830850 w 1830850"/>
                <a:gd name="connsiteY0" fmla="*/ 0 h 257442"/>
                <a:gd name="connsiteX1" fmla="*/ 1776128 w 1830850"/>
                <a:gd name="connsiteY1" fmla="*/ 257442 h 257442"/>
                <a:gd name="connsiteX2" fmla="*/ 0 w 1830850"/>
                <a:gd name="connsiteY2" fmla="*/ 257442 h 257442"/>
                <a:gd name="connsiteX3" fmla="*/ 1 w 1830850"/>
                <a:gd name="connsiteY3" fmla="*/ 0 h 257442"/>
                <a:gd name="connsiteX0" fmla="*/ 1830850 w 1830850"/>
                <a:gd name="connsiteY0" fmla="*/ 0 h 257442"/>
                <a:gd name="connsiteX1" fmla="*/ 1776128 w 1830850"/>
                <a:gd name="connsiteY1" fmla="*/ 257442 h 257442"/>
                <a:gd name="connsiteX2" fmla="*/ 0 w 1830850"/>
                <a:gd name="connsiteY2" fmla="*/ 257442 h 257442"/>
                <a:gd name="connsiteX3" fmla="*/ 1 w 1830850"/>
                <a:gd name="connsiteY3" fmla="*/ 0 h 257442"/>
                <a:gd name="connsiteX0" fmla="*/ 1830850 w 1830850"/>
                <a:gd name="connsiteY0" fmla="*/ 0 h 257442"/>
                <a:gd name="connsiteX1" fmla="*/ 1776128 w 1830850"/>
                <a:gd name="connsiteY1" fmla="*/ 257442 h 257442"/>
                <a:gd name="connsiteX2" fmla="*/ 0 w 1830850"/>
                <a:gd name="connsiteY2" fmla="*/ 257442 h 257442"/>
                <a:gd name="connsiteX3" fmla="*/ 0 w 1830850"/>
                <a:gd name="connsiteY3" fmla="*/ 0 h 257442"/>
                <a:gd name="connsiteX0" fmla="*/ 1999165 w 1999165"/>
                <a:gd name="connsiteY0" fmla="*/ 0 h 257442"/>
                <a:gd name="connsiteX1" fmla="*/ 1776128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2167480 w 2167480"/>
                <a:gd name="connsiteY0" fmla="*/ 0 h 257442"/>
                <a:gd name="connsiteX1" fmla="*/ 1944444 w 2167480"/>
                <a:gd name="connsiteY1" fmla="*/ 257442 h 257442"/>
                <a:gd name="connsiteX2" fmla="*/ 0 w 2167480"/>
                <a:gd name="connsiteY2" fmla="*/ 257442 h 257442"/>
                <a:gd name="connsiteX3" fmla="*/ 0 w 2167480"/>
                <a:gd name="connsiteY3" fmla="*/ 0 h 257442"/>
                <a:gd name="connsiteX0" fmla="*/ 2167480 w 2167480"/>
                <a:gd name="connsiteY0" fmla="*/ 0 h 257442"/>
                <a:gd name="connsiteX1" fmla="*/ 2112758 w 2167480"/>
                <a:gd name="connsiteY1" fmla="*/ 257442 h 257442"/>
                <a:gd name="connsiteX2" fmla="*/ 0 w 2167480"/>
                <a:gd name="connsiteY2" fmla="*/ 257442 h 257442"/>
                <a:gd name="connsiteX3" fmla="*/ 0 w 2167480"/>
                <a:gd name="connsiteY3" fmla="*/ 0 h 257442"/>
                <a:gd name="connsiteX0" fmla="*/ 2167481 w 2167481"/>
                <a:gd name="connsiteY0" fmla="*/ 0 h 257442"/>
                <a:gd name="connsiteX1" fmla="*/ 2112759 w 2167481"/>
                <a:gd name="connsiteY1" fmla="*/ 257442 h 257442"/>
                <a:gd name="connsiteX2" fmla="*/ 0 w 2167481"/>
                <a:gd name="connsiteY2" fmla="*/ 257442 h 257442"/>
                <a:gd name="connsiteX3" fmla="*/ 1 w 2167481"/>
                <a:gd name="connsiteY3" fmla="*/ 0 h 257442"/>
                <a:gd name="connsiteX0" fmla="*/ 2167481 w 2167481"/>
                <a:gd name="connsiteY0" fmla="*/ 0 h 257442"/>
                <a:gd name="connsiteX1" fmla="*/ 2112759 w 2167481"/>
                <a:gd name="connsiteY1" fmla="*/ 257442 h 257442"/>
                <a:gd name="connsiteX2" fmla="*/ 0 w 2167481"/>
                <a:gd name="connsiteY2" fmla="*/ 257442 h 257442"/>
                <a:gd name="connsiteX3" fmla="*/ 1 w 2167481"/>
                <a:gd name="connsiteY3" fmla="*/ 0 h 257442"/>
                <a:gd name="connsiteX0" fmla="*/ 2327781 w 2327781"/>
                <a:gd name="connsiteY0" fmla="*/ 0 h 257442"/>
                <a:gd name="connsiteX1" fmla="*/ 2112759 w 2327781"/>
                <a:gd name="connsiteY1" fmla="*/ 257442 h 257442"/>
                <a:gd name="connsiteX2" fmla="*/ 0 w 2327781"/>
                <a:gd name="connsiteY2" fmla="*/ 257442 h 257442"/>
                <a:gd name="connsiteX3" fmla="*/ 1 w 2327781"/>
                <a:gd name="connsiteY3" fmla="*/ 0 h 257442"/>
                <a:gd name="connsiteX0" fmla="*/ 2327781 w 2327781"/>
                <a:gd name="connsiteY0" fmla="*/ 0 h 257442"/>
                <a:gd name="connsiteX1" fmla="*/ 2273060 w 2327781"/>
                <a:gd name="connsiteY1" fmla="*/ 257442 h 257442"/>
                <a:gd name="connsiteX2" fmla="*/ 0 w 2327781"/>
                <a:gd name="connsiteY2" fmla="*/ 257442 h 257442"/>
                <a:gd name="connsiteX3" fmla="*/ 1 w 2327781"/>
                <a:gd name="connsiteY3" fmla="*/ 0 h 257442"/>
                <a:gd name="connsiteX0" fmla="*/ 2327780 w 2327780"/>
                <a:gd name="connsiteY0" fmla="*/ 0 h 257442"/>
                <a:gd name="connsiteX1" fmla="*/ 2273059 w 2327780"/>
                <a:gd name="connsiteY1" fmla="*/ 257442 h 257442"/>
                <a:gd name="connsiteX2" fmla="*/ 0 w 2327780"/>
                <a:gd name="connsiteY2" fmla="*/ 257442 h 257442"/>
                <a:gd name="connsiteX3" fmla="*/ 0 w 2327780"/>
                <a:gd name="connsiteY3" fmla="*/ 0 h 257442"/>
                <a:gd name="connsiteX0" fmla="*/ 2327781 w 2327781"/>
                <a:gd name="connsiteY0" fmla="*/ 0 h 257442"/>
                <a:gd name="connsiteX1" fmla="*/ 2273060 w 2327781"/>
                <a:gd name="connsiteY1" fmla="*/ 257442 h 257442"/>
                <a:gd name="connsiteX2" fmla="*/ 1 w 2327781"/>
                <a:gd name="connsiteY2" fmla="*/ 257442 h 257442"/>
                <a:gd name="connsiteX3" fmla="*/ 0 w 2327781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27781" h="257442">
                  <a:moveTo>
                    <a:pt x="2327781" y="0"/>
                  </a:moveTo>
                  <a:lnTo>
                    <a:pt x="2273060" y="257442"/>
                  </a:lnTo>
                  <a:lnTo>
                    <a:pt x="1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4" name="btfpRunningAgenda2LevelTextLeft228391">
              <a:extLst>
                <a:ext uri="{FF2B5EF4-FFF2-40B4-BE49-F238E27FC236}">
                  <a16:creationId xmlns:a16="http://schemas.microsoft.com/office/drawing/2014/main" id="{E66786D9-6F83-4AC7-9FA1-063103B29BC6}"/>
                </a:ext>
              </a:extLst>
            </p:cNvPr>
            <p:cNvSpPr txBox="1"/>
            <p:nvPr/>
          </p:nvSpPr>
          <p:spPr bwMode="gray">
            <a:xfrm>
              <a:off x="0" y="876300"/>
              <a:ext cx="2273059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all" spc="4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WORKFORCE</a:t>
              </a:r>
            </a:p>
          </p:txBody>
        </p:sp>
        <p:sp>
          <p:nvSpPr>
            <p:cNvPr id="36" name="btfpRunningAgenda2LevelBarRight228391">
              <a:extLst>
                <a:ext uri="{FF2B5EF4-FFF2-40B4-BE49-F238E27FC236}">
                  <a16:creationId xmlns:a16="http://schemas.microsoft.com/office/drawing/2014/main" id="{35FAFE6B-9B21-476F-94C6-C69C98E86AAB}"/>
                </a:ext>
              </a:extLst>
            </p:cNvPr>
            <p:cNvSpPr/>
            <p:nvPr/>
          </p:nvSpPr>
          <p:spPr bwMode="gray">
            <a:xfrm>
              <a:off x="2192937" y="876300"/>
              <a:ext cx="2714104" cy="257442"/>
            </a:xfrm>
            <a:custGeom>
              <a:avLst/>
              <a:gdLst>
                <a:gd name="connsiteX0" fmla="*/ 934771 w 2367856"/>
                <a:gd name="connsiteY0" fmla="*/ 0 h 257442"/>
                <a:gd name="connsiteX1" fmla="*/ 2367856 w 2367856"/>
                <a:gd name="connsiteY1" fmla="*/ 0 h 257442"/>
                <a:gd name="connsiteX2" fmla="*/ 2313135 w 2367856"/>
                <a:gd name="connsiteY2" fmla="*/ 257442 h 257442"/>
                <a:gd name="connsiteX3" fmla="*/ 0 w 2367856"/>
                <a:gd name="connsiteY3" fmla="*/ 257442 h 257442"/>
                <a:gd name="connsiteX0" fmla="*/ 934771 w 2313135"/>
                <a:gd name="connsiteY0" fmla="*/ 0 h 257442"/>
                <a:gd name="connsiteX1" fmla="*/ 880050 w 2313135"/>
                <a:gd name="connsiteY1" fmla="*/ 257442 h 257442"/>
                <a:gd name="connsiteX2" fmla="*/ 2313135 w 2313135"/>
                <a:gd name="connsiteY2" fmla="*/ 257442 h 257442"/>
                <a:gd name="connsiteX3" fmla="*/ 0 w 2313135"/>
                <a:gd name="connsiteY3" fmla="*/ 257442 h 257442"/>
                <a:gd name="connsiteX0" fmla="*/ 934771 w 934771"/>
                <a:gd name="connsiteY0" fmla="*/ 0 h 257442"/>
                <a:gd name="connsiteX1" fmla="*/ 880050 w 934771"/>
                <a:gd name="connsiteY1" fmla="*/ 257442 h 257442"/>
                <a:gd name="connsiteX2" fmla="*/ 1 w 934771"/>
                <a:gd name="connsiteY2" fmla="*/ 257442 h 257442"/>
                <a:gd name="connsiteX3" fmla="*/ 0 w 934771"/>
                <a:gd name="connsiteY3" fmla="*/ 257442 h 257442"/>
                <a:gd name="connsiteX0" fmla="*/ 934770 w 934770"/>
                <a:gd name="connsiteY0" fmla="*/ 0 h 257442"/>
                <a:gd name="connsiteX1" fmla="*/ 880049 w 934770"/>
                <a:gd name="connsiteY1" fmla="*/ 257442 h 257442"/>
                <a:gd name="connsiteX2" fmla="*/ 0 w 934770"/>
                <a:gd name="connsiteY2" fmla="*/ 257442 h 257442"/>
                <a:gd name="connsiteX3" fmla="*/ 54721 w 934770"/>
                <a:gd name="connsiteY3" fmla="*/ 0 h 257442"/>
                <a:gd name="connsiteX0" fmla="*/ 1103085 w 1103085"/>
                <a:gd name="connsiteY0" fmla="*/ 0 h 257442"/>
                <a:gd name="connsiteX1" fmla="*/ 880049 w 1103085"/>
                <a:gd name="connsiteY1" fmla="*/ 257442 h 257442"/>
                <a:gd name="connsiteX2" fmla="*/ 0 w 1103085"/>
                <a:gd name="connsiteY2" fmla="*/ 257442 h 257442"/>
                <a:gd name="connsiteX3" fmla="*/ 54721 w 1103085"/>
                <a:gd name="connsiteY3" fmla="*/ 0 h 257442"/>
                <a:gd name="connsiteX0" fmla="*/ 1103085 w 1103085"/>
                <a:gd name="connsiteY0" fmla="*/ 0 h 257442"/>
                <a:gd name="connsiteX1" fmla="*/ 1048364 w 1103085"/>
                <a:gd name="connsiteY1" fmla="*/ 257442 h 257442"/>
                <a:gd name="connsiteX2" fmla="*/ 0 w 1103085"/>
                <a:gd name="connsiteY2" fmla="*/ 257442 h 257442"/>
                <a:gd name="connsiteX3" fmla="*/ 54721 w 1103085"/>
                <a:gd name="connsiteY3" fmla="*/ 0 h 257442"/>
                <a:gd name="connsiteX0" fmla="*/ 1103086 w 1103086"/>
                <a:gd name="connsiteY0" fmla="*/ 0 h 257442"/>
                <a:gd name="connsiteX1" fmla="*/ 1048365 w 1103086"/>
                <a:gd name="connsiteY1" fmla="*/ 257442 h 257442"/>
                <a:gd name="connsiteX2" fmla="*/ 0 w 1103086"/>
                <a:gd name="connsiteY2" fmla="*/ 257442 h 257442"/>
                <a:gd name="connsiteX3" fmla="*/ 54722 w 1103086"/>
                <a:gd name="connsiteY3" fmla="*/ 0 h 257442"/>
                <a:gd name="connsiteX0" fmla="*/ 1103086 w 1103086"/>
                <a:gd name="connsiteY0" fmla="*/ 0 h 257442"/>
                <a:gd name="connsiteX1" fmla="*/ 1048365 w 1103086"/>
                <a:gd name="connsiteY1" fmla="*/ 257442 h 257442"/>
                <a:gd name="connsiteX2" fmla="*/ 0 w 1103086"/>
                <a:gd name="connsiteY2" fmla="*/ 257442 h 257442"/>
                <a:gd name="connsiteX3" fmla="*/ 54721 w 1103086"/>
                <a:gd name="connsiteY3" fmla="*/ 0 h 257442"/>
                <a:gd name="connsiteX0" fmla="*/ 1271402 w 1271402"/>
                <a:gd name="connsiteY0" fmla="*/ 0 h 257442"/>
                <a:gd name="connsiteX1" fmla="*/ 1048365 w 1271402"/>
                <a:gd name="connsiteY1" fmla="*/ 257442 h 257442"/>
                <a:gd name="connsiteX2" fmla="*/ 0 w 1271402"/>
                <a:gd name="connsiteY2" fmla="*/ 257442 h 257442"/>
                <a:gd name="connsiteX3" fmla="*/ 54721 w 1271402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54721 w 1271402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54721 w 1271402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54721 w 1271402"/>
                <a:gd name="connsiteY3" fmla="*/ 0 h 257442"/>
                <a:gd name="connsiteX0" fmla="*/ 1439717 w 1439717"/>
                <a:gd name="connsiteY0" fmla="*/ 0 h 257442"/>
                <a:gd name="connsiteX1" fmla="*/ 1216681 w 1439717"/>
                <a:gd name="connsiteY1" fmla="*/ 257442 h 257442"/>
                <a:gd name="connsiteX2" fmla="*/ 0 w 1439717"/>
                <a:gd name="connsiteY2" fmla="*/ 257442 h 257442"/>
                <a:gd name="connsiteX3" fmla="*/ 54721 w 1439717"/>
                <a:gd name="connsiteY3" fmla="*/ 0 h 257442"/>
                <a:gd name="connsiteX0" fmla="*/ 1439717 w 1439717"/>
                <a:gd name="connsiteY0" fmla="*/ 0 h 257442"/>
                <a:gd name="connsiteX1" fmla="*/ 1384996 w 1439717"/>
                <a:gd name="connsiteY1" fmla="*/ 257442 h 257442"/>
                <a:gd name="connsiteX2" fmla="*/ 0 w 1439717"/>
                <a:gd name="connsiteY2" fmla="*/ 257442 h 257442"/>
                <a:gd name="connsiteX3" fmla="*/ 54721 w 1439717"/>
                <a:gd name="connsiteY3" fmla="*/ 0 h 257442"/>
                <a:gd name="connsiteX0" fmla="*/ 1439717 w 1439717"/>
                <a:gd name="connsiteY0" fmla="*/ 0 h 257442"/>
                <a:gd name="connsiteX1" fmla="*/ 1384996 w 1439717"/>
                <a:gd name="connsiteY1" fmla="*/ 257442 h 257442"/>
                <a:gd name="connsiteX2" fmla="*/ 0 w 1439717"/>
                <a:gd name="connsiteY2" fmla="*/ 257442 h 257442"/>
                <a:gd name="connsiteX3" fmla="*/ 54721 w 1439717"/>
                <a:gd name="connsiteY3" fmla="*/ 0 h 257442"/>
                <a:gd name="connsiteX0" fmla="*/ 1439717 w 1439717"/>
                <a:gd name="connsiteY0" fmla="*/ 0 h 257442"/>
                <a:gd name="connsiteX1" fmla="*/ 1384996 w 1439717"/>
                <a:gd name="connsiteY1" fmla="*/ 257442 h 257442"/>
                <a:gd name="connsiteX2" fmla="*/ 0 w 1439717"/>
                <a:gd name="connsiteY2" fmla="*/ 257442 h 257442"/>
                <a:gd name="connsiteX3" fmla="*/ 54721 w 1439717"/>
                <a:gd name="connsiteY3" fmla="*/ 0 h 257442"/>
                <a:gd name="connsiteX0" fmla="*/ 1692991 w 1692991"/>
                <a:gd name="connsiteY0" fmla="*/ 0 h 257442"/>
                <a:gd name="connsiteX1" fmla="*/ 1384996 w 1692991"/>
                <a:gd name="connsiteY1" fmla="*/ 257442 h 257442"/>
                <a:gd name="connsiteX2" fmla="*/ 0 w 1692991"/>
                <a:gd name="connsiteY2" fmla="*/ 257442 h 257442"/>
                <a:gd name="connsiteX3" fmla="*/ 54721 w 1692991"/>
                <a:gd name="connsiteY3" fmla="*/ 0 h 257442"/>
                <a:gd name="connsiteX0" fmla="*/ 1692991 w 1692991"/>
                <a:gd name="connsiteY0" fmla="*/ 0 h 257442"/>
                <a:gd name="connsiteX1" fmla="*/ 1638270 w 1692991"/>
                <a:gd name="connsiteY1" fmla="*/ 257442 h 257442"/>
                <a:gd name="connsiteX2" fmla="*/ 0 w 1692991"/>
                <a:gd name="connsiteY2" fmla="*/ 257442 h 257442"/>
                <a:gd name="connsiteX3" fmla="*/ 54721 w 1692991"/>
                <a:gd name="connsiteY3" fmla="*/ 0 h 257442"/>
                <a:gd name="connsiteX0" fmla="*/ 1692991 w 1692991"/>
                <a:gd name="connsiteY0" fmla="*/ 0 h 257442"/>
                <a:gd name="connsiteX1" fmla="*/ 1638270 w 1692991"/>
                <a:gd name="connsiteY1" fmla="*/ 257442 h 257442"/>
                <a:gd name="connsiteX2" fmla="*/ 0 w 1692991"/>
                <a:gd name="connsiteY2" fmla="*/ 257442 h 257442"/>
                <a:gd name="connsiteX3" fmla="*/ 54721 w 1692991"/>
                <a:gd name="connsiteY3" fmla="*/ 0 h 257442"/>
                <a:gd name="connsiteX0" fmla="*/ 1692991 w 1692991"/>
                <a:gd name="connsiteY0" fmla="*/ 0 h 257442"/>
                <a:gd name="connsiteX1" fmla="*/ 1638270 w 1692991"/>
                <a:gd name="connsiteY1" fmla="*/ 257442 h 257442"/>
                <a:gd name="connsiteX2" fmla="*/ 0 w 1692991"/>
                <a:gd name="connsiteY2" fmla="*/ 257442 h 257442"/>
                <a:gd name="connsiteX3" fmla="*/ 54721 w 1692991"/>
                <a:gd name="connsiteY3" fmla="*/ 0 h 257442"/>
                <a:gd name="connsiteX0" fmla="*/ 1870925 w 1870925"/>
                <a:gd name="connsiteY0" fmla="*/ 0 h 257442"/>
                <a:gd name="connsiteX1" fmla="*/ 1638270 w 1870925"/>
                <a:gd name="connsiteY1" fmla="*/ 257442 h 257442"/>
                <a:gd name="connsiteX2" fmla="*/ 0 w 1870925"/>
                <a:gd name="connsiteY2" fmla="*/ 257442 h 257442"/>
                <a:gd name="connsiteX3" fmla="*/ 54721 w 1870925"/>
                <a:gd name="connsiteY3" fmla="*/ 0 h 257442"/>
                <a:gd name="connsiteX0" fmla="*/ 1870925 w 1870925"/>
                <a:gd name="connsiteY0" fmla="*/ 0 h 257442"/>
                <a:gd name="connsiteX1" fmla="*/ 1816204 w 1870925"/>
                <a:gd name="connsiteY1" fmla="*/ 257442 h 257442"/>
                <a:gd name="connsiteX2" fmla="*/ 0 w 1870925"/>
                <a:gd name="connsiteY2" fmla="*/ 257442 h 257442"/>
                <a:gd name="connsiteX3" fmla="*/ 54721 w 1870925"/>
                <a:gd name="connsiteY3" fmla="*/ 0 h 257442"/>
                <a:gd name="connsiteX0" fmla="*/ 1870925 w 1870925"/>
                <a:gd name="connsiteY0" fmla="*/ 0 h 257442"/>
                <a:gd name="connsiteX1" fmla="*/ 1816204 w 1870925"/>
                <a:gd name="connsiteY1" fmla="*/ 257442 h 257442"/>
                <a:gd name="connsiteX2" fmla="*/ 0 w 1870925"/>
                <a:gd name="connsiteY2" fmla="*/ 257442 h 257442"/>
                <a:gd name="connsiteX3" fmla="*/ 54721 w 1870925"/>
                <a:gd name="connsiteY3" fmla="*/ 0 h 257442"/>
                <a:gd name="connsiteX0" fmla="*/ 1870925 w 1870925"/>
                <a:gd name="connsiteY0" fmla="*/ 0 h 257442"/>
                <a:gd name="connsiteX1" fmla="*/ 1816204 w 1870925"/>
                <a:gd name="connsiteY1" fmla="*/ 257442 h 257442"/>
                <a:gd name="connsiteX2" fmla="*/ 0 w 1870925"/>
                <a:gd name="connsiteY2" fmla="*/ 257442 h 257442"/>
                <a:gd name="connsiteX3" fmla="*/ 54721 w 1870925"/>
                <a:gd name="connsiteY3" fmla="*/ 0 h 257442"/>
                <a:gd name="connsiteX0" fmla="*/ 2039240 w 2039240"/>
                <a:gd name="connsiteY0" fmla="*/ 0 h 257442"/>
                <a:gd name="connsiteX1" fmla="*/ 1816204 w 2039240"/>
                <a:gd name="connsiteY1" fmla="*/ 257442 h 257442"/>
                <a:gd name="connsiteX2" fmla="*/ 0 w 2039240"/>
                <a:gd name="connsiteY2" fmla="*/ 257442 h 257442"/>
                <a:gd name="connsiteX3" fmla="*/ 54721 w 2039240"/>
                <a:gd name="connsiteY3" fmla="*/ 0 h 257442"/>
                <a:gd name="connsiteX0" fmla="*/ 2039240 w 2039240"/>
                <a:gd name="connsiteY0" fmla="*/ 0 h 257442"/>
                <a:gd name="connsiteX1" fmla="*/ 1984518 w 2039240"/>
                <a:gd name="connsiteY1" fmla="*/ 257442 h 257442"/>
                <a:gd name="connsiteX2" fmla="*/ 0 w 2039240"/>
                <a:gd name="connsiteY2" fmla="*/ 257442 h 257442"/>
                <a:gd name="connsiteX3" fmla="*/ 54721 w 2039240"/>
                <a:gd name="connsiteY3" fmla="*/ 0 h 257442"/>
                <a:gd name="connsiteX0" fmla="*/ 2039241 w 2039241"/>
                <a:gd name="connsiteY0" fmla="*/ 0 h 257442"/>
                <a:gd name="connsiteX1" fmla="*/ 1984519 w 2039241"/>
                <a:gd name="connsiteY1" fmla="*/ 257442 h 257442"/>
                <a:gd name="connsiteX2" fmla="*/ 0 w 2039241"/>
                <a:gd name="connsiteY2" fmla="*/ 257442 h 257442"/>
                <a:gd name="connsiteX3" fmla="*/ 54722 w 2039241"/>
                <a:gd name="connsiteY3" fmla="*/ 0 h 257442"/>
                <a:gd name="connsiteX0" fmla="*/ 2039241 w 2039241"/>
                <a:gd name="connsiteY0" fmla="*/ 0 h 257442"/>
                <a:gd name="connsiteX1" fmla="*/ 1984519 w 2039241"/>
                <a:gd name="connsiteY1" fmla="*/ 257442 h 257442"/>
                <a:gd name="connsiteX2" fmla="*/ 0 w 2039241"/>
                <a:gd name="connsiteY2" fmla="*/ 257442 h 257442"/>
                <a:gd name="connsiteX3" fmla="*/ 54722 w 2039241"/>
                <a:gd name="connsiteY3" fmla="*/ 0 h 257442"/>
                <a:gd name="connsiteX0" fmla="*/ 950801 w 1984519"/>
                <a:gd name="connsiteY0" fmla="*/ 0 h 257442"/>
                <a:gd name="connsiteX1" fmla="*/ 1984519 w 1984519"/>
                <a:gd name="connsiteY1" fmla="*/ 257442 h 257442"/>
                <a:gd name="connsiteX2" fmla="*/ 0 w 1984519"/>
                <a:gd name="connsiteY2" fmla="*/ 257442 h 257442"/>
                <a:gd name="connsiteX3" fmla="*/ 54722 w 1984519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54722 w 950801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54722 w 950801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54721 w 950801"/>
                <a:gd name="connsiteY3" fmla="*/ 0 h 257442"/>
                <a:gd name="connsiteX0" fmla="*/ 1119116 w 1119116"/>
                <a:gd name="connsiteY0" fmla="*/ 0 h 257442"/>
                <a:gd name="connsiteX1" fmla="*/ 896080 w 1119116"/>
                <a:gd name="connsiteY1" fmla="*/ 257442 h 257442"/>
                <a:gd name="connsiteX2" fmla="*/ 0 w 1119116"/>
                <a:gd name="connsiteY2" fmla="*/ 257442 h 257442"/>
                <a:gd name="connsiteX3" fmla="*/ 54721 w 1119116"/>
                <a:gd name="connsiteY3" fmla="*/ 0 h 257442"/>
                <a:gd name="connsiteX0" fmla="*/ 1119116 w 1119116"/>
                <a:gd name="connsiteY0" fmla="*/ 0 h 257442"/>
                <a:gd name="connsiteX1" fmla="*/ 1064394 w 1119116"/>
                <a:gd name="connsiteY1" fmla="*/ 257442 h 257442"/>
                <a:gd name="connsiteX2" fmla="*/ 0 w 1119116"/>
                <a:gd name="connsiteY2" fmla="*/ 257442 h 257442"/>
                <a:gd name="connsiteX3" fmla="*/ 54721 w 1119116"/>
                <a:gd name="connsiteY3" fmla="*/ 0 h 257442"/>
                <a:gd name="connsiteX0" fmla="*/ 1119117 w 1119117"/>
                <a:gd name="connsiteY0" fmla="*/ 0 h 257442"/>
                <a:gd name="connsiteX1" fmla="*/ 1064395 w 1119117"/>
                <a:gd name="connsiteY1" fmla="*/ 257442 h 257442"/>
                <a:gd name="connsiteX2" fmla="*/ 0 w 1119117"/>
                <a:gd name="connsiteY2" fmla="*/ 257442 h 257442"/>
                <a:gd name="connsiteX3" fmla="*/ 54722 w 1119117"/>
                <a:gd name="connsiteY3" fmla="*/ 0 h 257442"/>
                <a:gd name="connsiteX0" fmla="*/ 1119117 w 1119117"/>
                <a:gd name="connsiteY0" fmla="*/ 0 h 257442"/>
                <a:gd name="connsiteX1" fmla="*/ 1064395 w 1119117"/>
                <a:gd name="connsiteY1" fmla="*/ 257442 h 257442"/>
                <a:gd name="connsiteX2" fmla="*/ 0 w 1119117"/>
                <a:gd name="connsiteY2" fmla="*/ 257442 h 257442"/>
                <a:gd name="connsiteX3" fmla="*/ 54722 w 1119117"/>
                <a:gd name="connsiteY3" fmla="*/ 0 h 257442"/>
                <a:gd name="connsiteX0" fmla="*/ 1287433 w 1287433"/>
                <a:gd name="connsiteY0" fmla="*/ 0 h 257442"/>
                <a:gd name="connsiteX1" fmla="*/ 1064395 w 1287433"/>
                <a:gd name="connsiteY1" fmla="*/ 257442 h 257442"/>
                <a:gd name="connsiteX2" fmla="*/ 0 w 1287433"/>
                <a:gd name="connsiteY2" fmla="*/ 257442 h 257442"/>
                <a:gd name="connsiteX3" fmla="*/ 54722 w 1287433"/>
                <a:gd name="connsiteY3" fmla="*/ 0 h 257442"/>
                <a:gd name="connsiteX0" fmla="*/ 1287433 w 1287433"/>
                <a:gd name="connsiteY0" fmla="*/ 0 h 257442"/>
                <a:gd name="connsiteX1" fmla="*/ 1232712 w 1287433"/>
                <a:gd name="connsiteY1" fmla="*/ 257442 h 257442"/>
                <a:gd name="connsiteX2" fmla="*/ 0 w 1287433"/>
                <a:gd name="connsiteY2" fmla="*/ 257442 h 257442"/>
                <a:gd name="connsiteX3" fmla="*/ 54722 w 1287433"/>
                <a:gd name="connsiteY3" fmla="*/ 0 h 257442"/>
                <a:gd name="connsiteX0" fmla="*/ 1287432 w 1287432"/>
                <a:gd name="connsiteY0" fmla="*/ 0 h 257442"/>
                <a:gd name="connsiteX1" fmla="*/ 1232711 w 1287432"/>
                <a:gd name="connsiteY1" fmla="*/ 257442 h 257442"/>
                <a:gd name="connsiteX2" fmla="*/ 0 w 1287432"/>
                <a:gd name="connsiteY2" fmla="*/ 257442 h 257442"/>
                <a:gd name="connsiteX3" fmla="*/ 54721 w 1287432"/>
                <a:gd name="connsiteY3" fmla="*/ 0 h 257442"/>
                <a:gd name="connsiteX0" fmla="*/ 1287432 w 1287432"/>
                <a:gd name="connsiteY0" fmla="*/ 0 h 257442"/>
                <a:gd name="connsiteX1" fmla="*/ 1232711 w 1287432"/>
                <a:gd name="connsiteY1" fmla="*/ 257442 h 257442"/>
                <a:gd name="connsiteX2" fmla="*/ 0 w 1287432"/>
                <a:gd name="connsiteY2" fmla="*/ 257442 h 257442"/>
                <a:gd name="connsiteX3" fmla="*/ 54720 w 1287432"/>
                <a:gd name="connsiteY3" fmla="*/ 0 h 257442"/>
                <a:gd name="connsiteX0" fmla="*/ 1455746 w 1455746"/>
                <a:gd name="connsiteY0" fmla="*/ 0 h 257442"/>
                <a:gd name="connsiteX1" fmla="*/ 1232711 w 1455746"/>
                <a:gd name="connsiteY1" fmla="*/ 257442 h 257442"/>
                <a:gd name="connsiteX2" fmla="*/ 0 w 1455746"/>
                <a:gd name="connsiteY2" fmla="*/ 257442 h 257442"/>
                <a:gd name="connsiteX3" fmla="*/ 54720 w 1455746"/>
                <a:gd name="connsiteY3" fmla="*/ 0 h 257442"/>
                <a:gd name="connsiteX0" fmla="*/ 1455746 w 1455746"/>
                <a:gd name="connsiteY0" fmla="*/ 0 h 257442"/>
                <a:gd name="connsiteX1" fmla="*/ 1401025 w 1455746"/>
                <a:gd name="connsiteY1" fmla="*/ 257442 h 257442"/>
                <a:gd name="connsiteX2" fmla="*/ 0 w 1455746"/>
                <a:gd name="connsiteY2" fmla="*/ 257442 h 257442"/>
                <a:gd name="connsiteX3" fmla="*/ 54720 w 1455746"/>
                <a:gd name="connsiteY3" fmla="*/ 0 h 257442"/>
                <a:gd name="connsiteX0" fmla="*/ 1455747 w 1455747"/>
                <a:gd name="connsiteY0" fmla="*/ 0 h 257442"/>
                <a:gd name="connsiteX1" fmla="*/ 1401026 w 1455747"/>
                <a:gd name="connsiteY1" fmla="*/ 257442 h 257442"/>
                <a:gd name="connsiteX2" fmla="*/ 0 w 1455747"/>
                <a:gd name="connsiteY2" fmla="*/ 257442 h 257442"/>
                <a:gd name="connsiteX3" fmla="*/ 54721 w 1455747"/>
                <a:gd name="connsiteY3" fmla="*/ 0 h 257442"/>
                <a:gd name="connsiteX0" fmla="*/ 1455747 w 1455747"/>
                <a:gd name="connsiteY0" fmla="*/ 0 h 257442"/>
                <a:gd name="connsiteX1" fmla="*/ 1401026 w 1455747"/>
                <a:gd name="connsiteY1" fmla="*/ 257442 h 257442"/>
                <a:gd name="connsiteX2" fmla="*/ 0 w 1455747"/>
                <a:gd name="connsiteY2" fmla="*/ 257442 h 257442"/>
                <a:gd name="connsiteX3" fmla="*/ 54722 w 1455747"/>
                <a:gd name="connsiteY3" fmla="*/ 0 h 257442"/>
                <a:gd name="connsiteX0" fmla="*/ 1633681 w 1633681"/>
                <a:gd name="connsiteY0" fmla="*/ 0 h 257442"/>
                <a:gd name="connsiteX1" fmla="*/ 1401026 w 1633681"/>
                <a:gd name="connsiteY1" fmla="*/ 257442 h 257442"/>
                <a:gd name="connsiteX2" fmla="*/ 0 w 1633681"/>
                <a:gd name="connsiteY2" fmla="*/ 257442 h 257442"/>
                <a:gd name="connsiteX3" fmla="*/ 54722 w 1633681"/>
                <a:gd name="connsiteY3" fmla="*/ 0 h 257442"/>
                <a:gd name="connsiteX0" fmla="*/ 1633681 w 1633681"/>
                <a:gd name="connsiteY0" fmla="*/ 0 h 257442"/>
                <a:gd name="connsiteX1" fmla="*/ 1578960 w 1633681"/>
                <a:gd name="connsiteY1" fmla="*/ 257442 h 257442"/>
                <a:gd name="connsiteX2" fmla="*/ 0 w 1633681"/>
                <a:gd name="connsiteY2" fmla="*/ 257442 h 257442"/>
                <a:gd name="connsiteX3" fmla="*/ 54722 w 1633681"/>
                <a:gd name="connsiteY3" fmla="*/ 0 h 257442"/>
                <a:gd name="connsiteX0" fmla="*/ 1633680 w 1633680"/>
                <a:gd name="connsiteY0" fmla="*/ 0 h 257442"/>
                <a:gd name="connsiteX1" fmla="*/ 1578959 w 1633680"/>
                <a:gd name="connsiteY1" fmla="*/ 257442 h 257442"/>
                <a:gd name="connsiteX2" fmla="*/ 0 w 1633680"/>
                <a:gd name="connsiteY2" fmla="*/ 257442 h 257442"/>
                <a:gd name="connsiteX3" fmla="*/ 54721 w 1633680"/>
                <a:gd name="connsiteY3" fmla="*/ 0 h 257442"/>
                <a:gd name="connsiteX0" fmla="*/ 1633680 w 1633680"/>
                <a:gd name="connsiteY0" fmla="*/ 0 h 257442"/>
                <a:gd name="connsiteX1" fmla="*/ 1578959 w 1633680"/>
                <a:gd name="connsiteY1" fmla="*/ 257442 h 257442"/>
                <a:gd name="connsiteX2" fmla="*/ 0 w 1633680"/>
                <a:gd name="connsiteY2" fmla="*/ 257442 h 257442"/>
                <a:gd name="connsiteX3" fmla="*/ 54720 w 1633680"/>
                <a:gd name="connsiteY3" fmla="*/ 0 h 257442"/>
                <a:gd name="connsiteX0" fmla="*/ 1801994 w 1801994"/>
                <a:gd name="connsiteY0" fmla="*/ 0 h 257442"/>
                <a:gd name="connsiteX1" fmla="*/ 1578959 w 1801994"/>
                <a:gd name="connsiteY1" fmla="*/ 257442 h 257442"/>
                <a:gd name="connsiteX2" fmla="*/ 0 w 1801994"/>
                <a:gd name="connsiteY2" fmla="*/ 257442 h 257442"/>
                <a:gd name="connsiteX3" fmla="*/ 54720 w 1801994"/>
                <a:gd name="connsiteY3" fmla="*/ 0 h 257442"/>
                <a:gd name="connsiteX0" fmla="*/ 1801994 w 1801994"/>
                <a:gd name="connsiteY0" fmla="*/ 0 h 257442"/>
                <a:gd name="connsiteX1" fmla="*/ 1747273 w 1801994"/>
                <a:gd name="connsiteY1" fmla="*/ 257442 h 257442"/>
                <a:gd name="connsiteX2" fmla="*/ 0 w 1801994"/>
                <a:gd name="connsiteY2" fmla="*/ 257442 h 257442"/>
                <a:gd name="connsiteX3" fmla="*/ 54720 w 1801994"/>
                <a:gd name="connsiteY3" fmla="*/ 0 h 257442"/>
                <a:gd name="connsiteX0" fmla="*/ 1801995 w 1801995"/>
                <a:gd name="connsiteY0" fmla="*/ 0 h 257442"/>
                <a:gd name="connsiteX1" fmla="*/ 1747274 w 1801995"/>
                <a:gd name="connsiteY1" fmla="*/ 257442 h 257442"/>
                <a:gd name="connsiteX2" fmla="*/ 0 w 1801995"/>
                <a:gd name="connsiteY2" fmla="*/ 257442 h 257442"/>
                <a:gd name="connsiteX3" fmla="*/ 54721 w 1801995"/>
                <a:gd name="connsiteY3" fmla="*/ 0 h 257442"/>
                <a:gd name="connsiteX0" fmla="*/ 1801995 w 1801995"/>
                <a:gd name="connsiteY0" fmla="*/ 0 h 257442"/>
                <a:gd name="connsiteX1" fmla="*/ 1747274 w 1801995"/>
                <a:gd name="connsiteY1" fmla="*/ 257442 h 257442"/>
                <a:gd name="connsiteX2" fmla="*/ 0 w 1801995"/>
                <a:gd name="connsiteY2" fmla="*/ 257442 h 257442"/>
                <a:gd name="connsiteX3" fmla="*/ 54722 w 1801995"/>
                <a:gd name="connsiteY3" fmla="*/ 0 h 257442"/>
                <a:gd name="connsiteX0" fmla="*/ 1979930 w 1979930"/>
                <a:gd name="connsiteY0" fmla="*/ 0 h 257442"/>
                <a:gd name="connsiteX1" fmla="*/ 1747274 w 1979930"/>
                <a:gd name="connsiteY1" fmla="*/ 257442 h 257442"/>
                <a:gd name="connsiteX2" fmla="*/ 0 w 1979930"/>
                <a:gd name="connsiteY2" fmla="*/ 257442 h 257442"/>
                <a:gd name="connsiteX3" fmla="*/ 54722 w 1979930"/>
                <a:gd name="connsiteY3" fmla="*/ 0 h 257442"/>
                <a:gd name="connsiteX0" fmla="*/ 1979930 w 1979930"/>
                <a:gd name="connsiteY0" fmla="*/ 0 h 257442"/>
                <a:gd name="connsiteX1" fmla="*/ 1925208 w 1979930"/>
                <a:gd name="connsiteY1" fmla="*/ 257442 h 257442"/>
                <a:gd name="connsiteX2" fmla="*/ 0 w 1979930"/>
                <a:gd name="connsiteY2" fmla="*/ 257442 h 257442"/>
                <a:gd name="connsiteX3" fmla="*/ 54722 w 1979930"/>
                <a:gd name="connsiteY3" fmla="*/ 0 h 257442"/>
                <a:gd name="connsiteX0" fmla="*/ 1979930 w 1979930"/>
                <a:gd name="connsiteY0" fmla="*/ 0 h 257442"/>
                <a:gd name="connsiteX1" fmla="*/ 1925208 w 1979930"/>
                <a:gd name="connsiteY1" fmla="*/ 257442 h 257442"/>
                <a:gd name="connsiteX2" fmla="*/ 0 w 1979930"/>
                <a:gd name="connsiteY2" fmla="*/ 257442 h 257442"/>
                <a:gd name="connsiteX3" fmla="*/ 54722 w 1979930"/>
                <a:gd name="connsiteY3" fmla="*/ 0 h 257442"/>
                <a:gd name="connsiteX0" fmla="*/ 1979930 w 1979930"/>
                <a:gd name="connsiteY0" fmla="*/ 0 h 257442"/>
                <a:gd name="connsiteX1" fmla="*/ 1925208 w 1979930"/>
                <a:gd name="connsiteY1" fmla="*/ 257442 h 257442"/>
                <a:gd name="connsiteX2" fmla="*/ 0 w 1979930"/>
                <a:gd name="connsiteY2" fmla="*/ 257442 h 257442"/>
                <a:gd name="connsiteX3" fmla="*/ 54721 w 1979930"/>
                <a:gd name="connsiteY3" fmla="*/ 0 h 257442"/>
                <a:gd name="connsiteX0" fmla="*/ 2148244 w 2148244"/>
                <a:gd name="connsiteY0" fmla="*/ 0 h 257442"/>
                <a:gd name="connsiteX1" fmla="*/ 1925208 w 2148244"/>
                <a:gd name="connsiteY1" fmla="*/ 257442 h 257442"/>
                <a:gd name="connsiteX2" fmla="*/ 0 w 2148244"/>
                <a:gd name="connsiteY2" fmla="*/ 257442 h 257442"/>
                <a:gd name="connsiteX3" fmla="*/ 54721 w 2148244"/>
                <a:gd name="connsiteY3" fmla="*/ 0 h 257442"/>
                <a:gd name="connsiteX0" fmla="*/ 2148244 w 2148244"/>
                <a:gd name="connsiteY0" fmla="*/ 0 h 257442"/>
                <a:gd name="connsiteX1" fmla="*/ 2093523 w 2148244"/>
                <a:gd name="connsiteY1" fmla="*/ 257442 h 257442"/>
                <a:gd name="connsiteX2" fmla="*/ 0 w 2148244"/>
                <a:gd name="connsiteY2" fmla="*/ 257442 h 257442"/>
                <a:gd name="connsiteX3" fmla="*/ 54721 w 2148244"/>
                <a:gd name="connsiteY3" fmla="*/ 0 h 257442"/>
                <a:gd name="connsiteX0" fmla="*/ 2148244 w 2148244"/>
                <a:gd name="connsiteY0" fmla="*/ 0 h 257442"/>
                <a:gd name="connsiteX1" fmla="*/ 2093523 w 2148244"/>
                <a:gd name="connsiteY1" fmla="*/ 257442 h 257442"/>
                <a:gd name="connsiteX2" fmla="*/ 0 w 2148244"/>
                <a:gd name="connsiteY2" fmla="*/ 257442 h 257442"/>
                <a:gd name="connsiteX3" fmla="*/ 54721 w 2148244"/>
                <a:gd name="connsiteY3" fmla="*/ 0 h 257442"/>
                <a:gd name="connsiteX0" fmla="*/ 2148244 w 2148244"/>
                <a:gd name="connsiteY0" fmla="*/ 0 h 257442"/>
                <a:gd name="connsiteX1" fmla="*/ 2093523 w 2148244"/>
                <a:gd name="connsiteY1" fmla="*/ 257442 h 257442"/>
                <a:gd name="connsiteX2" fmla="*/ 0 w 2148244"/>
                <a:gd name="connsiteY2" fmla="*/ 257442 h 257442"/>
                <a:gd name="connsiteX3" fmla="*/ 54721 w 2148244"/>
                <a:gd name="connsiteY3" fmla="*/ 0 h 257442"/>
                <a:gd name="connsiteX0" fmla="*/ 2316560 w 2316560"/>
                <a:gd name="connsiteY0" fmla="*/ 0 h 257442"/>
                <a:gd name="connsiteX1" fmla="*/ 2093523 w 2316560"/>
                <a:gd name="connsiteY1" fmla="*/ 257442 h 257442"/>
                <a:gd name="connsiteX2" fmla="*/ 0 w 2316560"/>
                <a:gd name="connsiteY2" fmla="*/ 257442 h 257442"/>
                <a:gd name="connsiteX3" fmla="*/ 54721 w 2316560"/>
                <a:gd name="connsiteY3" fmla="*/ 0 h 257442"/>
                <a:gd name="connsiteX0" fmla="*/ 2316560 w 2316560"/>
                <a:gd name="connsiteY0" fmla="*/ 0 h 257442"/>
                <a:gd name="connsiteX1" fmla="*/ 2261839 w 2316560"/>
                <a:gd name="connsiteY1" fmla="*/ 257442 h 257442"/>
                <a:gd name="connsiteX2" fmla="*/ 0 w 2316560"/>
                <a:gd name="connsiteY2" fmla="*/ 257442 h 257442"/>
                <a:gd name="connsiteX3" fmla="*/ 54721 w 2316560"/>
                <a:gd name="connsiteY3" fmla="*/ 0 h 257442"/>
                <a:gd name="connsiteX0" fmla="*/ 2316560 w 2316560"/>
                <a:gd name="connsiteY0" fmla="*/ 0 h 257442"/>
                <a:gd name="connsiteX1" fmla="*/ 2261839 w 2316560"/>
                <a:gd name="connsiteY1" fmla="*/ 257442 h 257442"/>
                <a:gd name="connsiteX2" fmla="*/ 0 w 2316560"/>
                <a:gd name="connsiteY2" fmla="*/ 257442 h 257442"/>
                <a:gd name="connsiteX3" fmla="*/ 54721 w 2316560"/>
                <a:gd name="connsiteY3" fmla="*/ 0 h 257442"/>
                <a:gd name="connsiteX0" fmla="*/ 2316560 w 2316560"/>
                <a:gd name="connsiteY0" fmla="*/ 0 h 257442"/>
                <a:gd name="connsiteX1" fmla="*/ 2261839 w 2316560"/>
                <a:gd name="connsiteY1" fmla="*/ 257442 h 257442"/>
                <a:gd name="connsiteX2" fmla="*/ 0 w 2316560"/>
                <a:gd name="connsiteY2" fmla="*/ 257442 h 257442"/>
                <a:gd name="connsiteX3" fmla="*/ 54721 w 2316560"/>
                <a:gd name="connsiteY3" fmla="*/ 0 h 257442"/>
                <a:gd name="connsiteX0" fmla="*/ 2484874 w 2484874"/>
                <a:gd name="connsiteY0" fmla="*/ 0 h 257442"/>
                <a:gd name="connsiteX1" fmla="*/ 2261839 w 2484874"/>
                <a:gd name="connsiteY1" fmla="*/ 257442 h 257442"/>
                <a:gd name="connsiteX2" fmla="*/ 0 w 2484874"/>
                <a:gd name="connsiteY2" fmla="*/ 257442 h 257442"/>
                <a:gd name="connsiteX3" fmla="*/ 54721 w 2484874"/>
                <a:gd name="connsiteY3" fmla="*/ 0 h 257442"/>
                <a:gd name="connsiteX0" fmla="*/ 2484874 w 2484874"/>
                <a:gd name="connsiteY0" fmla="*/ 0 h 257442"/>
                <a:gd name="connsiteX1" fmla="*/ 2430153 w 2484874"/>
                <a:gd name="connsiteY1" fmla="*/ 257442 h 257442"/>
                <a:gd name="connsiteX2" fmla="*/ 0 w 2484874"/>
                <a:gd name="connsiteY2" fmla="*/ 257442 h 257442"/>
                <a:gd name="connsiteX3" fmla="*/ 54721 w 2484874"/>
                <a:gd name="connsiteY3" fmla="*/ 0 h 257442"/>
                <a:gd name="connsiteX0" fmla="*/ 2484874 w 2484874"/>
                <a:gd name="connsiteY0" fmla="*/ 0 h 257442"/>
                <a:gd name="connsiteX1" fmla="*/ 2430153 w 2484874"/>
                <a:gd name="connsiteY1" fmla="*/ 257442 h 257442"/>
                <a:gd name="connsiteX2" fmla="*/ 0 w 2484874"/>
                <a:gd name="connsiteY2" fmla="*/ 257442 h 257442"/>
                <a:gd name="connsiteX3" fmla="*/ 54721 w 2484874"/>
                <a:gd name="connsiteY3" fmla="*/ 0 h 257442"/>
                <a:gd name="connsiteX0" fmla="*/ 2484874 w 2484874"/>
                <a:gd name="connsiteY0" fmla="*/ 0 h 257442"/>
                <a:gd name="connsiteX1" fmla="*/ 2430153 w 2484874"/>
                <a:gd name="connsiteY1" fmla="*/ 257442 h 257442"/>
                <a:gd name="connsiteX2" fmla="*/ 0 w 2484874"/>
                <a:gd name="connsiteY2" fmla="*/ 257442 h 257442"/>
                <a:gd name="connsiteX3" fmla="*/ 54721 w 2484874"/>
                <a:gd name="connsiteY3" fmla="*/ 0 h 257442"/>
                <a:gd name="connsiteX0" fmla="*/ 2645175 w 2645175"/>
                <a:gd name="connsiteY0" fmla="*/ 0 h 257442"/>
                <a:gd name="connsiteX1" fmla="*/ 2430153 w 2645175"/>
                <a:gd name="connsiteY1" fmla="*/ 257442 h 257442"/>
                <a:gd name="connsiteX2" fmla="*/ 0 w 2645175"/>
                <a:gd name="connsiteY2" fmla="*/ 257442 h 257442"/>
                <a:gd name="connsiteX3" fmla="*/ 54721 w 2645175"/>
                <a:gd name="connsiteY3" fmla="*/ 0 h 257442"/>
                <a:gd name="connsiteX0" fmla="*/ 2645175 w 2645175"/>
                <a:gd name="connsiteY0" fmla="*/ 0 h 257442"/>
                <a:gd name="connsiteX1" fmla="*/ 2590454 w 2645175"/>
                <a:gd name="connsiteY1" fmla="*/ 257442 h 257442"/>
                <a:gd name="connsiteX2" fmla="*/ 0 w 2645175"/>
                <a:gd name="connsiteY2" fmla="*/ 257442 h 257442"/>
                <a:gd name="connsiteX3" fmla="*/ 54721 w 2645175"/>
                <a:gd name="connsiteY3" fmla="*/ 0 h 257442"/>
                <a:gd name="connsiteX0" fmla="*/ 2645175 w 2645175"/>
                <a:gd name="connsiteY0" fmla="*/ 0 h 257442"/>
                <a:gd name="connsiteX1" fmla="*/ 2590454 w 2645175"/>
                <a:gd name="connsiteY1" fmla="*/ 257442 h 257442"/>
                <a:gd name="connsiteX2" fmla="*/ 0 w 2645175"/>
                <a:gd name="connsiteY2" fmla="*/ 257442 h 257442"/>
                <a:gd name="connsiteX3" fmla="*/ 54721 w 2645175"/>
                <a:gd name="connsiteY3" fmla="*/ 0 h 257442"/>
                <a:gd name="connsiteX0" fmla="*/ 2645175 w 2645175"/>
                <a:gd name="connsiteY0" fmla="*/ 0 h 257442"/>
                <a:gd name="connsiteX1" fmla="*/ 2590454 w 2645175"/>
                <a:gd name="connsiteY1" fmla="*/ 257442 h 257442"/>
                <a:gd name="connsiteX2" fmla="*/ 0 w 2645175"/>
                <a:gd name="connsiteY2" fmla="*/ 257442 h 257442"/>
                <a:gd name="connsiteX3" fmla="*/ 54721 w 2645175"/>
                <a:gd name="connsiteY3" fmla="*/ 0 h 257442"/>
                <a:gd name="connsiteX0" fmla="*/ 2813491 w 2813491"/>
                <a:gd name="connsiteY0" fmla="*/ 0 h 257442"/>
                <a:gd name="connsiteX1" fmla="*/ 2590454 w 2813491"/>
                <a:gd name="connsiteY1" fmla="*/ 257442 h 257442"/>
                <a:gd name="connsiteX2" fmla="*/ 0 w 2813491"/>
                <a:gd name="connsiteY2" fmla="*/ 257442 h 257442"/>
                <a:gd name="connsiteX3" fmla="*/ 54721 w 2813491"/>
                <a:gd name="connsiteY3" fmla="*/ 0 h 257442"/>
                <a:gd name="connsiteX0" fmla="*/ 2813491 w 2813491"/>
                <a:gd name="connsiteY0" fmla="*/ 0 h 257442"/>
                <a:gd name="connsiteX1" fmla="*/ 2758770 w 2813491"/>
                <a:gd name="connsiteY1" fmla="*/ 257442 h 257442"/>
                <a:gd name="connsiteX2" fmla="*/ 0 w 2813491"/>
                <a:gd name="connsiteY2" fmla="*/ 257442 h 257442"/>
                <a:gd name="connsiteX3" fmla="*/ 54721 w 2813491"/>
                <a:gd name="connsiteY3" fmla="*/ 0 h 257442"/>
                <a:gd name="connsiteX0" fmla="*/ 2813491 w 2813491"/>
                <a:gd name="connsiteY0" fmla="*/ 0 h 257442"/>
                <a:gd name="connsiteX1" fmla="*/ 2758770 w 2813491"/>
                <a:gd name="connsiteY1" fmla="*/ 257442 h 257442"/>
                <a:gd name="connsiteX2" fmla="*/ 0 w 2813491"/>
                <a:gd name="connsiteY2" fmla="*/ 257442 h 257442"/>
                <a:gd name="connsiteX3" fmla="*/ 54721 w 2813491"/>
                <a:gd name="connsiteY3" fmla="*/ 0 h 257442"/>
                <a:gd name="connsiteX0" fmla="*/ 2813491 w 2813491"/>
                <a:gd name="connsiteY0" fmla="*/ 0 h 257442"/>
                <a:gd name="connsiteX1" fmla="*/ 2758770 w 2813491"/>
                <a:gd name="connsiteY1" fmla="*/ 257442 h 257442"/>
                <a:gd name="connsiteX2" fmla="*/ 0 w 2813491"/>
                <a:gd name="connsiteY2" fmla="*/ 257442 h 257442"/>
                <a:gd name="connsiteX3" fmla="*/ 54721 w 2813491"/>
                <a:gd name="connsiteY3" fmla="*/ 0 h 257442"/>
                <a:gd name="connsiteX0" fmla="*/ 2981805 w 2981805"/>
                <a:gd name="connsiteY0" fmla="*/ 0 h 257442"/>
                <a:gd name="connsiteX1" fmla="*/ 2758770 w 2981805"/>
                <a:gd name="connsiteY1" fmla="*/ 257442 h 257442"/>
                <a:gd name="connsiteX2" fmla="*/ 0 w 2981805"/>
                <a:gd name="connsiteY2" fmla="*/ 257442 h 257442"/>
                <a:gd name="connsiteX3" fmla="*/ 54721 w 2981805"/>
                <a:gd name="connsiteY3" fmla="*/ 0 h 257442"/>
                <a:gd name="connsiteX0" fmla="*/ 2981805 w 2981805"/>
                <a:gd name="connsiteY0" fmla="*/ 0 h 257442"/>
                <a:gd name="connsiteX1" fmla="*/ 2927084 w 2981805"/>
                <a:gd name="connsiteY1" fmla="*/ 257442 h 257442"/>
                <a:gd name="connsiteX2" fmla="*/ 0 w 2981805"/>
                <a:gd name="connsiteY2" fmla="*/ 257442 h 257442"/>
                <a:gd name="connsiteX3" fmla="*/ 54721 w 2981805"/>
                <a:gd name="connsiteY3" fmla="*/ 0 h 257442"/>
                <a:gd name="connsiteX0" fmla="*/ 2981805 w 2981805"/>
                <a:gd name="connsiteY0" fmla="*/ 0 h 257442"/>
                <a:gd name="connsiteX1" fmla="*/ 2927084 w 2981805"/>
                <a:gd name="connsiteY1" fmla="*/ 257442 h 257442"/>
                <a:gd name="connsiteX2" fmla="*/ 0 w 2981805"/>
                <a:gd name="connsiteY2" fmla="*/ 257442 h 257442"/>
                <a:gd name="connsiteX3" fmla="*/ 54721 w 2981805"/>
                <a:gd name="connsiteY3" fmla="*/ 0 h 257442"/>
                <a:gd name="connsiteX0" fmla="*/ 2981805 w 2981805"/>
                <a:gd name="connsiteY0" fmla="*/ 0 h 257442"/>
                <a:gd name="connsiteX1" fmla="*/ 2927084 w 2981805"/>
                <a:gd name="connsiteY1" fmla="*/ 257442 h 257442"/>
                <a:gd name="connsiteX2" fmla="*/ 0 w 2981805"/>
                <a:gd name="connsiteY2" fmla="*/ 257442 h 257442"/>
                <a:gd name="connsiteX3" fmla="*/ 54721 w 2981805"/>
                <a:gd name="connsiteY3" fmla="*/ 0 h 257442"/>
                <a:gd name="connsiteX0" fmla="*/ 3150121 w 3150121"/>
                <a:gd name="connsiteY0" fmla="*/ 0 h 257442"/>
                <a:gd name="connsiteX1" fmla="*/ 2927084 w 3150121"/>
                <a:gd name="connsiteY1" fmla="*/ 257442 h 257442"/>
                <a:gd name="connsiteX2" fmla="*/ 0 w 3150121"/>
                <a:gd name="connsiteY2" fmla="*/ 257442 h 257442"/>
                <a:gd name="connsiteX3" fmla="*/ 54721 w 3150121"/>
                <a:gd name="connsiteY3" fmla="*/ 0 h 257442"/>
                <a:gd name="connsiteX0" fmla="*/ 3150121 w 3150121"/>
                <a:gd name="connsiteY0" fmla="*/ 0 h 257442"/>
                <a:gd name="connsiteX1" fmla="*/ 3095400 w 3150121"/>
                <a:gd name="connsiteY1" fmla="*/ 257442 h 257442"/>
                <a:gd name="connsiteX2" fmla="*/ 0 w 3150121"/>
                <a:gd name="connsiteY2" fmla="*/ 257442 h 257442"/>
                <a:gd name="connsiteX3" fmla="*/ 54721 w 3150121"/>
                <a:gd name="connsiteY3" fmla="*/ 0 h 257442"/>
                <a:gd name="connsiteX0" fmla="*/ 3150121 w 3150121"/>
                <a:gd name="connsiteY0" fmla="*/ 0 h 257442"/>
                <a:gd name="connsiteX1" fmla="*/ 3095400 w 3150121"/>
                <a:gd name="connsiteY1" fmla="*/ 257442 h 257442"/>
                <a:gd name="connsiteX2" fmla="*/ 0 w 3150121"/>
                <a:gd name="connsiteY2" fmla="*/ 257442 h 257442"/>
                <a:gd name="connsiteX3" fmla="*/ 54721 w 3150121"/>
                <a:gd name="connsiteY3" fmla="*/ 0 h 257442"/>
                <a:gd name="connsiteX0" fmla="*/ 3150121 w 3150121"/>
                <a:gd name="connsiteY0" fmla="*/ 0 h 257442"/>
                <a:gd name="connsiteX1" fmla="*/ 3095400 w 3150121"/>
                <a:gd name="connsiteY1" fmla="*/ 257442 h 257442"/>
                <a:gd name="connsiteX2" fmla="*/ 0 w 3150121"/>
                <a:gd name="connsiteY2" fmla="*/ 257442 h 257442"/>
                <a:gd name="connsiteX3" fmla="*/ 54721 w 3150121"/>
                <a:gd name="connsiteY3" fmla="*/ 0 h 257442"/>
                <a:gd name="connsiteX0" fmla="*/ 3318436 w 3318436"/>
                <a:gd name="connsiteY0" fmla="*/ 0 h 257442"/>
                <a:gd name="connsiteX1" fmla="*/ 3095400 w 3318436"/>
                <a:gd name="connsiteY1" fmla="*/ 257442 h 257442"/>
                <a:gd name="connsiteX2" fmla="*/ 0 w 3318436"/>
                <a:gd name="connsiteY2" fmla="*/ 257442 h 257442"/>
                <a:gd name="connsiteX3" fmla="*/ 54721 w 3318436"/>
                <a:gd name="connsiteY3" fmla="*/ 0 h 257442"/>
                <a:gd name="connsiteX0" fmla="*/ 3318436 w 3318436"/>
                <a:gd name="connsiteY0" fmla="*/ 0 h 257442"/>
                <a:gd name="connsiteX1" fmla="*/ 3263714 w 3318436"/>
                <a:gd name="connsiteY1" fmla="*/ 257442 h 257442"/>
                <a:gd name="connsiteX2" fmla="*/ 0 w 3318436"/>
                <a:gd name="connsiteY2" fmla="*/ 257442 h 257442"/>
                <a:gd name="connsiteX3" fmla="*/ 54721 w 3318436"/>
                <a:gd name="connsiteY3" fmla="*/ 0 h 257442"/>
                <a:gd name="connsiteX0" fmla="*/ 3318437 w 3318437"/>
                <a:gd name="connsiteY0" fmla="*/ 0 h 257442"/>
                <a:gd name="connsiteX1" fmla="*/ 3263715 w 3318437"/>
                <a:gd name="connsiteY1" fmla="*/ 257442 h 257442"/>
                <a:gd name="connsiteX2" fmla="*/ 0 w 3318437"/>
                <a:gd name="connsiteY2" fmla="*/ 257442 h 257442"/>
                <a:gd name="connsiteX3" fmla="*/ 54722 w 3318437"/>
                <a:gd name="connsiteY3" fmla="*/ 0 h 257442"/>
                <a:gd name="connsiteX0" fmla="*/ 3318437 w 3318437"/>
                <a:gd name="connsiteY0" fmla="*/ 0 h 257442"/>
                <a:gd name="connsiteX1" fmla="*/ 3263715 w 3318437"/>
                <a:gd name="connsiteY1" fmla="*/ 257442 h 257442"/>
                <a:gd name="connsiteX2" fmla="*/ 0 w 3318437"/>
                <a:gd name="connsiteY2" fmla="*/ 257442 h 257442"/>
                <a:gd name="connsiteX3" fmla="*/ 54722 w 3318437"/>
                <a:gd name="connsiteY3" fmla="*/ 0 h 257442"/>
                <a:gd name="connsiteX0" fmla="*/ 3560298 w 3560298"/>
                <a:gd name="connsiteY0" fmla="*/ 0 h 257442"/>
                <a:gd name="connsiteX1" fmla="*/ 3263715 w 3560298"/>
                <a:gd name="connsiteY1" fmla="*/ 257442 h 257442"/>
                <a:gd name="connsiteX2" fmla="*/ 0 w 3560298"/>
                <a:gd name="connsiteY2" fmla="*/ 257442 h 257442"/>
                <a:gd name="connsiteX3" fmla="*/ 54722 w 3560298"/>
                <a:gd name="connsiteY3" fmla="*/ 0 h 257442"/>
                <a:gd name="connsiteX0" fmla="*/ 3560298 w 3560298"/>
                <a:gd name="connsiteY0" fmla="*/ 0 h 257442"/>
                <a:gd name="connsiteX1" fmla="*/ 3505576 w 3560298"/>
                <a:gd name="connsiteY1" fmla="*/ 257442 h 257442"/>
                <a:gd name="connsiteX2" fmla="*/ 0 w 3560298"/>
                <a:gd name="connsiteY2" fmla="*/ 257442 h 257442"/>
                <a:gd name="connsiteX3" fmla="*/ 54722 w 3560298"/>
                <a:gd name="connsiteY3" fmla="*/ 0 h 257442"/>
                <a:gd name="connsiteX0" fmla="*/ 3560298 w 3560298"/>
                <a:gd name="connsiteY0" fmla="*/ 0 h 257442"/>
                <a:gd name="connsiteX1" fmla="*/ 3505576 w 3560298"/>
                <a:gd name="connsiteY1" fmla="*/ 257442 h 257442"/>
                <a:gd name="connsiteX2" fmla="*/ 0 w 3560298"/>
                <a:gd name="connsiteY2" fmla="*/ 257442 h 257442"/>
                <a:gd name="connsiteX3" fmla="*/ 54722 w 3560298"/>
                <a:gd name="connsiteY3" fmla="*/ 0 h 257442"/>
                <a:gd name="connsiteX0" fmla="*/ 3560298 w 3560298"/>
                <a:gd name="connsiteY0" fmla="*/ 0 h 257442"/>
                <a:gd name="connsiteX1" fmla="*/ 3505576 w 3560298"/>
                <a:gd name="connsiteY1" fmla="*/ 257442 h 257442"/>
                <a:gd name="connsiteX2" fmla="*/ 0 w 3560298"/>
                <a:gd name="connsiteY2" fmla="*/ 257442 h 257442"/>
                <a:gd name="connsiteX3" fmla="*/ 54721 w 3560298"/>
                <a:gd name="connsiteY3" fmla="*/ 0 h 257442"/>
                <a:gd name="connsiteX0" fmla="*/ 3738231 w 3738231"/>
                <a:gd name="connsiteY0" fmla="*/ 0 h 257442"/>
                <a:gd name="connsiteX1" fmla="*/ 3505576 w 3738231"/>
                <a:gd name="connsiteY1" fmla="*/ 257442 h 257442"/>
                <a:gd name="connsiteX2" fmla="*/ 0 w 3738231"/>
                <a:gd name="connsiteY2" fmla="*/ 257442 h 257442"/>
                <a:gd name="connsiteX3" fmla="*/ 54721 w 3738231"/>
                <a:gd name="connsiteY3" fmla="*/ 0 h 257442"/>
                <a:gd name="connsiteX0" fmla="*/ 3738231 w 3738231"/>
                <a:gd name="connsiteY0" fmla="*/ 0 h 257442"/>
                <a:gd name="connsiteX1" fmla="*/ 3683510 w 3738231"/>
                <a:gd name="connsiteY1" fmla="*/ 257442 h 257442"/>
                <a:gd name="connsiteX2" fmla="*/ 0 w 3738231"/>
                <a:gd name="connsiteY2" fmla="*/ 257442 h 257442"/>
                <a:gd name="connsiteX3" fmla="*/ 54721 w 3738231"/>
                <a:gd name="connsiteY3" fmla="*/ 0 h 257442"/>
                <a:gd name="connsiteX0" fmla="*/ 3738231 w 3738231"/>
                <a:gd name="connsiteY0" fmla="*/ 0 h 257442"/>
                <a:gd name="connsiteX1" fmla="*/ 3683510 w 3738231"/>
                <a:gd name="connsiteY1" fmla="*/ 257442 h 257442"/>
                <a:gd name="connsiteX2" fmla="*/ 0 w 3738231"/>
                <a:gd name="connsiteY2" fmla="*/ 257442 h 257442"/>
                <a:gd name="connsiteX3" fmla="*/ 54721 w 3738231"/>
                <a:gd name="connsiteY3" fmla="*/ 0 h 257442"/>
                <a:gd name="connsiteX0" fmla="*/ 3738231 w 3738231"/>
                <a:gd name="connsiteY0" fmla="*/ 0 h 257442"/>
                <a:gd name="connsiteX1" fmla="*/ 3683510 w 3738231"/>
                <a:gd name="connsiteY1" fmla="*/ 257442 h 257442"/>
                <a:gd name="connsiteX2" fmla="*/ 0 w 3738231"/>
                <a:gd name="connsiteY2" fmla="*/ 257442 h 257442"/>
                <a:gd name="connsiteX3" fmla="*/ 54721 w 3738231"/>
                <a:gd name="connsiteY3" fmla="*/ 0 h 257442"/>
                <a:gd name="connsiteX0" fmla="*/ 3906546 w 3906546"/>
                <a:gd name="connsiteY0" fmla="*/ 0 h 257442"/>
                <a:gd name="connsiteX1" fmla="*/ 3683510 w 3906546"/>
                <a:gd name="connsiteY1" fmla="*/ 257442 h 257442"/>
                <a:gd name="connsiteX2" fmla="*/ 0 w 3906546"/>
                <a:gd name="connsiteY2" fmla="*/ 257442 h 257442"/>
                <a:gd name="connsiteX3" fmla="*/ 54721 w 3906546"/>
                <a:gd name="connsiteY3" fmla="*/ 0 h 257442"/>
                <a:gd name="connsiteX0" fmla="*/ 3906546 w 3906546"/>
                <a:gd name="connsiteY0" fmla="*/ 0 h 257442"/>
                <a:gd name="connsiteX1" fmla="*/ 3851824 w 3906546"/>
                <a:gd name="connsiteY1" fmla="*/ 257442 h 257442"/>
                <a:gd name="connsiteX2" fmla="*/ 0 w 3906546"/>
                <a:gd name="connsiteY2" fmla="*/ 257442 h 257442"/>
                <a:gd name="connsiteX3" fmla="*/ 54721 w 3906546"/>
                <a:gd name="connsiteY3" fmla="*/ 0 h 257442"/>
                <a:gd name="connsiteX0" fmla="*/ 3906547 w 3906547"/>
                <a:gd name="connsiteY0" fmla="*/ 0 h 257442"/>
                <a:gd name="connsiteX1" fmla="*/ 3851825 w 3906547"/>
                <a:gd name="connsiteY1" fmla="*/ 257442 h 257442"/>
                <a:gd name="connsiteX2" fmla="*/ 0 w 3906547"/>
                <a:gd name="connsiteY2" fmla="*/ 257442 h 257442"/>
                <a:gd name="connsiteX3" fmla="*/ 54722 w 3906547"/>
                <a:gd name="connsiteY3" fmla="*/ 0 h 257442"/>
                <a:gd name="connsiteX0" fmla="*/ 3906547 w 3906547"/>
                <a:gd name="connsiteY0" fmla="*/ 0 h 257442"/>
                <a:gd name="connsiteX1" fmla="*/ 3851825 w 3906547"/>
                <a:gd name="connsiteY1" fmla="*/ 257442 h 257442"/>
                <a:gd name="connsiteX2" fmla="*/ 0 w 3906547"/>
                <a:gd name="connsiteY2" fmla="*/ 257442 h 257442"/>
                <a:gd name="connsiteX3" fmla="*/ 54722 w 3906547"/>
                <a:gd name="connsiteY3" fmla="*/ 0 h 257442"/>
                <a:gd name="connsiteX0" fmla="*/ 4074863 w 4074863"/>
                <a:gd name="connsiteY0" fmla="*/ 0 h 257442"/>
                <a:gd name="connsiteX1" fmla="*/ 3851825 w 4074863"/>
                <a:gd name="connsiteY1" fmla="*/ 257442 h 257442"/>
                <a:gd name="connsiteX2" fmla="*/ 0 w 4074863"/>
                <a:gd name="connsiteY2" fmla="*/ 257442 h 257442"/>
                <a:gd name="connsiteX3" fmla="*/ 54722 w 4074863"/>
                <a:gd name="connsiteY3" fmla="*/ 0 h 257442"/>
                <a:gd name="connsiteX0" fmla="*/ 4074863 w 4074863"/>
                <a:gd name="connsiteY0" fmla="*/ 0 h 257442"/>
                <a:gd name="connsiteX1" fmla="*/ 4020142 w 4074863"/>
                <a:gd name="connsiteY1" fmla="*/ 257442 h 257442"/>
                <a:gd name="connsiteX2" fmla="*/ 0 w 4074863"/>
                <a:gd name="connsiteY2" fmla="*/ 257442 h 257442"/>
                <a:gd name="connsiteX3" fmla="*/ 54722 w 4074863"/>
                <a:gd name="connsiteY3" fmla="*/ 0 h 257442"/>
                <a:gd name="connsiteX0" fmla="*/ 4074862 w 4074862"/>
                <a:gd name="connsiteY0" fmla="*/ 0 h 257442"/>
                <a:gd name="connsiteX1" fmla="*/ 4020141 w 4074862"/>
                <a:gd name="connsiteY1" fmla="*/ 257442 h 257442"/>
                <a:gd name="connsiteX2" fmla="*/ 0 w 4074862"/>
                <a:gd name="connsiteY2" fmla="*/ 257442 h 257442"/>
                <a:gd name="connsiteX3" fmla="*/ 54721 w 4074862"/>
                <a:gd name="connsiteY3" fmla="*/ 0 h 257442"/>
                <a:gd name="connsiteX0" fmla="*/ 4074862 w 4074862"/>
                <a:gd name="connsiteY0" fmla="*/ 0 h 257442"/>
                <a:gd name="connsiteX1" fmla="*/ 4020141 w 4074862"/>
                <a:gd name="connsiteY1" fmla="*/ 257442 h 257442"/>
                <a:gd name="connsiteX2" fmla="*/ 0 w 4074862"/>
                <a:gd name="connsiteY2" fmla="*/ 257442 h 257442"/>
                <a:gd name="connsiteX3" fmla="*/ 54720 w 4074862"/>
                <a:gd name="connsiteY3" fmla="*/ 0 h 257442"/>
                <a:gd name="connsiteX0" fmla="*/ 4325377 w 4325377"/>
                <a:gd name="connsiteY0" fmla="*/ 0 h 257442"/>
                <a:gd name="connsiteX1" fmla="*/ 4020141 w 4325377"/>
                <a:gd name="connsiteY1" fmla="*/ 257442 h 257442"/>
                <a:gd name="connsiteX2" fmla="*/ 0 w 4325377"/>
                <a:gd name="connsiteY2" fmla="*/ 257442 h 257442"/>
                <a:gd name="connsiteX3" fmla="*/ 54720 w 4325377"/>
                <a:gd name="connsiteY3" fmla="*/ 0 h 257442"/>
                <a:gd name="connsiteX0" fmla="*/ 4325377 w 4325377"/>
                <a:gd name="connsiteY0" fmla="*/ 0 h 257442"/>
                <a:gd name="connsiteX1" fmla="*/ 4270656 w 4325377"/>
                <a:gd name="connsiteY1" fmla="*/ 257442 h 257442"/>
                <a:gd name="connsiteX2" fmla="*/ 0 w 4325377"/>
                <a:gd name="connsiteY2" fmla="*/ 257442 h 257442"/>
                <a:gd name="connsiteX3" fmla="*/ 54720 w 4325377"/>
                <a:gd name="connsiteY3" fmla="*/ 0 h 257442"/>
                <a:gd name="connsiteX0" fmla="*/ 4325378 w 4325378"/>
                <a:gd name="connsiteY0" fmla="*/ 0 h 257442"/>
                <a:gd name="connsiteX1" fmla="*/ 4270657 w 4325378"/>
                <a:gd name="connsiteY1" fmla="*/ 257442 h 257442"/>
                <a:gd name="connsiteX2" fmla="*/ 0 w 4325378"/>
                <a:gd name="connsiteY2" fmla="*/ 257442 h 257442"/>
                <a:gd name="connsiteX3" fmla="*/ 54721 w 4325378"/>
                <a:gd name="connsiteY3" fmla="*/ 0 h 257442"/>
                <a:gd name="connsiteX0" fmla="*/ 4325378 w 4325378"/>
                <a:gd name="connsiteY0" fmla="*/ 0 h 257442"/>
                <a:gd name="connsiteX1" fmla="*/ 4270657 w 4325378"/>
                <a:gd name="connsiteY1" fmla="*/ 257442 h 257442"/>
                <a:gd name="connsiteX2" fmla="*/ 0 w 4325378"/>
                <a:gd name="connsiteY2" fmla="*/ 257442 h 257442"/>
                <a:gd name="connsiteX3" fmla="*/ 54721 w 4325378"/>
                <a:gd name="connsiteY3" fmla="*/ 0 h 257442"/>
                <a:gd name="connsiteX0" fmla="*/ 942786 w 4270657"/>
                <a:gd name="connsiteY0" fmla="*/ 0 h 257442"/>
                <a:gd name="connsiteX1" fmla="*/ 4270657 w 4270657"/>
                <a:gd name="connsiteY1" fmla="*/ 257442 h 257442"/>
                <a:gd name="connsiteX2" fmla="*/ 0 w 4270657"/>
                <a:gd name="connsiteY2" fmla="*/ 257442 h 257442"/>
                <a:gd name="connsiteX3" fmla="*/ 54721 w 4270657"/>
                <a:gd name="connsiteY3" fmla="*/ 0 h 257442"/>
                <a:gd name="connsiteX0" fmla="*/ 942786 w 942786"/>
                <a:gd name="connsiteY0" fmla="*/ 0 h 257442"/>
                <a:gd name="connsiteX1" fmla="*/ 888066 w 942786"/>
                <a:gd name="connsiteY1" fmla="*/ 257442 h 257442"/>
                <a:gd name="connsiteX2" fmla="*/ 0 w 942786"/>
                <a:gd name="connsiteY2" fmla="*/ 257442 h 257442"/>
                <a:gd name="connsiteX3" fmla="*/ 54721 w 942786"/>
                <a:gd name="connsiteY3" fmla="*/ 0 h 257442"/>
                <a:gd name="connsiteX0" fmla="*/ 942785 w 942785"/>
                <a:gd name="connsiteY0" fmla="*/ 0 h 257442"/>
                <a:gd name="connsiteX1" fmla="*/ 888065 w 942785"/>
                <a:gd name="connsiteY1" fmla="*/ 257442 h 257442"/>
                <a:gd name="connsiteX2" fmla="*/ 0 w 942785"/>
                <a:gd name="connsiteY2" fmla="*/ 257442 h 257442"/>
                <a:gd name="connsiteX3" fmla="*/ 54720 w 942785"/>
                <a:gd name="connsiteY3" fmla="*/ 0 h 257442"/>
                <a:gd name="connsiteX0" fmla="*/ 942785 w 942785"/>
                <a:gd name="connsiteY0" fmla="*/ 0 h 257442"/>
                <a:gd name="connsiteX1" fmla="*/ 888065 w 942785"/>
                <a:gd name="connsiteY1" fmla="*/ 257442 h 257442"/>
                <a:gd name="connsiteX2" fmla="*/ 0 w 942785"/>
                <a:gd name="connsiteY2" fmla="*/ 257442 h 257442"/>
                <a:gd name="connsiteX3" fmla="*/ 54721 w 942785"/>
                <a:gd name="connsiteY3" fmla="*/ 0 h 257442"/>
                <a:gd name="connsiteX0" fmla="*/ 1111101 w 1111101"/>
                <a:gd name="connsiteY0" fmla="*/ 0 h 257442"/>
                <a:gd name="connsiteX1" fmla="*/ 888065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279416 w 1279416"/>
                <a:gd name="connsiteY0" fmla="*/ 0 h 257442"/>
                <a:gd name="connsiteX1" fmla="*/ 1056380 w 1279416"/>
                <a:gd name="connsiteY1" fmla="*/ 257442 h 257442"/>
                <a:gd name="connsiteX2" fmla="*/ 0 w 1279416"/>
                <a:gd name="connsiteY2" fmla="*/ 257442 h 257442"/>
                <a:gd name="connsiteX3" fmla="*/ 54721 w 1279416"/>
                <a:gd name="connsiteY3" fmla="*/ 0 h 257442"/>
                <a:gd name="connsiteX0" fmla="*/ 1279416 w 1279416"/>
                <a:gd name="connsiteY0" fmla="*/ 0 h 257442"/>
                <a:gd name="connsiteX1" fmla="*/ 1224694 w 1279416"/>
                <a:gd name="connsiteY1" fmla="*/ 257442 h 257442"/>
                <a:gd name="connsiteX2" fmla="*/ 0 w 1279416"/>
                <a:gd name="connsiteY2" fmla="*/ 257442 h 257442"/>
                <a:gd name="connsiteX3" fmla="*/ 54721 w 1279416"/>
                <a:gd name="connsiteY3" fmla="*/ 0 h 257442"/>
                <a:gd name="connsiteX0" fmla="*/ 1279417 w 1279417"/>
                <a:gd name="connsiteY0" fmla="*/ 0 h 257442"/>
                <a:gd name="connsiteX1" fmla="*/ 1224695 w 1279417"/>
                <a:gd name="connsiteY1" fmla="*/ 257442 h 257442"/>
                <a:gd name="connsiteX2" fmla="*/ 0 w 1279417"/>
                <a:gd name="connsiteY2" fmla="*/ 257442 h 257442"/>
                <a:gd name="connsiteX3" fmla="*/ 54722 w 1279417"/>
                <a:gd name="connsiteY3" fmla="*/ 0 h 257442"/>
                <a:gd name="connsiteX0" fmla="*/ 1279417 w 1279417"/>
                <a:gd name="connsiteY0" fmla="*/ 0 h 257442"/>
                <a:gd name="connsiteX1" fmla="*/ 1224695 w 1279417"/>
                <a:gd name="connsiteY1" fmla="*/ 257442 h 257442"/>
                <a:gd name="connsiteX2" fmla="*/ 0 w 1279417"/>
                <a:gd name="connsiteY2" fmla="*/ 257442 h 257442"/>
                <a:gd name="connsiteX3" fmla="*/ 54722 w 1279417"/>
                <a:gd name="connsiteY3" fmla="*/ 0 h 257442"/>
                <a:gd name="connsiteX0" fmla="*/ 1447733 w 1447733"/>
                <a:gd name="connsiteY0" fmla="*/ 0 h 257442"/>
                <a:gd name="connsiteX1" fmla="*/ 1224695 w 1447733"/>
                <a:gd name="connsiteY1" fmla="*/ 257442 h 257442"/>
                <a:gd name="connsiteX2" fmla="*/ 0 w 1447733"/>
                <a:gd name="connsiteY2" fmla="*/ 257442 h 257442"/>
                <a:gd name="connsiteX3" fmla="*/ 54722 w 1447733"/>
                <a:gd name="connsiteY3" fmla="*/ 0 h 257442"/>
                <a:gd name="connsiteX0" fmla="*/ 1447733 w 1447733"/>
                <a:gd name="connsiteY0" fmla="*/ 0 h 257442"/>
                <a:gd name="connsiteX1" fmla="*/ 1393012 w 1447733"/>
                <a:gd name="connsiteY1" fmla="*/ 257442 h 257442"/>
                <a:gd name="connsiteX2" fmla="*/ 0 w 1447733"/>
                <a:gd name="connsiteY2" fmla="*/ 257442 h 257442"/>
                <a:gd name="connsiteX3" fmla="*/ 54722 w 1447733"/>
                <a:gd name="connsiteY3" fmla="*/ 0 h 257442"/>
                <a:gd name="connsiteX0" fmla="*/ 1447732 w 1447732"/>
                <a:gd name="connsiteY0" fmla="*/ 0 h 257442"/>
                <a:gd name="connsiteX1" fmla="*/ 1393011 w 1447732"/>
                <a:gd name="connsiteY1" fmla="*/ 257442 h 257442"/>
                <a:gd name="connsiteX2" fmla="*/ 0 w 1447732"/>
                <a:gd name="connsiteY2" fmla="*/ 257442 h 257442"/>
                <a:gd name="connsiteX3" fmla="*/ 54721 w 1447732"/>
                <a:gd name="connsiteY3" fmla="*/ 0 h 257442"/>
                <a:gd name="connsiteX0" fmla="*/ 1447732 w 1447732"/>
                <a:gd name="connsiteY0" fmla="*/ 0 h 257442"/>
                <a:gd name="connsiteX1" fmla="*/ 1393011 w 1447732"/>
                <a:gd name="connsiteY1" fmla="*/ 257442 h 257442"/>
                <a:gd name="connsiteX2" fmla="*/ 0 w 1447732"/>
                <a:gd name="connsiteY2" fmla="*/ 257442 h 257442"/>
                <a:gd name="connsiteX3" fmla="*/ 54720 w 1447732"/>
                <a:gd name="connsiteY3" fmla="*/ 0 h 257442"/>
                <a:gd name="connsiteX0" fmla="*/ 1616046 w 1616046"/>
                <a:gd name="connsiteY0" fmla="*/ 0 h 257442"/>
                <a:gd name="connsiteX1" fmla="*/ 1393011 w 1616046"/>
                <a:gd name="connsiteY1" fmla="*/ 257442 h 257442"/>
                <a:gd name="connsiteX2" fmla="*/ 0 w 1616046"/>
                <a:gd name="connsiteY2" fmla="*/ 257442 h 257442"/>
                <a:gd name="connsiteX3" fmla="*/ 54720 w 1616046"/>
                <a:gd name="connsiteY3" fmla="*/ 0 h 257442"/>
                <a:gd name="connsiteX0" fmla="*/ 1616046 w 1616046"/>
                <a:gd name="connsiteY0" fmla="*/ 0 h 257442"/>
                <a:gd name="connsiteX1" fmla="*/ 1561325 w 1616046"/>
                <a:gd name="connsiteY1" fmla="*/ 257442 h 257442"/>
                <a:gd name="connsiteX2" fmla="*/ 0 w 1616046"/>
                <a:gd name="connsiteY2" fmla="*/ 257442 h 257442"/>
                <a:gd name="connsiteX3" fmla="*/ 54720 w 1616046"/>
                <a:gd name="connsiteY3" fmla="*/ 0 h 257442"/>
                <a:gd name="connsiteX0" fmla="*/ 1616047 w 1616047"/>
                <a:gd name="connsiteY0" fmla="*/ 0 h 257442"/>
                <a:gd name="connsiteX1" fmla="*/ 1561326 w 1616047"/>
                <a:gd name="connsiteY1" fmla="*/ 257442 h 257442"/>
                <a:gd name="connsiteX2" fmla="*/ 0 w 1616047"/>
                <a:gd name="connsiteY2" fmla="*/ 257442 h 257442"/>
                <a:gd name="connsiteX3" fmla="*/ 54721 w 1616047"/>
                <a:gd name="connsiteY3" fmla="*/ 0 h 257442"/>
                <a:gd name="connsiteX0" fmla="*/ 1616047 w 1616047"/>
                <a:gd name="connsiteY0" fmla="*/ 0 h 257442"/>
                <a:gd name="connsiteX1" fmla="*/ 1561326 w 1616047"/>
                <a:gd name="connsiteY1" fmla="*/ 257442 h 257442"/>
                <a:gd name="connsiteX2" fmla="*/ 0 w 1616047"/>
                <a:gd name="connsiteY2" fmla="*/ 257442 h 257442"/>
                <a:gd name="connsiteX3" fmla="*/ 54722 w 1616047"/>
                <a:gd name="connsiteY3" fmla="*/ 0 h 257442"/>
                <a:gd name="connsiteX0" fmla="*/ 1857909 w 1857909"/>
                <a:gd name="connsiteY0" fmla="*/ 0 h 257442"/>
                <a:gd name="connsiteX1" fmla="*/ 1561326 w 1857909"/>
                <a:gd name="connsiteY1" fmla="*/ 257442 h 257442"/>
                <a:gd name="connsiteX2" fmla="*/ 0 w 1857909"/>
                <a:gd name="connsiteY2" fmla="*/ 257442 h 257442"/>
                <a:gd name="connsiteX3" fmla="*/ 54722 w 1857909"/>
                <a:gd name="connsiteY3" fmla="*/ 0 h 257442"/>
                <a:gd name="connsiteX0" fmla="*/ 1857909 w 1857909"/>
                <a:gd name="connsiteY0" fmla="*/ 0 h 257442"/>
                <a:gd name="connsiteX1" fmla="*/ 1803188 w 1857909"/>
                <a:gd name="connsiteY1" fmla="*/ 257442 h 257442"/>
                <a:gd name="connsiteX2" fmla="*/ 0 w 1857909"/>
                <a:gd name="connsiteY2" fmla="*/ 257442 h 257442"/>
                <a:gd name="connsiteX3" fmla="*/ 54722 w 1857909"/>
                <a:gd name="connsiteY3" fmla="*/ 0 h 257442"/>
                <a:gd name="connsiteX0" fmla="*/ 1857908 w 1857908"/>
                <a:gd name="connsiteY0" fmla="*/ 0 h 257442"/>
                <a:gd name="connsiteX1" fmla="*/ 1803187 w 1857908"/>
                <a:gd name="connsiteY1" fmla="*/ 257442 h 257442"/>
                <a:gd name="connsiteX2" fmla="*/ 0 w 1857908"/>
                <a:gd name="connsiteY2" fmla="*/ 257442 h 257442"/>
                <a:gd name="connsiteX3" fmla="*/ 54721 w 1857908"/>
                <a:gd name="connsiteY3" fmla="*/ 0 h 257442"/>
                <a:gd name="connsiteX0" fmla="*/ 1857908 w 1857908"/>
                <a:gd name="connsiteY0" fmla="*/ 0 h 257442"/>
                <a:gd name="connsiteX1" fmla="*/ 1803187 w 1857908"/>
                <a:gd name="connsiteY1" fmla="*/ 257442 h 257442"/>
                <a:gd name="connsiteX2" fmla="*/ 0 w 1857908"/>
                <a:gd name="connsiteY2" fmla="*/ 257442 h 257442"/>
                <a:gd name="connsiteX3" fmla="*/ 54720 w 1857908"/>
                <a:gd name="connsiteY3" fmla="*/ 0 h 257442"/>
                <a:gd name="connsiteX0" fmla="*/ 2035841 w 2035841"/>
                <a:gd name="connsiteY0" fmla="*/ 0 h 257442"/>
                <a:gd name="connsiteX1" fmla="*/ 1803187 w 2035841"/>
                <a:gd name="connsiteY1" fmla="*/ 257442 h 257442"/>
                <a:gd name="connsiteX2" fmla="*/ 0 w 2035841"/>
                <a:gd name="connsiteY2" fmla="*/ 257442 h 257442"/>
                <a:gd name="connsiteX3" fmla="*/ 54720 w 2035841"/>
                <a:gd name="connsiteY3" fmla="*/ 0 h 257442"/>
                <a:gd name="connsiteX0" fmla="*/ 2035841 w 2035841"/>
                <a:gd name="connsiteY0" fmla="*/ 0 h 257442"/>
                <a:gd name="connsiteX1" fmla="*/ 1981120 w 2035841"/>
                <a:gd name="connsiteY1" fmla="*/ 257442 h 257442"/>
                <a:gd name="connsiteX2" fmla="*/ 0 w 2035841"/>
                <a:gd name="connsiteY2" fmla="*/ 257442 h 257442"/>
                <a:gd name="connsiteX3" fmla="*/ 54720 w 2035841"/>
                <a:gd name="connsiteY3" fmla="*/ 0 h 257442"/>
                <a:gd name="connsiteX0" fmla="*/ 2035842 w 2035842"/>
                <a:gd name="connsiteY0" fmla="*/ 0 h 257442"/>
                <a:gd name="connsiteX1" fmla="*/ 1981121 w 2035842"/>
                <a:gd name="connsiteY1" fmla="*/ 257442 h 257442"/>
                <a:gd name="connsiteX2" fmla="*/ 0 w 2035842"/>
                <a:gd name="connsiteY2" fmla="*/ 257442 h 257442"/>
                <a:gd name="connsiteX3" fmla="*/ 54721 w 2035842"/>
                <a:gd name="connsiteY3" fmla="*/ 0 h 257442"/>
                <a:gd name="connsiteX0" fmla="*/ 2035842 w 2035842"/>
                <a:gd name="connsiteY0" fmla="*/ 0 h 257442"/>
                <a:gd name="connsiteX1" fmla="*/ 1981121 w 2035842"/>
                <a:gd name="connsiteY1" fmla="*/ 257442 h 257442"/>
                <a:gd name="connsiteX2" fmla="*/ 0 w 2035842"/>
                <a:gd name="connsiteY2" fmla="*/ 257442 h 257442"/>
                <a:gd name="connsiteX3" fmla="*/ 54721 w 2035842"/>
                <a:gd name="connsiteY3" fmla="*/ 0 h 257442"/>
                <a:gd name="connsiteX0" fmla="*/ 2204157 w 2204157"/>
                <a:gd name="connsiteY0" fmla="*/ 0 h 257442"/>
                <a:gd name="connsiteX1" fmla="*/ 1981121 w 2204157"/>
                <a:gd name="connsiteY1" fmla="*/ 257442 h 257442"/>
                <a:gd name="connsiteX2" fmla="*/ 0 w 2204157"/>
                <a:gd name="connsiteY2" fmla="*/ 257442 h 257442"/>
                <a:gd name="connsiteX3" fmla="*/ 54721 w 2204157"/>
                <a:gd name="connsiteY3" fmla="*/ 0 h 257442"/>
                <a:gd name="connsiteX0" fmla="*/ 2204157 w 2204157"/>
                <a:gd name="connsiteY0" fmla="*/ 0 h 257442"/>
                <a:gd name="connsiteX1" fmla="*/ 2149436 w 2204157"/>
                <a:gd name="connsiteY1" fmla="*/ 257442 h 257442"/>
                <a:gd name="connsiteX2" fmla="*/ 0 w 2204157"/>
                <a:gd name="connsiteY2" fmla="*/ 257442 h 257442"/>
                <a:gd name="connsiteX3" fmla="*/ 54721 w 2204157"/>
                <a:gd name="connsiteY3" fmla="*/ 0 h 257442"/>
                <a:gd name="connsiteX0" fmla="*/ 2204157 w 2204157"/>
                <a:gd name="connsiteY0" fmla="*/ 0 h 257442"/>
                <a:gd name="connsiteX1" fmla="*/ 2149436 w 2204157"/>
                <a:gd name="connsiteY1" fmla="*/ 257442 h 257442"/>
                <a:gd name="connsiteX2" fmla="*/ 0 w 2204157"/>
                <a:gd name="connsiteY2" fmla="*/ 257442 h 257442"/>
                <a:gd name="connsiteX3" fmla="*/ 54721 w 2204157"/>
                <a:gd name="connsiteY3" fmla="*/ 0 h 257442"/>
                <a:gd name="connsiteX0" fmla="*/ 2204157 w 2204157"/>
                <a:gd name="connsiteY0" fmla="*/ 0 h 257442"/>
                <a:gd name="connsiteX1" fmla="*/ 2149436 w 2204157"/>
                <a:gd name="connsiteY1" fmla="*/ 257442 h 257442"/>
                <a:gd name="connsiteX2" fmla="*/ 0 w 2204157"/>
                <a:gd name="connsiteY2" fmla="*/ 257442 h 257442"/>
                <a:gd name="connsiteX3" fmla="*/ 54721 w 2204157"/>
                <a:gd name="connsiteY3" fmla="*/ 0 h 257442"/>
                <a:gd name="connsiteX0" fmla="*/ 934771 w 2149436"/>
                <a:gd name="connsiteY0" fmla="*/ 0 h 257442"/>
                <a:gd name="connsiteX1" fmla="*/ 2149436 w 2149436"/>
                <a:gd name="connsiteY1" fmla="*/ 257442 h 257442"/>
                <a:gd name="connsiteX2" fmla="*/ 0 w 2149436"/>
                <a:gd name="connsiteY2" fmla="*/ 257442 h 257442"/>
                <a:gd name="connsiteX3" fmla="*/ 54721 w 2149436"/>
                <a:gd name="connsiteY3" fmla="*/ 0 h 257442"/>
                <a:gd name="connsiteX0" fmla="*/ 934771 w 934771"/>
                <a:gd name="connsiteY0" fmla="*/ 0 h 257442"/>
                <a:gd name="connsiteX1" fmla="*/ 880050 w 934771"/>
                <a:gd name="connsiteY1" fmla="*/ 257442 h 257442"/>
                <a:gd name="connsiteX2" fmla="*/ 0 w 934771"/>
                <a:gd name="connsiteY2" fmla="*/ 257442 h 257442"/>
                <a:gd name="connsiteX3" fmla="*/ 54721 w 934771"/>
                <a:gd name="connsiteY3" fmla="*/ 0 h 257442"/>
                <a:gd name="connsiteX0" fmla="*/ 934770 w 934770"/>
                <a:gd name="connsiteY0" fmla="*/ 0 h 257442"/>
                <a:gd name="connsiteX1" fmla="*/ 880049 w 934770"/>
                <a:gd name="connsiteY1" fmla="*/ 257442 h 257442"/>
                <a:gd name="connsiteX2" fmla="*/ 0 w 934770"/>
                <a:gd name="connsiteY2" fmla="*/ 257442 h 257442"/>
                <a:gd name="connsiteX3" fmla="*/ 54720 w 934770"/>
                <a:gd name="connsiteY3" fmla="*/ 0 h 257442"/>
                <a:gd name="connsiteX0" fmla="*/ 934770 w 934770"/>
                <a:gd name="connsiteY0" fmla="*/ 0 h 257442"/>
                <a:gd name="connsiteX1" fmla="*/ 880049 w 934770"/>
                <a:gd name="connsiteY1" fmla="*/ 257442 h 257442"/>
                <a:gd name="connsiteX2" fmla="*/ 0 w 934770"/>
                <a:gd name="connsiteY2" fmla="*/ 257442 h 257442"/>
                <a:gd name="connsiteX3" fmla="*/ 54720 w 934770"/>
                <a:gd name="connsiteY3" fmla="*/ 0 h 257442"/>
                <a:gd name="connsiteX0" fmla="*/ 1243957 w 1243957"/>
                <a:gd name="connsiteY0" fmla="*/ 0 h 257442"/>
                <a:gd name="connsiteX1" fmla="*/ 880049 w 1243957"/>
                <a:gd name="connsiteY1" fmla="*/ 257442 h 257442"/>
                <a:gd name="connsiteX2" fmla="*/ 0 w 1243957"/>
                <a:gd name="connsiteY2" fmla="*/ 257442 h 257442"/>
                <a:gd name="connsiteX3" fmla="*/ 54720 w 1243957"/>
                <a:gd name="connsiteY3" fmla="*/ 0 h 257442"/>
                <a:gd name="connsiteX0" fmla="*/ 1243957 w 1243957"/>
                <a:gd name="connsiteY0" fmla="*/ 0 h 257442"/>
                <a:gd name="connsiteX1" fmla="*/ 1189236 w 1243957"/>
                <a:gd name="connsiteY1" fmla="*/ 257442 h 257442"/>
                <a:gd name="connsiteX2" fmla="*/ 0 w 1243957"/>
                <a:gd name="connsiteY2" fmla="*/ 257442 h 257442"/>
                <a:gd name="connsiteX3" fmla="*/ 54720 w 1243957"/>
                <a:gd name="connsiteY3" fmla="*/ 0 h 257442"/>
                <a:gd name="connsiteX0" fmla="*/ 1243958 w 1243958"/>
                <a:gd name="connsiteY0" fmla="*/ 0 h 257442"/>
                <a:gd name="connsiteX1" fmla="*/ 1189237 w 1243958"/>
                <a:gd name="connsiteY1" fmla="*/ 257442 h 257442"/>
                <a:gd name="connsiteX2" fmla="*/ 0 w 1243958"/>
                <a:gd name="connsiteY2" fmla="*/ 257442 h 257442"/>
                <a:gd name="connsiteX3" fmla="*/ 54721 w 1243958"/>
                <a:gd name="connsiteY3" fmla="*/ 0 h 257442"/>
                <a:gd name="connsiteX0" fmla="*/ 1243958 w 1243958"/>
                <a:gd name="connsiteY0" fmla="*/ 0 h 257442"/>
                <a:gd name="connsiteX1" fmla="*/ 1189237 w 1243958"/>
                <a:gd name="connsiteY1" fmla="*/ 257442 h 257442"/>
                <a:gd name="connsiteX2" fmla="*/ 0 w 1243958"/>
                <a:gd name="connsiteY2" fmla="*/ 257442 h 257442"/>
                <a:gd name="connsiteX3" fmla="*/ 54721 w 1243958"/>
                <a:gd name="connsiteY3" fmla="*/ 0 h 257442"/>
                <a:gd name="connsiteX0" fmla="*/ 1404259 w 1404259"/>
                <a:gd name="connsiteY0" fmla="*/ 0 h 257442"/>
                <a:gd name="connsiteX1" fmla="*/ 1189237 w 1404259"/>
                <a:gd name="connsiteY1" fmla="*/ 257442 h 257442"/>
                <a:gd name="connsiteX2" fmla="*/ 0 w 1404259"/>
                <a:gd name="connsiteY2" fmla="*/ 257442 h 257442"/>
                <a:gd name="connsiteX3" fmla="*/ 54721 w 1404259"/>
                <a:gd name="connsiteY3" fmla="*/ 0 h 257442"/>
                <a:gd name="connsiteX0" fmla="*/ 1404259 w 1404259"/>
                <a:gd name="connsiteY0" fmla="*/ 0 h 257442"/>
                <a:gd name="connsiteX1" fmla="*/ 1349538 w 1404259"/>
                <a:gd name="connsiteY1" fmla="*/ 257442 h 257442"/>
                <a:gd name="connsiteX2" fmla="*/ 0 w 1404259"/>
                <a:gd name="connsiteY2" fmla="*/ 257442 h 257442"/>
                <a:gd name="connsiteX3" fmla="*/ 54721 w 1404259"/>
                <a:gd name="connsiteY3" fmla="*/ 0 h 257442"/>
                <a:gd name="connsiteX0" fmla="*/ 1404259 w 1404259"/>
                <a:gd name="connsiteY0" fmla="*/ 0 h 257442"/>
                <a:gd name="connsiteX1" fmla="*/ 1349538 w 1404259"/>
                <a:gd name="connsiteY1" fmla="*/ 257442 h 257442"/>
                <a:gd name="connsiteX2" fmla="*/ 0 w 1404259"/>
                <a:gd name="connsiteY2" fmla="*/ 257442 h 257442"/>
                <a:gd name="connsiteX3" fmla="*/ 54721 w 1404259"/>
                <a:gd name="connsiteY3" fmla="*/ 0 h 257442"/>
                <a:gd name="connsiteX0" fmla="*/ 1404259 w 1404259"/>
                <a:gd name="connsiteY0" fmla="*/ 0 h 257442"/>
                <a:gd name="connsiteX1" fmla="*/ 1349538 w 1404259"/>
                <a:gd name="connsiteY1" fmla="*/ 257442 h 257442"/>
                <a:gd name="connsiteX2" fmla="*/ 0 w 1404259"/>
                <a:gd name="connsiteY2" fmla="*/ 257442 h 257442"/>
                <a:gd name="connsiteX3" fmla="*/ 54721 w 1404259"/>
                <a:gd name="connsiteY3" fmla="*/ 0 h 257442"/>
                <a:gd name="connsiteX0" fmla="*/ 1572573 w 1572573"/>
                <a:gd name="connsiteY0" fmla="*/ 0 h 257442"/>
                <a:gd name="connsiteX1" fmla="*/ 1349538 w 1572573"/>
                <a:gd name="connsiteY1" fmla="*/ 257442 h 257442"/>
                <a:gd name="connsiteX2" fmla="*/ 0 w 1572573"/>
                <a:gd name="connsiteY2" fmla="*/ 257442 h 257442"/>
                <a:gd name="connsiteX3" fmla="*/ 54721 w 1572573"/>
                <a:gd name="connsiteY3" fmla="*/ 0 h 257442"/>
                <a:gd name="connsiteX0" fmla="*/ 1572573 w 1572573"/>
                <a:gd name="connsiteY0" fmla="*/ 0 h 257442"/>
                <a:gd name="connsiteX1" fmla="*/ 1517852 w 1572573"/>
                <a:gd name="connsiteY1" fmla="*/ 257442 h 257442"/>
                <a:gd name="connsiteX2" fmla="*/ 0 w 1572573"/>
                <a:gd name="connsiteY2" fmla="*/ 257442 h 257442"/>
                <a:gd name="connsiteX3" fmla="*/ 54721 w 1572573"/>
                <a:gd name="connsiteY3" fmla="*/ 0 h 257442"/>
                <a:gd name="connsiteX0" fmla="*/ 1572573 w 1572573"/>
                <a:gd name="connsiteY0" fmla="*/ 0 h 257442"/>
                <a:gd name="connsiteX1" fmla="*/ 1517852 w 1572573"/>
                <a:gd name="connsiteY1" fmla="*/ 257442 h 257442"/>
                <a:gd name="connsiteX2" fmla="*/ 0 w 1572573"/>
                <a:gd name="connsiteY2" fmla="*/ 257442 h 257442"/>
                <a:gd name="connsiteX3" fmla="*/ 54721 w 1572573"/>
                <a:gd name="connsiteY3" fmla="*/ 0 h 257442"/>
                <a:gd name="connsiteX0" fmla="*/ 1572573 w 1572573"/>
                <a:gd name="connsiteY0" fmla="*/ 0 h 257442"/>
                <a:gd name="connsiteX1" fmla="*/ 1517852 w 1572573"/>
                <a:gd name="connsiteY1" fmla="*/ 257442 h 257442"/>
                <a:gd name="connsiteX2" fmla="*/ 0 w 1572573"/>
                <a:gd name="connsiteY2" fmla="*/ 257442 h 257442"/>
                <a:gd name="connsiteX3" fmla="*/ 54721 w 1572573"/>
                <a:gd name="connsiteY3" fmla="*/ 0 h 257442"/>
                <a:gd name="connsiteX0" fmla="*/ 942786 w 1517852"/>
                <a:gd name="connsiteY0" fmla="*/ 0 h 257442"/>
                <a:gd name="connsiteX1" fmla="*/ 1517852 w 1517852"/>
                <a:gd name="connsiteY1" fmla="*/ 257442 h 257442"/>
                <a:gd name="connsiteX2" fmla="*/ 0 w 1517852"/>
                <a:gd name="connsiteY2" fmla="*/ 257442 h 257442"/>
                <a:gd name="connsiteX3" fmla="*/ 54721 w 1517852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0 w 942786"/>
                <a:gd name="connsiteY2" fmla="*/ 257442 h 257442"/>
                <a:gd name="connsiteX3" fmla="*/ 54721 w 942786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0 w 942786"/>
                <a:gd name="connsiteY2" fmla="*/ 257442 h 257442"/>
                <a:gd name="connsiteX3" fmla="*/ 54721 w 942786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0 w 942786"/>
                <a:gd name="connsiteY2" fmla="*/ 257442 h 257442"/>
                <a:gd name="connsiteX3" fmla="*/ 54721 w 942786"/>
                <a:gd name="connsiteY3" fmla="*/ 0 h 257442"/>
                <a:gd name="connsiteX0" fmla="*/ 1111101 w 1111101"/>
                <a:gd name="connsiteY0" fmla="*/ 0 h 257442"/>
                <a:gd name="connsiteX1" fmla="*/ 888065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279416 w 1279416"/>
                <a:gd name="connsiteY0" fmla="*/ 0 h 257442"/>
                <a:gd name="connsiteX1" fmla="*/ 1056380 w 1279416"/>
                <a:gd name="connsiteY1" fmla="*/ 257442 h 257442"/>
                <a:gd name="connsiteX2" fmla="*/ 0 w 1279416"/>
                <a:gd name="connsiteY2" fmla="*/ 257442 h 257442"/>
                <a:gd name="connsiteX3" fmla="*/ 54721 w 1279416"/>
                <a:gd name="connsiteY3" fmla="*/ 0 h 257442"/>
                <a:gd name="connsiteX0" fmla="*/ 1279416 w 1279416"/>
                <a:gd name="connsiteY0" fmla="*/ 0 h 257442"/>
                <a:gd name="connsiteX1" fmla="*/ 1224694 w 1279416"/>
                <a:gd name="connsiteY1" fmla="*/ 257442 h 257442"/>
                <a:gd name="connsiteX2" fmla="*/ 0 w 1279416"/>
                <a:gd name="connsiteY2" fmla="*/ 257442 h 257442"/>
                <a:gd name="connsiteX3" fmla="*/ 54721 w 1279416"/>
                <a:gd name="connsiteY3" fmla="*/ 0 h 257442"/>
                <a:gd name="connsiteX0" fmla="*/ 1279417 w 1279417"/>
                <a:gd name="connsiteY0" fmla="*/ 0 h 257442"/>
                <a:gd name="connsiteX1" fmla="*/ 1224695 w 1279417"/>
                <a:gd name="connsiteY1" fmla="*/ 257442 h 257442"/>
                <a:gd name="connsiteX2" fmla="*/ 0 w 1279417"/>
                <a:gd name="connsiteY2" fmla="*/ 257442 h 257442"/>
                <a:gd name="connsiteX3" fmla="*/ 54722 w 1279417"/>
                <a:gd name="connsiteY3" fmla="*/ 0 h 257442"/>
                <a:gd name="connsiteX0" fmla="*/ 1279417 w 1279417"/>
                <a:gd name="connsiteY0" fmla="*/ 0 h 257442"/>
                <a:gd name="connsiteX1" fmla="*/ 1224695 w 1279417"/>
                <a:gd name="connsiteY1" fmla="*/ 257442 h 257442"/>
                <a:gd name="connsiteX2" fmla="*/ 0 w 1279417"/>
                <a:gd name="connsiteY2" fmla="*/ 257442 h 257442"/>
                <a:gd name="connsiteX3" fmla="*/ 54722 w 1279417"/>
                <a:gd name="connsiteY3" fmla="*/ 0 h 257442"/>
                <a:gd name="connsiteX0" fmla="*/ 1447733 w 1447733"/>
                <a:gd name="connsiteY0" fmla="*/ 0 h 257442"/>
                <a:gd name="connsiteX1" fmla="*/ 1224695 w 1447733"/>
                <a:gd name="connsiteY1" fmla="*/ 257442 h 257442"/>
                <a:gd name="connsiteX2" fmla="*/ 0 w 1447733"/>
                <a:gd name="connsiteY2" fmla="*/ 257442 h 257442"/>
                <a:gd name="connsiteX3" fmla="*/ 54722 w 1447733"/>
                <a:gd name="connsiteY3" fmla="*/ 0 h 257442"/>
                <a:gd name="connsiteX0" fmla="*/ 1447733 w 1447733"/>
                <a:gd name="connsiteY0" fmla="*/ 0 h 257442"/>
                <a:gd name="connsiteX1" fmla="*/ 1393012 w 1447733"/>
                <a:gd name="connsiteY1" fmla="*/ 257442 h 257442"/>
                <a:gd name="connsiteX2" fmla="*/ 0 w 1447733"/>
                <a:gd name="connsiteY2" fmla="*/ 257442 h 257442"/>
                <a:gd name="connsiteX3" fmla="*/ 54722 w 1447733"/>
                <a:gd name="connsiteY3" fmla="*/ 0 h 257442"/>
                <a:gd name="connsiteX0" fmla="*/ 1447732 w 1447732"/>
                <a:gd name="connsiteY0" fmla="*/ 0 h 257442"/>
                <a:gd name="connsiteX1" fmla="*/ 1393011 w 1447732"/>
                <a:gd name="connsiteY1" fmla="*/ 257442 h 257442"/>
                <a:gd name="connsiteX2" fmla="*/ 0 w 1447732"/>
                <a:gd name="connsiteY2" fmla="*/ 257442 h 257442"/>
                <a:gd name="connsiteX3" fmla="*/ 54721 w 1447732"/>
                <a:gd name="connsiteY3" fmla="*/ 0 h 257442"/>
                <a:gd name="connsiteX0" fmla="*/ 1447732 w 1447732"/>
                <a:gd name="connsiteY0" fmla="*/ 0 h 257442"/>
                <a:gd name="connsiteX1" fmla="*/ 1393011 w 1447732"/>
                <a:gd name="connsiteY1" fmla="*/ 257442 h 257442"/>
                <a:gd name="connsiteX2" fmla="*/ 0 w 1447732"/>
                <a:gd name="connsiteY2" fmla="*/ 257442 h 257442"/>
                <a:gd name="connsiteX3" fmla="*/ 54720 w 1447732"/>
                <a:gd name="connsiteY3" fmla="*/ 0 h 257442"/>
                <a:gd name="connsiteX0" fmla="*/ 1756918 w 1756918"/>
                <a:gd name="connsiteY0" fmla="*/ 0 h 257442"/>
                <a:gd name="connsiteX1" fmla="*/ 1393011 w 1756918"/>
                <a:gd name="connsiteY1" fmla="*/ 257442 h 257442"/>
                <a:gd name="connsiteX2" fmla="*/ 0 w 1756918"/>
                <a:gd name="connsiteY2" fmla="*/ 257442 h 257442"/>
                <a:gd name="connsiteX3" fmla="*/ 54720 w 1756918"/>
                <a:gd name="connsiteY3" fmla="*/ 0 h 257442"/>
                <a:gd name="connsiteX0" fmla="*/ 1756918 w 1756918"/>
                <a:gd name="connsiteY0" fmla="*/ 0 h 257442"/>
                <a:gd name="connsiteX1" fmla="*/ 1702197 w 1756918"/>
                <a:gd name="connsiteY1" fmla="*/ 257442 h 257442"/>
                <a:gd name="connsiteX2" fmla="*/ 0 w 1756918"/>
                <a:gd name="connsiteY2" fmla="*/ 257442 h 257442"/>
                <a:gd name="connsiteX3" fmla="*/ 54720 w 1756918"/>
                <a:gd name="connsiteY3" fmla="*/ 0 h 257442"/>
                <a:gd name="connsiteX0" fmla="*/ 1756919 w 1756919"/>
                <a:gd name="connsiteY0" fmla="*/ 0 h 257442"/>
                <a:gd name="connsiteX1" fmla="*/ 1702198 w 1756919"/>
                <a:gd name="connsiteY1" fmla="*/ 257442 h 257442"/>
                <a:gd name="connsiteX2" fmla="*/ 0 w 1756919"/>
                <a:gd name="connsiteY2" fmla="*/ 257442 h 257442"/>
                <a:gd name="connsiteX3" fmla="*/ 54721 w 1756919"/>
                <a:gd name="connsiteY3" fmla="*/ 0 h 257442"/>
                <a:gd name="connsiteX0" fmla="*/ 1756919 w 1756919"/>
                <a:gd name="connsiteY0" fmla="*/ 0 h 257442"/>
                <a:gd name="connsiteX1" fmla="*/ 1702198 w 1756919"/>
                <a:gd name="connsiteY1" fmla="*/ 257442 h 257442"/>
                <a:gd name="connsiteX2" fmla="*/ 0 w 1756919"/>
                <a:gd name="connsiteY2" fmla="*/ 257442 h 257442"/>
                <a:gd name="connsiteX3" fmla="*/ 54722 w 1756919"/>
                <a:gd name="connsiteY3" fmla="*/ 0 h 257442"/>
                <a:gd name="connsiteX0" fmla="*/ 2035843 w 2035843"/>
                <a:gd name="connsiteY0" fmla="*/ 0 h 257442"/>
                <a:gd name="connsiteX1" fmla="*/ 1702198 w 2035843"/>
                <a:gd name="connsiteY1" fmla="*/ 257442 h 257442"/>
                <a:gd name="connsiteX2" fmla="*/ 0 w 2035843"/>
                <a:gd name="connsiteY2" fmla="*/ 257442 h 257442"/>
                <a:gd name="connsiteX3" fmla="*/ 54722 w 2035843"/>
                <a:gd name="connsiteY3" fmla="*/ 0 h 257442"/>
                <a:gd name="connsiteX0" fmla="*/ 2035843 w 2035843"/>
                <a:gd name="connsiteY0" fmla="*/ 0 h 257442"/>
                <a:gd name="connsiteX1" fmla="*/ 1981122 w 2035843"/>
                <a:gd name="connsiteY1" fmla="*/ 257442 h 257442"/>
                <a:gd name="connsiteX2" fmla="*/ 0 w 2035843"/>
                <a:gd name="connsiteY2" fmla="*/ 257442 h 257442"/>
                <a:gd name="connsiteX3" fmla="*/ 54722 w 2035843"/>
                <a:gd name="connsiteY3" fmla="*/ 0 h 257442"/>
                <a:gd name="connsiteX0" fmla="*/ 2035842 w 2035842"/>
                <a:gd name="connsiteY0" fmla="*/ 0 h 257442"/>
                <a:gd name="connsiteX1" fmla="*/ 1981121 w 2035842"/>
                <a:gd name="connsiteY1" fmla="*/ 257442 h 257442"/>
                <a:gd name="connsiteX2" fmla="*/ 0 w 2035842"/>
                <a:gd name="connsiteY2" fmla="*/ 257442 h 257442"/>
                <a:gd name="connsiteX3" fmla="*/ 54721 w 2035842"/>
                <a:gd name="connsiteY3" fmla="*/ 0 h 257442"/>
                <a:gd name="connsiteX0" fmla="*/ 2035842 w 2035842"/>
                <a:gd name="connsiteY0" fmla="*/ 0 h 257442"/>
                <a:gd name="connsiteX1" fmla="*/ 1981121 w 2035842"/>
                <a:gd name="connsiteY1" fmla="*/ 257442 h 257442"/>
                <a:gd name="connsiteX2" fmla="*/ 0 w 2035842"/>
                <a:gd name="connsiteY2" fmla="*/ 257442 h 257442"/>
                <a:gd name="connsiteX3" fmla="*/ 54720 w 2035842"/>
                <a:gd name="connsiteY3" fmla="*/ 0 h 257442"/>
                <a:gd name="connsiteX0" fmla="*/ 2204156 w 2204156"/>
                <a:gd name="connsiteY0" fmla="*/ 0 h 257442"/>
                <a:gd name="connsiteX1" fmla="*/ 1981121 w 2204156"/>
                <a:gd name="connsiteY1" fmla="*/ 257442 h 257442"/>
                <a:gd name="connsiteX2" fmla="*/ 0 w 2204156"/>
                <a:gd name="connsiteY2" fmla="*/ 257442 h 257442"/>
                <a:gd name="connsiteX3" fmla="*/ 54720 w 2204156"/>
                <a:gd name="connsiteY3" fmla="*/ 0 h 257442"/>
                <a:gd name="connsiteX0" fmla="*/ 2204156 w 2204156"/>
                <a:gd name="connsiteY0" fmla="*/ 0 h 257442"/>
                <a:gd name="connsiteX1" fmla="*/ 2149435 w 2204156"/>
                <a:gd name="connsiteY1" fmla="*/ 257442 h 257442"/>
                <a:gd name="connsiteX2" fmla="*/ 0 w 2204156"/>
                <a:gd name="connsiteY2" fmla="*/ 257442 h 257442"/>
                <a:gd name="connsiteX3" fmla="*/ 54720 w 2204156"/>
                <a:gd name="connsiteY3" fmla="*/ 0 h 257442"/>
                <a:gd name="connsiteX0" fmla="*/ 2204157 w 2204157"/>
                <a:gd name="connsiteY0" fmla="*/ 0 h 257442"/>
                <a:gd name="connsiteX1" fmla="*/ 2149436 w 2204157"/>
                <a:gd name="connsiteY1" fmla="*/ 257442 h 257442"/>
                <a:gd name="connsiteX2" fmla="*/ 0 w 2204157"/>
                <a:gd name="connsiteY2" fmla="*/ 257442 h 257442"/>
                <a:gd name="connsiteX3" fmla="*/ 54721 w 2204157"/>
                <a:gd name="connsiteY3" fmla="*/ 0 h 257442"/>
                <a:gd name="connsiteX0" fmla="*/ 2204157 w 2204157"/>
                <a:gd name="connsiteY0" fmla="*/ 0 h 257442"/>
                <a:gd name="connsiteX1" fmla="*/ 2149436 w 2204157"/>
                <a:gd name="connsiteY1" fmla="*/ 257442 h 257442"/>
                <a:gd name="connsiteX2" fmla="*/ 0 w 2204157"/>
                <a:gd name="connsiteY2" fmla="*/ 257442 h 257442"/>
                <a:gd name="connsiteX3" fmla="*/ 54722 w 2204157"/>
                <a:gd name="connsiteY3" fmla="*/ 0 h 257442"/>
                <a:gd name="connsiteX0" fmla="*/ 2047256 w 2149436"/>
                <a:gd name="connsiteY0" fmla="*/ 0 h 257442"/>
                <a:gd name="connsiteX1" fmla="*/ 2149436 w 2149436"/>
                <a:gd name="connsiteY1" fmla="*/ 257442 h 257442"/>
                <a:gd name="connsiteX2" fmla="*/ 0 w 2149436"/>
                <a:gd name="connsiteY2" fmla="*/ 257442 h 257442"/>
                <a:gd name="connsiteX3" fmla="*/ 54722 w 2149436"/>
                <a:gd name="connsiteY3" fmla="*/ 0 h 257442"/>
                <a:gd name="connsiteX0" fmla="*/ 2047256 w 2047256"/>
                <a:gd name="connsiteY0" fmla="*/ 0 h 257442"/>
                <a:gd name="connsiteX1" fmla="*/ 1992535 w 2047256"/>
                <a:gd name="connsiteY1" fmla="*/ 257442 h 257442"/>
                <a:gd name="connsiteX2" fmla="*/ 0 w 2047256"/>
                <a:gd name="connsiteY2" fmla="*/ 257442 h 257442"/>
                <a:gd name="connsiteX3" fmla="*/ 54722 w 2047256"/>
                <a:gd name="connsiteY3" fmla="*/ 0 h 257442"/>
                <a:gd name="connsiteX0" fmla="*/ 2047255 w 2047255"/>
                <a:gd name="connsiteY0" fmla="*/ 0 h 257442"/>
                <a:gd name="connsiteX1" fmla="*/ 1992534 w 2047255"/>
                <a:gd name="connsiteY1" fmla="*/ 257442 h 257442"/>
                <a:gd name="connsiteX2" fmla="*/ 0 w 2047255"/>
                <a:gd name="connsiteY2" fmla="*/ 257442 h 257442"/>
                <a:gd name="connsiteX3" fmla="*/ 54721 w 2047255"/>
                <a:gd name="connsiteY3" fmla="*/ 0 h 257442"/>
                <a:gd name="connsiteX0" fmla="*/ 2047255 w 2047255"/>
                <a:gd name="connsiteY0" fmla="*/ 0 h 257442"/>
                <a:gd name="connsiteX1" fmla="*/ 1992534 w 2047255"/>
                <a:gd name="connsiteY1" fmla="*/ 257442 h 257442"/>
                <a:gd name="connsiteX2" fmla="*/ 0 w 2047255"/>
                <a:gd name="connsiteY2" fmla="*/ 257442 h 257442"/>
                <a:gd name="connsiteX3" fmla="*/ 54721 w 2047255"/>
                <a:gd name="connsiteY3" fmla="*/ 0 h 257442"/>
                <a:gd name="connsiteX0" fmla="*/ 1894969 w 1992534"/>
                <a:gd name="connsiteY0" fmla="*/ 0 h 257442"/>
                <a:gd name="connsiteX1" fmla="*/ 1992534 w 1992534"/>
                <a:gd name="connsiteY1" fmla="*/ 257442 h 257442"/>
                <a:gd name="connsiteX2" fmla="*/ 0 w 1992534"/>
                <a:gd name="connsiteY2" fmla="*/ 257442 h 257442"/>
                <a:gd name="connsiteX3" fmla="*/ 54721 w 1992534"/>
                <a:gd name="connsiteY3" fmla="*/ 0 h 257442"/>
                <a:gd name="connsiteX0" fmla="*/ 1894969 w 1894969"/>
                <a:gd name="connsiteY0" fmla="*/ 0 h 257442"/>
                <a:gd name="connsiteX1" fmla="*/ 1840248 w 1894969"/>
                <a:gd name="connsiteY1" fmla="*/ 257442 h 257442"/>
                <a:gd name="connsiteX2" fmla="*/ 0 w 1894969"/>
                <a:gd name="connsiteY2" fmla="*/ 257442 h 257442"/>
                <a:gd name="connsiteX3" fmla="*/ 54721 w 1894969"/>
                <a:gd name="connsiteY3" fmla="*/ 0 h 257442"/>
                <a:gd name="connsiteX0" fmla="*/ 1894968 w 1894968"/>
                <a:gd name="connsiteY0" fmla="*/ 0 h 257442"/>
                <a:gd name="connsiteX1" fmla="*/ 1840247 w 1894968"/>
                <a:gd name="connsiteY1" fmla="*/ 257442 h 257442"/>
                <a:gd name="connsiteX2" fmla="*/ 0 w 1894968"/>
                <a:gd name="connsiteY2" fmla="*/ 257442 h 257442"/>
                <a:gd name="connsiteX3" fmla="*/ 54720 w 1894968"/>
                <a:gd name="connsiteY3" fmla="*/ 0 h 257442"/>
                <a:gd name="connsiteX0" fmla="*/ 1894968 w 1894968"/>
                <a:gd name="connsiteY0" fmla="*/ 0 h 257442"/>
                <a:gd name="connsiteX1" fmla="*/ 1840247 w 1894968"/>
                <a:gd name="connsiteY1" fmla="*/ 257442 h 257442"/>
                <a:gd name="connsiteX2" fmla="*/ 0 w 1894968"/>
                <a:gd name="connsiteY2" fmla="*/ 257442 h 257442"/>
                <a:gd name="connsiteX3" fmla="*/ 54720 w 1894968"/>
                <a:gd name="connsiteY3" fmla="*/ 0 h 257442"/>
                <a:gd name="connsiteX0" fmla="*/ 2063284 w 2063284"/>
                <a:gd name="connsiteY0" fmla="*/ 0 h 257442"/>
                <a:gd name="connsiteX1" fmla="*/ 1840247 w 2063284"/>
                <a:gd name="connsiteY1" fmla="*/ 257442 h 257442"/>
                <a:gd name="connsiteX2" fmla="*/ 0 w 2063284"/>
                <a:gd name="connsiteY2" fmla="*/ 257442 h 257442"/>
                <a:gd name="connsiteX3" fmla="*/ 54720 w 2063284"/>
                <a:gd name="connsiteY3" fmla="*/ 0 h 257442"/>
                <a:gd name="connsiteX0" fmla="*/ 2063284 w 2063284"/>
                <a:gd name="connsiteY0" fmla="*/ 0 h 257442"/>
                <a:gd name="connsiteX1" fmla="*/ 2008563 w 2063284"/>
                <a:gd name="connsiteY1" fmla="*/ 257442 h 257442"/>
                <a:gd name="connsiteX2" fmla="*/ 0 w 2063284"/>
                <a:gd name="connsiteY2" fmla="*/ 257442 h 257442"/>
                <a:gd name="connsiteX3" fmla="*/ 54720 w 2063284"/>
                <a:gd name="connsiteY3" fmla="*/ 0 h 257442"/>
                <a:gd name="connsiteX0" fmla="*/ 2063285 w 2063285"/>
                <a:gd name="connsiteY0" fmla="*/ 0 h 257442"/>
                <a:gd name="connsiteX1" fmla="*/ 2008564 w 2063285"/>
                <a:gd name="connsiteY1" fmla="*/ 257442 h 257442"/>
                <a:gd name="connsiteX2" fmla="*/ 0 w 2063285"/>
                <a:gd name="connsiteY2" fmla="*/ 257442 h 257442"/>
                <a:gd name="connsiteX3" fmla="*/ 54721 w 2063285"/>
                <a:gd name="connsiteY3" fmla="*/ 0 h 257442"/>
                <a:gd name="connsiteX0" fmla="*/ 2063285 w 2063285"/>
                <a:gd name="connsiteY0" fmla="*/ 0 h 257442"/>
                <a:gd name="connsiteX1" fmla="*/ 2008564 w 2063285"/>
                <a:gd name="connsiteY1" fmla="*/ 257442 h 257442"/>
                <a:gd name="connsiteX2" fmla="*/ 0 w 2063285"/>
                <a:gd name="connsiteY2" fmla="*/ 257442 h 257442"/>
                <a:gd name="connsiteX3" fmla="*/ 54722 w 2063285"/>
                <a:gd name="connsiteY3" fmla="*/ 0 h 257442"/>
                <a:gd name="connsiteX0" fmla="*/ 2305147 w 2305147"/>
                <a:gd name="connsiteY0" fmla="*/ 0 h 257442"/>
                <a:gd name="connsiteX1" fmla="*/ 2008564 w 2305147"/>
                <a:gd name="connsiteY1" fmla="*/ 257442 h 257442"/>
                <a:gd name="connsiteX2" fmla="*/ 0 w 2305147"/>
                <a:gd name="connsiteY2" fmla="*/ 257442 h 257442"/>
                <a:gd name="connsiteX3" fmla="*/ 54722 w 2305147"/>
                <a:gd name="connsiteY3" fmla="*/ 0 h 257442"/>
                <a:gd name="connsiteX0" fmla="*/ 2305147 w 2305147"/>
                <a:gd name="connsiteY0" fmla="*/ 0 h 257442"/>
                <a:gd name="connsiteX1" fmla="*/ 2250426 w 2305147"/>
                <a:gd name="connsiteY1" fmla="*/ 257442 h 257442"/>
                <a:gd name="connsiteX2" fmla="*/ 0 w 2305147"/>
                <a:gd name="connsiteY2" fmla="*/ 257442 h 257442"/>
                <a:gd name="connsiteX3" fmla="*/ 54722 w 2305147"/>
                <a:gd name="connsiteY3" fmla="*/ 0 h 257442"/>
                <a:gd name="connsiteX0" fmla="*/ 2305146 w 2305146"/>
                <a:gd name="connsiteY0" fmla="*/ 0 h 257442"/>
                <a:gd name="connsiteX1" fmla="*/ 2250425 w 2305146"/>
                <a:gd name="connsiteY1" fmla="*/ 257442 h 257442"/>
                <a:gd name="connsiteX2" fmla="*/ 0 w 2305146"/>
                <a:gd name="connsiteY2" fmla="*/ 257442 h 257442"/>
                <a:gd name="connsiteX3" fmla="*/ 54721 w 2305146"/>
                <a:gd name="connsiteY3" fmla="*/ 0 h 257442"/>
                <a:gd name="connsiteX0" fmla="*/ 2305146 w 2305146"/>
                <a:gd name="connsiteY0" fmla="*/ 0 h 257442"/>
                <a:gd name="connsiteX1" fmla="*/ 2250425 w 2305146"/>
                <a:gd name="connsiteY1" fmla="*/ 257442 h 257442"/>
                <a:gd name="connsiteX2" fmla="*/ 0 w 2305146"/>
                <a:gd name="connsiteY2" fmla="*/ 257442 h 257442"/>
                <a:gd name="connsiteX3" fmla="*/ 54720 w 2305146"/>
                <a:gd name="connsiteY3" fmla="*/ 0 h 257442"/>
                <a:gd name="connsiteX0" fmla="*/ 2204156 w 2250425"/>
                <a:gd name="connsiteY0" fmla="*/ 0 h 257442"/>
                <a:gd name="connsiteX1" fmla="*/ 2250425 w 2250425"/>
                <a:gd name="connsiteY1" fmla="*/ 257442 h 257442"/>
                <a:gd name="connsiteX2" fmla="*/ 0 w 2250425"/>
                <a:gd name="connsiteY2" fmla="*/ 257442 h 257442"/>
                <a:gd name="connsiteX3" fmla="*/ 54720 w 2250425"/>
                <a:gd name="connsiteY3" fmla="*/ 0 h 257442"/>
                <a:gd name="connsiteX0" fmla="*/ 2204156 w 2204156"/>
                <a:gd name="connsiteY0" fmla="*/ 0 h 257442"/>
                <a:gd name="connsiteX1" fmla="*/ 2149436 w 2204156"/>
                <a:gd name="connsiteY1" fmla="*/ 257442 h 257442"/>
                <a:gd name="connsiteX2" fmla="*/ 0 w 2204156"/>
                <a:gd name="connsiteY2" fmla="*/ 257442 h 257442"/>
                <a:gd name="connsiteX3" fmla="*/ 54720 w 2204156"/>
                <a:gd name="connsiteY3" fmla="*/ 0 h 257442"/>
                <a:gd name="connsiteX0" fmla="*/ 2204156 w 2204156"/>
                <a:gd name="connsiteY0" fmla="*/ 0 h 257442"/>
                <a:gd name="connsiteX1" fmla="*/ 2149436 w 2204156"/>
                <a:gd name="connsiteY1" fmla="*/ 257442 h 257442"/>
                <a:gd name="connsiteX2" fmla="*/ 0 w 2204156"/>
                <a:gd name="connsiteY2" fmla="*/ 257442 h 257442"/>
                <a:gd name="connsiteX3" fmla="*/ 54720 w 2204156"/>
                <a:gd name="connsiteY3" fmla="*/ 0 h 257442"/>
                <a:gd name="connsiteX0" fmla="*/ 2204156 w 2204156"/>
                <a:gd name="connsiteY0" fmla="*/ 0 h 257442"/>
                <a:gd name="connsiteX1" fmla="*/ 2149436 w 2204156"/>
                <a:gd name="connsiteY1" fmla="*/ 257442 h 257442"/>
                <a:gd name="connsiteX2" fmla="*/ 0 w 2204156"/>
                <a:gd name="connsiteY2" fmla="*/ 257442 h 257442"/>
                <a:gd name="connsiteX3" fmla="*/ 54721 w 2204156"/>
                <a:gd name="connsiteY3" fmla="*/ 0 h 257442"/>
                <a:gd name="connsiteX0" fmla="*/ 942786 w 2149436"/>
                <a:gd name="connsiteY0" fmla="*/ 0 h 257442"/>
                <a:gd name="connsiteX1" fmla="*/ 2149436 w 2149436"/>
                <a:gd name="connsiteY1" fmla="*/ 257442 h 257442"/>
                <a:gd name="connsiteX2" fmla="*/ 0 w 2149436"/>
                <a:gd name="connsiteY2" fmla="*/ 257442 h 257442"/>
                <a:gd name="connsiteX3" fmla="*/ 54721 w 2149436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0 w 942786"/>
                <a:gd name="connsiteY2" fmla="*/ 257442 h 257442"/>
                <a:gd name="connsiteX3" fmla="*/ 54721 w 942786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0 w 942786"/>
                <a:gd name="connsiteY2" fmla="*/ 257442 h 257442"/>
                <a:gd name="connsiteX3" fmla="*/ 54721 w 942786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0 w 942786"/>
                <a:gd name="connsiteY2" fmla="*/ 257442 h 257442"/>
                <a:gd name="connsiteX3" fmla="*/ 54721 w 942786"/>
                <a:gd name="connsiteY3" fmla="*/ 0 h 257442"/>
                <a:gd name="connsiteX0" fmla="*/ 1103086 w 1103086"/>
                <a:gd name="connsiteY0" fmla="*/ 0 h 257442"/>
                <a:gd name="connsiteX1" fmla="*/ 888065 w 1103086"/>
                <a:gd name="connsiteY1" fmla="*/ 257442 h 257442"/>
                <a:gd name="connsiteX2" fmla="*/ 0 w 1103086"/>
                <a:gd name="connsiteY2" fmla="*/ 257442 h 257442"/>
                <a:gd name="connsiteX3" fmla="*/ 54721 w 1103086"/>
                <a:gd name="connsiteY3" fmla="*/ 0 h 257442"/>
                <a:gd name="connsiteX0" fmla="*/ 1103086 w 1103086"/>
                <a:gd name="connsiteY0" fmla="*/ 0 h 257442"/>
                <a:gd name="connsiteX1" fmla="*/ 1048365 w 1103086"/>
                <a:gd name="connsiteY1" fmla="*/ 257442 h 257442"/>
                <a:gd name="connsiteX2" fmla="*/ 0 w 1103086"/>
                <a:gd name="connsiteY2" fmla="*/ 257442 h 257442"/>
                <a:gd name="connsiteX3" fmla="*/ 54721 w 1103086"/>
                <a:gd name="connsiteY3" fmla="*/ 0 h 257442"/>
                <a:gd name="connsiteX0" fmla="*/ 1103086 w 1103086"/>
                <a:gd name="connsiteY0" fmla="*/ 0 h 257442"/>
                <a:gd name="connsiteX1" fmla="*/ 1048365 w 1103086"/>
                <a:gd name="connsiteY1" fmla="*/ 257442 h 257442"/>
                <a:gd name="connsiteX2" fmla="*/ 0 w 1103086"/>
                <a:gd name="connsiteY2" fmla="*/ 257442 h 257442"/>
                <a:gd name="connsiteX3" fmla="*/ 54721 w 1103086"/>
                <a:gd name="connsiteY3" fmla="*/ 0 h 257442"/>
                <a:gd name="connsiteX0" fmla="*/ 1103086 w 1103086"/>
                <a:gd name="connsiteY0" fmla="*/ 0 h 257442"/>
                <a:gd name="connsiteX1" fmla="*/ 1048365 w 1103086"/>
                <a:gd name="connsiteY1" fmla="*/ 257442 h 257442"/>
                <a:gd name="connsiteX2" fmla="*/ 0 w 1103086"/>
                <a:gd name="connsiteY2" fmla="*/ 257442 h 257442"/>
                <a:gd name="connsiteX3" fmla="*/ 54721 w 1103086"/>
                <a:gd name="connsiteY3" fmla="*/ 0 h 257442"/>
                <a:gd name="connsiteX0" fmla="*/ 1271402 w 1271402"/>
                <a:gd name="connsiteY0" fmla="*/ 0 h 257442"/>
                <a:gd name="connsiteX1" fmla="*/ 1048365 w 1271402"/>
                <a:gd name="connsiteY1" fmla="*/ 257442 h 257442"/>
                <a:gd name="connsiteX2" fmla="*/ 0 w 1271402"/>
                <a:gd name="connsiteY2" fmla="*/ 257442 h 257442"/>
                <a:gd name="connsiteX3" fmla="*/ 54721 w 1271402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54721 w 1271402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54721 w 1271402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54721 w 1271402"/>
                <a:gd name="connsiteY3" fmla="*/ 0 h 257442"/>
                <a:gd name="connsiteX0" fmla="*/ 1550324 w 1550324"/>
                <a:gd name="connsiteY0" fmla="*/ 0 h 257442"/>
                <a:gd name="connsiteX1" fmla="*/ 1216681 w 1550324"/>
                <a:gd name="connsiteY1" fmla="*/ 257442 h 257442"/>
                <a:gd name="connsiteX2" fmla="*/ 0 w 1550324"/>
                <a:gd name="connsiteY2" fmla="*/ 257442 h 257442"/>
                <a:gd name="connsiteX3" fmla="*/ 54721 w 1550324"/>
                <a:gd name="connsiteY3" fmla="*/ 0 h 257442"/>
                <a:gd name="connsiteX0" fmla="*/ 1550324 w 1550324"/>
                <a:gd name="connsiteY0" fmla="*/ 0 h 257442"/>
                <a:gd name="connsiteX1" fmla="*/ 1495603 w 1550324"/>
                <a:gd name="connsiteY1" fmla="*/ 257442 h 257442"/>
                <a:gd name="connsiteX2" fmla="*/ 0 w 1550324"/>
                <a:gd name="connsiteY2" fmla="*/ 257442 h 257442"/>
                <a:gd name="connsiteX3" fmla="*/ 54721 w 1550324"/>
                <a:gd name="connsiteY3" fmla="*/ 0 h 257442"/>
                <a:gd name="connsiteX0" fmla="*/ 1550324 w 1550324"/>
                <a:gd name="connsiteY0" fmla="*/ 0 h 257442"/>
                <a:gd name="connsiteX1" fmla="*/ 1495603 w 1550324"/>
                <a:gd name="connsiteY1" fmla="*/ 257442 h 257442"/>
                <a:gd name="connsiteX2" fmla="*/ 0 w 1550324"/>
                <a:gd name="connsiteY2" fmla="*/ 257442 h 257442"/>
                <a:gd name="connsiteX3" fmla="*/ 54721 w 1550324"/>
                <a:gd name="connsiteY3" fmla="*/ 0 h 257442"/>
                <a:gd name="connsiteX0" fmla="*/ 1550324 w 1550324"/>
                <a:gd name="connsiteY0" fmla="*/ 0 h 257442"/>
                <a:gd name="connsiteX1" fmla="*/ 1495603 w 1550324"/>
                <a:gd name="connsiteY1" fmla="*/ 257442 h 257442"/>
                <a:gd name="connsiteX2" fmla="*/ 0 w 1550324"/>
                <a:gd name="connsiteY2" fmla="*/ 257442 h 257442"/>
                <a:gd name="connsiteX3" fmla="*/ 54721 w 1550324"/>
                <a:gd name="connsiteY3" fmla="*/ 0 h 257442"/>
                <a:gd name="connsiteX0" fmla="*/ 1718639 w 1718639"/>
                <a:gd name="connsiteY0" fmla="*/ 0 h 257442"/>
                <a:gd name="connsiteX1" fmla="*/ 1495603 w 1718639"/>
                <a:gd name="connsiteY1" fmla="*/ 257442 h 257442"/>
                <a:gd name="connsiteX2" fmla="*/ 0 w 1718639"/>
                <a:gd name="connsiteY2" fmla="*/ 257442 h 257442"/>
                <a:gd name="connsiteX3" fmla="*/ 54721 w 1718639"/>
                <a:gd name="connsiteY3" fmla="*/ 0 h 257442"/>
                <a:gd name="connsiteX0" fmla="*/ 1718639 w 1718639"/>
                <a:gd name="connsiteY0" fmla="*/ 0 h 257442"/>
                <a:gd name="connsiteX1" fmla="*/ 1663918 w 1718639"/>
                <a:gd name="connsiteY1" fmla="*/ 257442 h 257442"/>
                <a:gd name="connsiteX2" fmla="*/ 0 w 1718639"/>
                <a:gd name="connsiteY2" fmla="*/ 257442 h 257442"/>
                <a:gd name="connsiteX3" fmla="*/ 54721 w 1718639"/>
                <a:gd name="connsiteY3" fmla="*/ 0 h 257442"/>
                <a:gd name="connsiteX0" fmla="*/ 1718639 w 1718639"/>
                <a:gd name="connsiteY0" fmla="*/ 0 h 257442"/>
                <a:gd name="connsiteX1" fmla="*/ 1663918 w 1718639"/>
                <a:gd name="connsiteY1" fmla="*/ 257442 h 257442"/>
                <a:gd name="connsiteX2" fmla="*/ 0 w 1718639"/>
                <a:gd name="connsiteY2" fmla="*/ 257442 h 257442"/>
                <a:gd name="connsiteX3" fmla="*/ 54721 w 1718639"/>
                <a:gd name="connsiteY3" fmla="*/ 0 h 257442"/>
                <a:gd name="connsiteX0" fmla="*/ 1718639 w 1718639"/>
                <a:gd name="connsiteY0" fmla="*/ 0 h 257442"/>
                <a:gd name="connsiteX1" fmla="*/ 1663918 w 1718639"/>
                <a:gd name="connsiteY1" fmla="*/ 257442 h 257442"/>
                <a:gd name="connsiteX2" fmla="*/ 0 w 1718639"/>
                <a:gd name="connsiteY2" fmla="*/ 257442 h 257442"/>
                <a:gd name="connsiteX3" fmla="*/ 54721 w 1718639"/>
                <a:gd name="connsiteY3" fmla="*/ 0 h 257442"/>
                <a:gd name="connsiteX0" fmla="*/ 1971914 w 1971914"/>
                <a:gd name="connsiteY0" fmla="*/ 0 h 257442"/>
                <a:gd name="connsiteX1" fmla="*/ 1663918 w 1971914"/>
                <a:gd name="connsiteY1" fmla="*/ 257442 h 257442"/>
                <a:gd name="connsiteX2" fmla="*/ 0 w 1971914"/>
                <a:gd name="connsiteY2" fmla="*/ 257442 h 257442"/>
                <a:gd name="connsiteX3" fmla="*/ 54721 w 1971914"/>
                <a:gd name="connsiteY3" fmla="*/ 0 h 257442"/>
                <a:gd name="connsiteX0" fmla="*/ 1971914 w 1971914"/>
                <a:gd name="connsiteY0" fmla="*/ 0 h 257442"/>
                <a:gd name="connsiteX1" fmla="*/ 1917192 w 1971914"/>
                <a:gd name="connsiteY1" fmla="*/ 257442 h 257442"/>
                <a:gd name="connsiteX2" fmla="*/ 0 w 1971914"/>
                <a:gd name="connsiteY2" fmla="*/ 257442 h 257442"/>
                <a:gd name="connsiteX3" fmla="*/ 54721 w 1971914"/>
                <a:gd name="connsiteY3" fmla="*/ 0 h 257442"/>
                <a:gd name="connsiteX0" fmla="*/ 1971915 w 1971915"/>
                <a:gd name="connsiteY0" fmla="*/ 0 h 257442"/>
                <a:gd name="connsiteX1" fmla="*/ 1917193 w 1971915"/>
                <a:gd name="connsiteY1" fmla="*/ 257442 h 257442"/>
                <a:gd name="connsiteX2" fmla="*/ 0 w 1971915"/>
                <a:gd name="connsiteY2" fmla="*/ 257442 h 257442"/>
                <a:gd name="connsiteX3" fmla="*/ 54722 w 1971915"/>
                <a:gd name="connsiteY3" fmla="*/ 0 h 257442"/>
                <a:gd name="connsiteX0" fmla="*/ 1971915 w 1971915"/>
                <a:gd name="connsiteY0" fmla="*/ 0 h 257442"/>
                <a:gd name="connsiteX1" fmla="*/ 1917193 w 1971915"/>
                <a:gd name="connsiteY1" fmla="*/ 257442 h 257442"/>
                <a:gd name="connsiteX2" fmla="*/ 0 w 1971915"/>
                <a:gd name="connsiteY2" fmla="*/ 257442 h 257442"/>
                <a:gd name="connsiteX3" fmla="*/ 54722 w 1971915"/>
                <a:gd name="connsiteY3" fmla="*/ 0 h 257442"/>
                <a:gd name="connsiteX0" fmla="*/ 2132215 w 2132215"/>
                <a:gd name="connsiteY0" fmla="*/ 0 h 257442"/>
                <a:gd name="connsiteX1" fmla="*/ 1917193 w 2132215"/>
                <a:gd name="connsiteY1" fmla="*/ 257442 h 257442"/>
                <a:gd name="connsiteX2" fmla="*/ 0 w 2132215"/>
                <a:gd name="connsiteY2" fmla="*/ 257442 h 257442"/>
                <a:gd name="connsiteX3" fmla="*/ 54722 w 2132215"/>
                <a:gd name="connsiteY3" fmla="*/ 0 h 257442"/>
                <a:gd name="connsiteX0" fmla="*/ 2132215 w 2132215"/>
                <a:gd name="connsiteY0" fmla="*/ 0 h 257442"/>
                <a:gd name="connsiteX1" fmla="*/ 2077494 w 2132215"/>
                <a:gd name="connsiteY1" fmla="*/ 257442 h 257442"/>
                <a:gd name="connsiteX2" fmla="*/ 0 w 2132215"/>
                <a:gd name="connsiteY2" fmla="*/ 257442 h 257442"/>
                <a:gd name="connsiteX3" fmla="*/ 54722 w 2132215"/>
                <a:gd name="connsiteY3" fmla="*/ 0 h 257442"/>
                <a:gd name="connsiteX0" fmla="*/ 2132214 w 2132214"/>
                <a:gd name="connsiteY0" fmla="*/ 0 h 257442"/>
                <a:gd name="connsiteX1" fmla="*/ 2077493 w 2132214"/>
                <a:gd name="connsiteY1" fmla="*/ 257442 h 257442"/>
                <a:gd name="connsiteX2" fmla="*/ 0 w 2132214"/>
                <a:gd name="connsiteY2" fmla="*/ 257442 h 257442"/>
                <a:gd name="connsiteX3" fmla="*/ 54721 w 2132214"/>
                <a:gd name="connsiteY3" fmla="*/ 0 h 257442"/>
                <a:gd name="connsiteX0" fmla="*/ 2132214 w 2132214"/>
                <a:gd name="connsiteY0" fmla="*/ 0 h 257442"/>
                <a:gd name="connsiteX1" fmla="*/ 2077493 w 2132214"/>
                <a:gd name="connsiteY1" fmla="*/ 257442 h 257442"/>
                <a:gd name="connsiteX2" fmla="*/ 0 w 2132214"/>
                <a:gd name="connsiteY2" fmla="*/ 257442 h 257442"/>
                <a:gd name="connsiteX3" fmla="*/ 54720 w 2132214"/>
                <a:gd name="connsiteY3" fmla="*/ 0 h 257442"/>
                <a:gd name="connsiteX0" fmla="*/ 934770 w 2077493"/>
                <a:gd name="connsiteY0" fmla="*/ 0 h 257442"/>
                <a:gd name="connsiteX1" fmla="*/ 2077493 w 2077493"/>
                <a:gd name="connsiteY1" fmla="*/ 257442 h 257442"/>
                <a:gd name="connsiteX2" fmla="*/ 0 w 2077493"/>
                <a:gd name="connsiteY2" fmla="*/ 257442 h 257442"/>
                <a:gd name="connsiteX3" fmla="*/ 54720 w 2077493"/>
                <a:gd name="connsiteY3" fmla="*/ 0 h 257442"/>
                <a:gd name="connsiteX0" fmla="*/ 934770 w 934770"/>
                <a:gd name="connsiteY0" fmla="*/ 0 h 257442"/>
                <a:gd name="connsiteX1" fmla="*/ 880050 w 934770"/>
                <a:gd name="connsiteY1" fmla="*/ 257442 h 257442"/>
                <a:gd name="connsiteX2" fmla="*/ 0 w 934770"/>
                <a:gd name="connsiteY2" fmla="*/ 257442 h 257442"/>
                <a:gd name="connsiteX3" fmla="*/ 54720 w 934770"/>
                <a:gd name="connsiteY3" fmla="*/ 0 h 257442"/>
                <a:gd name="connsiteX0" fmla="*/ 934770 w 934770"/>
                <a:gd name="connsiteY0" fmla="*/ 0 h 257442"/>
                <a:gd name="connsiteX1" fmla="*/ 880050 w 934770"/>
                <a:gd name="connsiteY1" fmla="*/ 257442 h 257442"/>
                <a:gd name="connsiteX2" fmla="*/ 0 w 934770"/>
                <a:gd name="connsiteY2" fmla="*/ 257442 h 257442"/>
                <a:gd name="connsiteX3" fmla="*/ 54720 w 934770"/>
                <a:gd name="connsiteY3" fmla="*/ 0 h 257442"/>
                <a:gd name="connsiteX0" fmla="*/ 934770 w 934770"/>
                <a:gd name="connsiteY0" fmla="*/ 0 h 257442"/>
                <a:gd name="connsiteX1" fmla="*/ 880050 w 934770"/>
                <a:gd name="connsiteY1" fmla="*/ 257442 h 257442"/>
                <a:gd name="connsiteX2" fmla="*/ 0 w 934770"/>
                <a:gd name="connsiteY2" fmla="*/ 257442 h 257442"/>
                <a:gd name="connsiteX3" fmla="*/ 54721 w 934770"/>
                <a:gd name="connsiteY3" fmla="*/ 0 h 257442"/>
                <a:gd name="connsiteX0" fmla="*/ 1188046 w 1188046"/>
                <a:gd name="connsiteY0" fmla="*/ 0 h 257442"/>
                <a:gd name="connsiteX1" fmla="*/ 880050 w 1188046"/>
                <a:gd name="connsiteY1" fmla="*/ 257442 h 257442"/>
                <a:gd name="connsiteX2" fmla="*/ 0 w 1188046"/>
                <a:gd name="connsiteY2" fmla="*/ 257442 h 257442"/>
                <a:gd name="connsiteX3" fmla="*/ 54721 w 1188046"/>
                <a:gd name="connsiteY3" fmla="*/ 0 h 257442"/>
                <a:gd name="connsiteX0" fmla="*/ 1188046 w 1188046"/>
                <a:gd name="connsiteY0" fmla="*/ 0 h 257442"/>
                <a:gd name="connsiteX1" fmla="*/ 1133325 w 1188046"/>
                <a:gd name="connsiteY1" fmla="*/ 257442 h 257442"/>
                <a:gd name="connsiteX2" fmla="*/ 0 w 1188046"/>
                <a:gd name="connsiteY2" fmla="*/ 257442 h 257442"/>
                <a:gd name="connsiteX3" fmla="*/ 54721 w 1188046"/>
                <a:gd name="connsiteY3" fmla="*/ 0 h 257442"/>
                <a:gd name="connsiteX0" fmla="*/ 1188046 w 1188046"/>
                <a:gd name="connsiteY0" fmla="*/ 0 h 257442"/>
                <a:gd name="connsiteX1" fmla="*/ 1133325 w 1188046"/>
                <a:gd name="connsiteY1" fmla="*/ 257442 h 257442"/>
                <a:gd name="connsiteX2" fmla="*/ 0 w 1188046"/>
                <a:gd name="connsiteY2" fmla="*/ 257442 h 257442"/>
                <a:gd name="connsiteX3" fmla="*/ 54721 w 1188046"/>
                <a:gd name="connsiteY3" fmla="*/ 0 h 257442"/>
                <a:gd name="connsiteX0" fmla="*/ 1188046 w 1188046"/>
                <a:gd name="connsiteY0" fmla="*/ 0 h 257442"/>
                <a:gd name="connsiteX1" fmla="*/ 1133325 w 1188046"/>
                <a:gd name="connsiteY1" fmla="*/ 257442 h 257442"/>
                <a:gd name="connsiteX2" fmla="*/ 0 w 1188046"/>
                <a:gd name="connsiteY2" fmla="*/ 257442 h 257442"/>
                <a:gd name="connsiteX3" fmla="*/ 54721 w 1188046"/>
                <a:gd name="connsiteY3" fmla="*/ 0 h 257442"/>
                <a:gd name="connsiteX0" fmla="*/ 1348346 w 1348346"/>
                <a:gd name="connsiteY0" fmla="*/ 0 h 257442"/>
                <a:gd name="connsiteX1" fmla="*/ 1133325 w 1348346"/>
                <a:gd name="connsiteY1" fmla="*/ 257442 h 257442"/>
                <a:gd name="connsiteX2" fmla="*/ 0 w 1348346"/>
                <a:gd name="connsiteY2" fmla="*/ 257442 h 257442"/>
                <a:gd name="connsiteX3" fmla="*/ 54721 w 1348346"/>
                <a:gd name="connsiteY3" fmla="*/ 0 h 257442"/>
                <a:gd name="connsiteX0" fmla="*/ 1348346 w 1348346"/>
                <a:gd name="connsiteY0" fmla="*/ 0 h 257442"/>
                <a:gd name="connsiteX1" fmla="*/ 1293625 w 1348346"/>
                <a:gd name="connsiteY1" fmla="*/ 257442 h 257442"/>
                <a:gd name="connsiteX2" fmla="*/ 0 w 1348346"/>
                <a:gd name="connsiteY2" fmla="*/ 257442 h 257442"/>
                <a:gd name="connsiteX3" fmla="*/ 54721 w 1348346"/>
                <a:gd name="connsiteY3" fmla="*/ 0 h 257442"/>
                <a:gd name="connsiteX0" fmla="*/ 1348346 w 1348346"/>
                <a:gd name="connsiteY0" fmla="*/ 0 h 257442"/>
                <a:gd name="connsiteX1" fmla="*/ 1293625 w 1348346"/>
                <a:gd name="connsiteY1" fmla="*/ 257442 h 257442"/>
                <a:gd name="connsiteX2" fmla="*/ 0 w 1348346"/>
                <a:gd name="connsiteY2" fmla="*/ 257442 h 257442"/>
                <a:gd name="connsiteX3" fmla="*/ 54721 w 1348346"/>
                <a:gd name="connsiteY3" fmla="*/ 0 h 257442"/>
                <a:gd name="connsiteX0" fmla="*/ 1348346 w 1348346"/>
                <a:gd name="connsiteY0" fmla="*/ 0 h 257442"/>
                <a:gd name="connsiteX1" fmla="*/ 1293625 w 1348346"/>
                <a:gd name="connsiteY1" fmla="*/ 257442 h 257442"/>
                <a:gd name="connsiteX2" fmla="*/ 0 w 1348346"/>
                <a:gd name="connsiteY2" fmla="*/ 257442 h 257442"/>
                <a:gd name="connsiteX3" fmla="*/ 54721 w 1348346"/>
                <a:gd name="connsiteY3" fmla="*/ 0 h 257442"/>
                <a:gd name="connsiteX0" fmla="*/ 1188046 w 1293625"/>
                <a:gd name="connsiteY0" fmla="*/ 0 h 257442"/>
                <a:gd name="connsiteX1" fmla="*/ 1293625 w 1293625"/>
                <a:gd name="connsiteY1" fmla="*/ 257442 h 257442"/>
                <a:gd name="connsiteX2" fmla="*/ 0 w 1293625"/>
                <a:gd name="connsiteY2" fmla="*/ 257442 h 257442"/>
                <a:gd name="connsiteX3" fmla="*/ 54721 w 1293625"/>
                <a:gd name="connsiteY3" fmla="*/ 0 h 257442"/>
                <a:gd name="connsiteX0" fmla="*/ 1188046 w 1188046"/>
                <a:gd name="connsiteY0" fmla="*/ 0 h 257442"/>
                <a:gd name="connsiteX1" fmla="*/ 1133326 w 1188046"/>
                <a:gd name="connsiteY1" fmla="*/ 257442 h 257442"/>
                <a:gd name="connsiteX2" fmla="*/ 0 w 1188046"/>
                <a:gd name="connsiteY2" fmla="*/ 257442 h 257442"/>
                <a:gd name="connsiteX3" fmla="*/ 54721 w 1188046"/>
                <a:gd name="connsiteY3" fmla="*/ 0 h 257442"/>
                <a:gd name="connsiteX0" fmla="*/ 1188045 w 1188045"/>
                <a:gd name="connsiteY0" fmla="*/ 0 h 257442"/>
                <a:gd name="connsiteX1" fmla="*/ 1133325 w 1188045"/>
                <a:gd name="connsiteY1" fmla="*/ 257442 h 257442"/>
                <a:gd name="connsiteX2" fmla="*/ 0 w 1188045"/>
                <a:gd name="connsiteY2" fmla="*/ 257442 h 257442"/>
                <a:gd name="connsiteX3" fmla="*/ 54720 w 1188045"/>
                <a:gd name="connsiteY3" fmla="*/ 0 h 257442"/>
                <a:gd name="connsiteX0" fmla="*/ 1188045 w 1188045"/>
                <a:gd name="connsiteY0" fmla="*/ 0 h 257442"/>
                <a:gd name="connsiteX1" fmla="*/ 1133325 w 1188045"/>
                <a:gd name="connsiteY1" fmla="*/ 257442 h 257442"/>
                <a:gd name="connsiteX2" fmla="*/ 0 w 1188045"/>
                <a:gd name="connsiteY2" fmla="*/ 257442 h 257442"/>
                <a:gd name="connsiteX3" fmla="*/ 54721 w 1188045"/>
                <a:gd name="connsiteY3" fmla="*/ 0 h 257442"/>
                <a:gd name="connsiteX0" fmla="*/ 1500631 w 1500631"/>
                <a:gd name="connsiteY0" fmla="*/ 0 h 257442"/>
                <a:gd name="connsiteX1" fmla="*/ 1133325 w 1500631"/>
                <a:gd name="connsiteY1" fmla="*/ 257442 h 257442"/>
                <a:gd name="connsiteX2" fmla="*/ 0 w 1500631"/>
                <a:gd name="connsiteY2" fmla="*/ 257442 h 257442"/>
                <a:gd name="connsiteX3" fmla="*/ 54721 w 1500631"/>
                <a:gd name="connsiteY3" fmla="*/ 0 h 257442"/>
                <a:gd name="connsiteX0" fmla="*/ 1500631 w 1500631"/>
                <a:gd name="connsiteY0" fmla="*/ 0 h 257442"/>
                <a:gd name="connsiteX1" fmla="*/ 1445910 w 1500631"/>
                <a:gd name="connsiteY1" fmla="*/ 257442 h 257442"/>
                <a:gd name="connsiteX2" fmla="*/ 0 w 1500631"/>
                <a:gd name="connsiteY2" fmla="*/ 257442 h 257442"/>
                <a:gd name="connsiteX3" fmla="*/ 54721 w 1500631"/>
                <a:gd name="connsiteY3" fmla="*/ 0 h 257442"/>
                <a:gd name="connsiteX0" fmla="*/ 1500631 w 1500631"/>
                <a:gd name="connsiteY0" fmla="*/ 0 h 257442"/>
                <a:gd name="connsiteX1" fmla="*/ 1445910 w 1500631"/>
                <a:gd name="connsiteY1" fmla="*/ 257442 h 257442"/>
                <a:gd name="connsiteX2" fmla="*/ 0 w 1500631"/>
                <a:gd name="connsiteY2" fmla="*/ 257442 h 257442"/>
                <a:gd name="connsiteX3" fmla="*/ 54721 w 1500631"/>
                <a:gd name="connsiteY3" fmla="*/ 0 h 257442"/>
                <a:gd name="connsiteX0" fmla="*/ 1500631 w 1500631"/>
                <a:gd name="connsiteY0" fmla="*/ 0 h 257442"/>
                <a:gd name="connsiteX1" fmla="*/ 1445910 w 1500631"/>
                <a:gd name="connsiteY1" fmla="*/ 257442 h 257442"/>
                <a:gd name="connsiteX2" fmla="*/ 0 w 1500631"/>
                <a:gd name="connsiteY2" fmla="*/ 257442 h 257442"/>
                <a:gd name="connsiteX3" fmla="*/ 54721 w 1500631"/>
                <a:gd name="connsiteY3" fmla="*/ 0 h 257442"/>
                <a:gd name="connsiteX0" fmla="*/ 1660931 w 1660931"/>
                <a:gd name="connsiteY0" fmla="*/ 0 h 257442"/>
                <a:gd name="connsiteX1" fmla="*/ 1445910 w 1660931"/>
                <a:gd name="connsiteY1" fmla="*/ 257442 h 257442"/>
                <a:gd name="connsiteX2" fmla="*/ 0 w 1660931"/>
                <a:gd name="connsiteY2" fmla="*/ 257442 h 257442"/>
                <a:gd name="connsiteX3" fmla="*/ 54721 w 1660931"/>
                <a:gd name="connsiteY3" fmla="*/ 0 h 257442"/>
                <a:gd name="connsiteX0" fmla="*/ 1660931 w 1660931"/>
                <a:gd name="connsiteY0" fmla="*/ 0 h 257442"/>
                <a:gd name="connsiteX1" fmla="*/ 1606210 w 1660931"/>
                <a:gd name="connsiteY1" fmla="*/ 257442 h 257442"/>
                <a:gd name="connsiteX2" fmla="*/ 0 w 1660931"/>
                <a:gd name="connsiteY2" fmla="*/ 257442 h 257442"/>
                <a:gd name="connsiteX3" fmla="*/ 54721 w 1660931"/>
                <a:gd name="connsiteY3" fmla="*/ 0 h 257442"/>
                <a:gd name="connsiteX0" fmla="*/ 1660931 w 1660931"/>
                <a:gd name="connsiteY0" fmla="*/ 0 h 257442"/>
                <a:gd name="connsiteX1" fmla="*/ 1606210 w 1660931"/>
                <a:gd name="connsiteY1" fmla="*/ 257442 h 257442"/>
                <a:gd name="connsiteX2" fmla="*/ 0 w 1660931"/>
                <a:gd name="connsiteY2" fmla="*/ 257442 h 257442"/>
                <a:gd name="connsiteX3" fmla="*/ 54721 w 1660931"/>
                <a:gd name="connsiteY3" fmla="*/ 0 h 257442"/>
                <a:gd name="connsiteX0" fmla="*/ 1660931 w 1660931"/>
                <a:gd name="connsiteY0" fmla="*/ 0 h 257442"/>
                <a:gd name="connsiteX1" fmla="*/ 1606210 w 1660931"/>
                <a:gd name="connsiteY1" fmla="*/ 257442 h 257442"/>
                <a:gd name="connsiteX2" fmla="*/ 0 w 1660931"/>
                <a:gd name="connsiteY2" fmla="*/ 257442 h 257442"/>
                <a:gd name="connsiteX3" fmla="*/ 54721 w 1660931"/>
                <a:gd name="connsiteY3" fmla="*/ 0 h 257442"/>
                <a:gd name="connsiteX0" fmla="*/ 934771 w 1606210"/>
                <a:gd name="connsiteY0" fmla="*/ 0 h 257442"/>
                <a:gd name="connsiteX1" fmla="*/ 1606210 w 1606210"/>
                <a:gd name="connsiteY1" fmla="*/ 257442 h 257442"/>
                <a:gd name="connsiteX2" fmla="*/ 0 w 1606210"/>
                <a:gd name="connsiteY2" fmla="*/ 257442 h 257442"/>
                <a:gd name="connsiteX3" fmla="*/ 54721 w 1606210"/>
                <a:gd name="connsiteY3" fmla="*/ 0 h 257442"/>
                <a:gd name="connsiteX0" fmla="*/ 934771 w 934771"/>
                <a:gd name="connsiteY0" fmla="*/ 0 h 257442"/>
                <a:gd name="connsiteX1" fmla="*/ 880050 w 934771"/>
                <a:gd name="connsiteY1" fmla="*/ 257442 h 257442"/>
                <a:gd name="connsiteX2" fmla="*/ 0 w 934771"/>
                <a:gd name="connsiteY2" fmla="*/ 257442 h 257442"/>
                <a:gd name="connsiteX3" fmla="*/ 54721 w 934771"/>
                <a:gd name="connsiteY3" fmla="*/ 0 h 257442"/>
                <a:gd name="connsiteX0" fmla="*/ 934770 w 934770"/>
                <a:gd name="connsiteY0" fmla="*/ 0 h 257442"/>
                <a:gd name="connsiteX1" fmla="*/ 880049 w 934770"/>
                <a:gd name="connsiteY1" fmla="*/ 257442 h 257442"/>
                <a:gd name="connsiteX2" fmla="*/ 0 w 934770"/>
                <a:gd name="connsiteY2" fmla="*/ 257442 h 257442"/>
                <a:gd name="connsiteX3" fmla="*/ 54720 w 934770"/>
                <a:gd name="connsiteY3" fmla="*/ 0 h 257442"/>
                <a:gd name="connsiteX0" fmla="*/ 934770 w 934770"/>
                <a:gd name="connsiteY0" fmla="*/ 0 h 257442"/>
                <a:gd name="connsiteX1" fmla="*/ 880049 w 934770"/>
                <a:gd name="connsiteY1" fmla="*/ 257442 h 257442"/>
                <a:gd name="connsiteX2" fmla="*/ 0 w 934770"/>
                <a:gd name="connsiteY2" fmla="*/ 257442 h 257442"/>
                <a:gd name="connsiteX3" fmla="*/ 54720 w 934770"/>
                <a:gd name="connsiteY3" fmla="*/ 0 h 257442"/>
                <a:gd name="connsiteX0" fmla="*/ 1103085 w 1103085"/>
                <a:gd name="connsiteY0" fmla="*/ 0 h 257442"/>
                <a:gd name="connsiteX1" fmla="*/ 880049 w 1103085"/>
                <a:gd name="connsiteY1" fmla="*/ 257442 h 257442"/>
                <a:gd name="connsiteX2" fmla="*/ 0 w 1103085"/>
                <a:gd name="connsiteY2" fmla="*/ 257442 h 257442"/>
                <a:gd name="connsiteX3" fmla="*/ 54720 w 1103085"/>
                <a:gd name="connsiteY3" fmla="*/ 0 h 257442"/>
                <a:gd name="connsiteX0" fmla="*/ 1103085 w 1103085"/>
                <a:gd name="connsiteY0" fmla="*/ 0 h 257442"/>
                <a:gd name="connsiteX1" fmla="*/ 1048364 w 1103085"/>
                <a:gd name="connsiteY1" fmla="*/ 257442 h 257442"/>
                <a:gd name="connsiteX2" fmla="*/ 0 w 1103085"/>
                <a:gd name="connsiteY2" fmla="*/ 257442 h 257442"/>
                <a:gd name="connsiteX3" fmla="*/ 54720 w 1103085"/>
                <a:gd name="connsiteY3" fmla="*/ 0 h 257442"/>
                <a:gd name="connsiteX0" fmla="*/ 1103086 w 1103086"/>
                <a:gd name="connsiteY0" fmla="*/ 0 h 257442"/>
                <a:gd name="connsiteX1" fmla="*/ 1048365 w 1103086"/>
                <a:gd name="connsiteY1" fmla="*/ 257442 h 257442"/>
                <a:gd name="connsiteX2" fmla="*/ 0 w 1103086"/>
                <a:gd name="connsiteY2" fmla="*/ 257442 h 257442"/>
                <a:gd name="connsiteX3" fmla="*/ 54721 w 1103086"/>
                <a:gd name="connsiteY3" fmla="*/ 0 h 257442"/>
                <a:gd name="connsiteX0" fmla="*/ 1103086 w 1103086"/>
                <a:gd name="connsiteY0" fmla="*/ 0 h 257442"/>
                <a:gd name="connsiteX1" fmla="*/ 1048365 w 1103086"/>
                <a:gd name="connsiteY1" fmla="*/ 257442 h 257442"/>
                <a:gd name="connsiteX2" fmla="*/ 0 w 1103086"/>
                <a:gd name="connsiteY2" fmla="*/ 257442 h 257442"/>
                <a:gd name="connsiteX3" fmla="*/ 54721 w 1103086"/>
                <a:gd name="connsiteY3" fmla="*/ 0 h 257442"/>
                <a:gd name="connsiteX0" fmla="*/ 1271402 w 1271402"/>
                <a:gd name="connsiteY0" fmla="*/ 0 h 257442"/>
                <a:gd name="connsiteX1" fmla="*/ 1048365 w 1271402"/>
                <a:gd name="connsiteY1" fmla="*/ 257442 h 257442"/>
                <a:gd name="connsiteX2" fmla="*/ 0 w 1271402"/>
                <a:gd name="connsiteY2" fmla="*/ 257442 h 257442"/>
                <a:gd name="connsiteX3" fmla="*/ 54721 w 1271402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54721 w 1271402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54721 w 1271402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54721 w 1271402"/>
                <a:gd name="connsiteY3" fmla="*/ 0 h 257442"/>
                <a:gd name="connsiteX0" fmla="*/ 1439717 w 1439717"/>
                <a:gd name="connsiteY0" fmla="*/ 0 h 257442"/>
                <a:gd name="connsiteX1" fmla="*/ 1216681 w 1439717"/>
                <a:gd name="connsiteY1" fmla="*/ 257442 h 257442"/>
                <a:gd name="connsiteX2" fmla="*/ 0 w 1439717"/>
                <a:gd name="connsiteY2" fmla="*/ 257442 h 257442"/>
                <a:gd name="connsiteX3" fmla="*/ 54721 w 1439717"/>
                <a:gd name="connsiteY3" fmla="*/ 0 h 257442"/>
                <a:gd name="connsiteX0" fmla="*/ 1439717 w 1439717"/>
                <a:gd name="connsiteY0" fmla="*/ 0 h 257442"/>
                <a:gd name="connsiteX1" fmla="*/ 1384996 w 1439717"/>
                <a:gd name="connsiteY1" fmla="*/ 257442 h 257442"/>
                <a:gd name="connsiteX2" fmla="*/ 0 w 1439717"/>
                <a:gd name="connsiteY2" fmla="*/ 257442 h 257442"/>
                <a:gd name="connsiteX3" fmla="*/ 54721 w 1439717"/>
                <a:gd name="connsiteY3" fmla="*/ 0 h 257442"/>
                <a:gd name="connsiteX0" fmla="*/ 1439717 w 1439717"/>
                <a:gd name="connsiteY0" fmla="*/ 0 h 257442"/>
                <a:gd name="connsiteX1" fmla="*/ 1384996 w 1439717"/>
                <a:gd name="connsiteY1" fmla="*/ 257442 h 257442"/>
                <a:gd name="connsiteX2" fmla="*/ 0 w 1439717"/>
                <a:gd name="connsiteY2" fmla="*/ 257442 h 257442"/>
                <a:gd name="connsiteX3" fmla="*/ 54721 w 1439717"/>
                <a:gd name="connsiteY3" fmla="*/ 0 h 257442"/>
                <a:gd name="connsiteX0" fmla="*/ 1439717 w 1439717"/>
                <a:gd name="connsiteY0" fmla="*/ 0 h 257442"/>
                <a:gd name="connsiteX1" fmla="*/ 1384996 w 1439717"/>
                <a:gd name="connsiteY1" fmla="*/ 257442 h 257442"/>
                <a:gd name="connsiteX2" fmla="*/ 0 w 1439717"/>
                <a:gd name="connsiteY2" fmla="*/ 257442 h 257442"/>
                <a:gd name="connsiteX3" fmla="*/ 54721 w 1439717"/>
                <a:gd name="connsiteY3" fmla="*/ 0 h 257442"/>
                <a:gd name="connsiteX0" fmla="*/ 1692991 w 1692991"/>
                <a:gd name="connsiteY0" fmla="*/ 0 h 257442"/>
                <a:gd name="connsiteX1" fmla="*/ 1384996 w 1692991"/>
                <a:gd name="connsiteY1" fmla="*/ 257442 h 257442"/>
                <a:gd name="connsiteX2" fmla="*/ 0 w 1692991"/>
                <a:gd name="connsiteY2" fmla="*/ 257442 h 257442"/>
                <a:gd name="connsiteX3" fmla="*/ 54721 w 1692991"/>
                <a:gd name="connsiteY3" fmla="*/ 0 h 257442"/>
                <a:gd name="connsiteX0" fmla="*/ 1692991 w 1692991"/>
                <a:gd name="connsiteY0" fmla="*/ 0 h 257442"/>
                <a:gd name="connsiteX1" fmla="*/ 1638270 w 1692991"/>
                <a:gd name="connsiteY1" fmla="*/ 257442 h 257442"/>
                <a:gd name="connsiteX2" fmla="*/ 0 w 1692991"/>
                <a:gd name="connsiteY2" fmla="*/ 257442 h 257442"/>
                <a:gd name="connsiteX3" fmla="*/ 54721 w 1692991"/>
                <a:gd name="connsiteY3" fmla="*/ 0 h 257442"/>
                <a:gd name="connsiteX0" fmla="*/ 1692991 w 1692991"/>
                <a:gd name="connsiteY0" fmla="*/ 0 h 257442"/>
                <a:gd name="connsiteX1" fmla="*/ 1638270 w 1692991"/>
                <a:gd name="connsiteY1" fmla="*/ 257442 h 257442"/>
                <a:gd name="connsiteX2" fmla="*/ 0 w 1692991"/>
                <a:gd name="connsiteY2" fmla="*/ 257442 h 257442"/>
                <a:gd name="connsiteX3" fmla="*/ 54721 w 1692991"/>
                <a:gd name="connsiteY3" fmla="*/ 0 h 257442"/>
                <a:gd name="connsiteX0" fmla="*/ 1692991 w 1692991"/>
                <a:gd name="connsiteY0" fmla="*/ 0 h 257442"/>
                <a:gd name="connsiteX1" fmla="*/ 1638270 w 1692991"/>
                <a:gd name="connsiteY1" fmla="*/ 257442 h 257442"/>
                <a:gd name="connsiteX2" fmla="*/ 0 w 1692991"/>
                <a:gd name="connsiteY2" fmla="*/ 257442 h 257442"/>
                <a:gd name="connsiteX3" fmla="*/ 54721 w 1692991"/>
                <a:gd name="connsiteY3" fmla="*/ 0 h 257442"/>
                <a:gd name="connsiteX0" fmla="*/ 1870925 w 1870925"/>
                <a:gd name="connsiteY0" fmla="*/ 0 h 257442"/>
                <a:gd name="connsiteX1" fmla="*/ 1638270 w 1870925"/>
                <a:gd name="connsiteY1" fmla="*/ 257442 h 257442"/>
                <a:gd name="connsiteX2" fmla="*/ 0 w 1870925"/>
                <a:gd name="connsiteY2" fmla="*/ 257442 h 257442"/>
                <a:gd name="connsiteX3" fmla="*/ 54721 w 1870925"/>
                <a:gd name="connsiteY3" fmla="*/ 0 h 257442"/>
                <a:gd name="connsiteX0" fmla="*/ 1870925 w 1870925"/>
                <a:gd name="connsiteY0" fmla="*/ 0 h 257442"/>
                <a:gd name="connsiteX1" fmla="*/ 1816204 w 1870925"/>
                <a:gd name="connsiteY1" fmla="*/ 257442 h 257442"/>
                <a:gd name="connsiteX2" fmla="*/ 0 w 1870925"/>
                <a:gd name="connsiteY2" fmla="*/ 257442 h 257442"/>
                <a:gd name="connsiteX3" fmla="*/ 54721 w 1870925"/>
                <a:gd name="connsiteY3" fmla="*/ 0 h 257442"/>
                <a:gd name="connsiteX0" fmla="*/ 1870925 w 1870925"/>
                <a:gd name="connsiteY0" fmla="*/ 0 h 257442"/>
                <a:gd name="connsiteX1" fmla="*/ 1816204 w 1870925"/>
                <a:gd name="connsiteY1" fmla="*/ 257442 h 257442"/>
                <a:gd name="connsiteX2" fmla="*/ 0 w 1870925"/>
                <a:gd name="connsiteY2" fmla="*/ 257442 h 257442"/>
                <a:gd name="connsiteX3" fmla="*/ 54721 w 1870925"/>
                <a:gd name="connsiteY3" fmla="*/ 0 h 257442"/>
                <a:gd name="connsiteX0" fmla="*/ 1870925 w 1870925"/>
                <a:gd name="connsiteY0" fmla="*/ 0 h 257442"/>
                <a:gd name="connsiteX1" fmla="*/ 1816204 w 1870925"/>
                <a:gd name="connsiteY1" fmla="*/ 257442 h 257442"/>
                <a:gd name="connsiteX2" fmla="*/ 0 w 1870925"/>
                <a:gd name="connsiteY2" fmla="*/ 257442 h 257442"/>
                <a:gd name="connsiteX3" fmla="*/ 54721 w 1870925"/>
                <a:gd name="connsiteY3" fmla="*/ 0 h 257442"/>
                <a:gd name="connsiteX0" fmla="*/ 2039240 w 2039240"/>
                <a:gd name="connsiteY0" fmla="*/ 0 h 257442"/>
                <a:gd name="connsiteX1" fmla="*/ 1816204 w 2039240"/>
                <a:gd name="connsiteY1" fmla="*/ 257442 h 257442"/>
                <a:gd name="connsiteX2" fmla="*/ 0 w 2039240"/>
                <a:gd name="connsiteY2" fmla="*/ 257442 h 257442"/>
                <a:gd name="connsiteX3" fmla="*/ 54721 w 2039240"/>
                <a:gd name="connsiteY3" fmla="*/ 0 h 257442"/>
                <a:gd name="connsiteX0" fmla="*/ 2039240 w 2039240"/>
                <a:gd name="connsiteY0" fmla="*/ 0 h 257442"/>
                <a:gd name="connsiteX1" fmla="*/ 1984518 w 2039240"/>
                <a:gd name="connsiteY1" fmla="*/ 257442 h 257442"/>
                <a:gd name="connsiteX2" fmla="*/ 0 w 2039240"/>
                <a:gd name="connsiteY2" fmla="*/ 257442 h 257442"/>
                <a:gd name="connsiteX3" fmla="*/ 54721 w 2039240"/>
                <a:gd name="connsiteY3" fmla="*/ 0 h 257442"/>
                <a:gd name="connsiteX0" fmla="*/ 2039241 w 2039241"/>
                <a:gd name="connsiteY0" fmla="*/ 0 h 257442"/>
                <a:gd name="connsiteX1" fmla="*/ 1984519 w 2039241"/>
                <a:gd name="connsiteY1" fmla="*/ 257442 h 257442"/>
                <a:gd name="connsiteX2" fmla="*/ 0 w 2039241"/>
                <a:gd name="connsiteY2" fmla="*/ 257442 h 257442"/>
                <a:gd name="connsiteX3" fmla="*/ 54722 w 2039241"/>
                <a:gd name="connsiteY3" fmla="*/ 0 h 257442"/>
                <a:gd name="connsiteX0" fmla="*/ 2039241 w 2039241"/>
                <a:gd name="connsiteY0" fmla="*/ 0 h 257442"/>
                <a:gd name="connsiteX1" fmla="*/ 1984519 w 2039241"/>
                <a:gd name="connsiteY1" fmla="*/ 257442 h 257442"/>
                <a:gd name="connsiteX2" fmla="*/ 0 w 2039241"/>
                <a:gd name="connsiteY2" fmla="*/ 257442 h 257442"/>
                <a:gd name="connsiteX3" fmla="*/ 54722 w 2039241"/>
                <a:gd name="connsiteY3" fmla="*/ 0 h 257442"/>
                <a:gd name="connsiteX0" fmla="*/ 2300531 w 2300531"/>
                <a:gd name="connsiteY0" fmla="*/ 0 h 257442"/>
                <a:gd name="connsiteX1" fmla="*/ 1984519 w 2300531"/>
                <a:gd name="connsiteY1" fmla="*/ 257442 h 257442"/>
                <a:gd name="connsiteX2" fmla="*/ 0 w 2300531"/>
                <a:gd name="connsiteY2" fmla="*/ 257442 h 257442"/>
                <a:gd name="connsiteX3" fmla="*/ 54722 w 2300531"/>
                <a:gd name="connsiteY3" fmla="*/ 0 h 257442"/>
                <a:gd name="connsiteX0" fmla="*/ 2300531 w 2300531"/>
                <a:gd name="connsiteY0" fmla="*/ 0 h 257442"/>
                <a:gd name="connsiteX1" fmla="*/ 2245810 w 2300531"/>
                <a:gd name="connsiteY1" fmla="*/ 257442 h 257442"/>
                <a:gd name="connsiteX2" fmla="*/ 0 w 2300531"/>
                <a:gd name="connsiteY2" fmla="*/ 257442 h 257442"/>
                <a:gd name="connsiteX3" fmla="*/ 54722 w 2300531"/>
                <a:gd name="connsiteY3" fmla="*/ 0 h 257442"/>
                <a:gd name="connsiteX0" fmla="*/ 2300530 w 2300530"/>
                <a:gd name="connsiteY0" fmla="*/ 0 h 257442"/>
                <a:gd name="connsiteX1" fmla="*/ 2245809 w 2300530"/>
                <a:gd name="connsiteY1" fmla="*/ 257442 h 257442"/>
                <a:gd name="connsiteX2" fmla="*/ 0 w 2300530"/>
                <a:gd name="connsiteY2" fmla="*/ 257442 h 257442"/>
                <a:gd name="connsiteX3" fmla="*/ 54721 w 2300530"/>
                <a:gd name="connsiteY3" fmla="*/ 0 h 257442"/>
                <a:gd name="connsiteX0" fmla="*/ 2300530 w 2300530"/>
                <a:gd name="connsiteY0" fmla="*/ 0 h 257442"/>
                <a:gd name="connsiteX1" fmla="*/ 2245809 w 2300530"/>
                <a:gd name="connsiteY1" fmla="*/ 257442 h 257442"/>
                <a:gd name="connsiteX2" fmla="*/ 0 w 2300530"/>
                <a:gd name="connsiteY2" fmla="*/ 257442 h 257442"/>
                <a:gd name="connsiteX3" fmla="*/ 54720 w 2300530"/>
                <a:gd name="connsiteY3" fmla="*/ 0 h 257442"/>
                <a:gd name="connsiteX0" fmla="*/ 2460829 w 2460829"/>
                <a:gd name="connsiteY0" fmla="*/ 0 h 257442"/>
                <a:gd name="connsiteX1" fmla="*/ 2245809 w 2460829"/>
                <a:gd name="connsiteY1" fmla="*/ 257442 h 257442"/>
                <a:gd name="connsiteX2" fmla="*/ 0 w 2460829"/>
                <a:gd name="connsiteY2" fmla="*/ 257442 h 257442"/>
                <a:gd name="connsiteX3" fmla="*/ 54720 w 2460829"/>
                <a:gd name="connsiteY3" fmla="*/ 0 h 257442"/>
                <a:gd name="connsiteX0" fmla="*/ 2460829 w 2460829"/>
                <a:gd name="connsiteY0" fmla="*/ 0 h 257442"/>
                <a:gd name="connsiteX1" fmla="*/ 2406108 w 2460829"/>
                <a:gd name="connsiteY1" fmla="*/ 257442 h 257442"/>
                <a:gd name="connsiteX2" fmla="*/ 0 w 2460829"/>
                <a:gd name="connsiteY2" fmla="*/ 257442 h 257442"/>
                <a:gd name="connsiteX3" fmla="*/ 54720 w 2460829"/>
                <a:gd name="connsiteY3" fmla="*/ 0 h 257442"/>
                <a:gd name="connsiteX0" fmla="*/ 2460830 w 2460830"/>
                <a:gd name="connsiteY0" fmla="*/ 0 h 257442"/>
                <a:gd name="connsiteX1" fmla="*/ 2406109 w 2460830"/>
                <a:gd name="connsiteY1" fmla="*/ 257442 h 257442"/>
                <a:gd name="connsiteX2" fmla="*/ 0 w 2460830"/>
                <a:gd name="connsiteY2" fmla="*/ 257442 h 257442"/>
                <a:gd name="connsiteX3" fmla="*/ 54721 w 2460830"/>
                <a:gd name="connsiteY3" fmla="*/ 0 h 257442"/>
                <a:gd name="connsiteX0" fmla="*/ 2460830 w 2460830"/>
                <a:gd name="connsiteY0" fmla="*/ 0 h 257442"/>
                <a:gd name="connsiteX1" fmla="*/ 2406109 w 2460830"/>
                <a:gd name="connsiteY1" fmla="*/ 257442 h 257442"/>
                <a:gd name="connsiteX2" fmla="*/ 0 w 2460830"/>
                <a:gd name="connsiteY2" fmla="*/ 257442 h 257442"/>
                <a:gd name="connsiteX3" fmla="*/ 54721 w 2460830"/>
                <a:gd name="connsiteY3" fmla="*/ 0 h 257442"/>
                <a:gd name="connsiteX0" fmla="*/ 2714104 w 2714104"/>
                <a:gd name="connsiteY0" fmla="*/ 0 h 257442"/>
                <a:gd name="connsiteX1" fmla="*/ 2406109 w 2714104"/>
                <a:gd name="connsiteY1" fmla="*/ 257442 h 257442"/>
                <a:gd name="connsiteX2" fmla="*/ 0 w 2714104"/>
                <a:gd name="connsiteY2" fmla="*/ 257442 h 257442"/>
                <a:gd name="connsiteX3" fmla="*/ 54721 w 2714104"/>
                <a:gd name="connsiteY3" fmla="*/ 0 h 257442"/>
                <a:gd name="connsiteX0" fmla="*/ 2714104 w 2714104"/>
                <a:gd name="connsiteY0" fmla="*/ 0 h 257442"/>
                <a:gd name="connsiteX1" fmla="*/ 2659383 w 2714104"/>
                <a:gd name="connsiteY1" fmla="*/ 257442 h 257442"/>
                <a:gd name="connsiteX2" fmla="*/ 0 w 2714104"/>
                <a:gd name="connsiteY2" fmla="*/ 257442 h 257442"/>
                <a:gd name="connsiteX3" fmla="*/ 54721 w 2714104"/>
                <a:gd name="connsiteY3" fmla="*/ 0 h 257442"/>
                <a:gd name="connsiteX0" fmla="*/ 2714104 w 2714104"/>
                <a:gd name="connsiteY0" fmla="*/ 0 h 257442"/>
                <a:gd name="connsiteX1" fmla="*/ 2659383 w 2714104"/>
                <a:gd name="connsiteY1" fmla="*/ 257442 h 257442"/>
                <a:gd name="connsiteX2" fmla="*/ 0 w 2714104"/>
                <a:gd name="connsiteY2" fmla="*/ 257442 h 257442"/>
                <a:gd name="connsiteX3" fmla="*/ 54721 w 2714104"/>
                <a:gd name="connsiteY3" fmla="*/ 0 h 257442"/>
                <a:gd name="connsiteX0" fmla="*/ 2714104 w 2714104"/>
                <a:gd name="connsiteY0" fmla="*/ 0 h 257442"/>
                <a:gd name="connsiteX1" fmla="*/ 2659383 w 2714104"/>
                <a:gd name="connsiteY1" fmla="*/ 257442 h 257442"/>
                <a:gd name="connsiteX2" fmla="*/ 0 w 2714104"/>
                <a:gd name="connsiteY2" fmla="*/ 257442 h 257442"/>
                <a:gd name="connsiteX3" fmla="*/ 54721 w 2714104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14104" h="257442">
                  <a:moveTo>
                    <a:pt x="2714104" y="0"/>
                  </a:moveTo>
                  <a:lnTo>
                    <a:pt x="2659383" y="257442"/>
                  </a:lnTo>
                  <a:lnTo>
                    <a:pt x="0" y="257442"/>
                  </a:lnTo>
                  <a:lnTo>
                    <a:pt x="54721" y="0"/>
                  </a:lnTo>
                  <a:close/>
                </a:path>
              </a:pathLst>
            </a:custGeom>
            <a:solidFill>
              <a:srgbClr val="B4B4B4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" name="btfpRunningAgenda2LevelTextRight228391">
              <a:extLst>
                <a:ext uri="{FF2B5EF4-FFF2-40B4-BE49-F238E27FC236}">
                  <a16:creationId xmlns:a16="http://schemas.microsoft.com/office/drawing/2014/main" id="{A705D401-B388-4CD5-A573-B3DCABCC0E18}"/>
                </a:ext>
              </a:extLst>
            </p:cNvPr>
            <p:cNvSpPr txBox="1"/>
            <p:nvPr/>
          </p:nvSpPr>
          <p:spPr bwMode="gray">
            <a:xfrm>
              <a:off x="2192937" y="876300"/>
              <a:ext cx="2811668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all" spc="4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function split</a:t>
              </a:r>
            </a:p>
          </p:txBody>
        </p:sp>
      </p:grpSp>
      <p:sp>
        <p:nvSpPr>
          <p:cNvPr id="31" name="btfpNotesBox521293">
            <a:extLst>
              <a:ext uri="{FF2B5EF4-FFF2-40B4-BE49-F238E27FC236}">
                <a16:creationId xmlns:a16="http://schemas.microsoft.com/office/drawing/2014/main" id="{7FCD83D4-0A84-15CB-41B6-52A705CEF459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gray">
          <a:xfrm>
            <a:off x="330199" y="6319679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>
                <a:solidFill>
                  <a:srgbClr val="000000"/>
                </a:solidFill>
              </a:rPr>
              <a:t>Note: Irrelevant profiles (interns, former, retired employees) have been excluded; Others include generic and untagged roles; Bars sorted basis total # of profiles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800">
                <a:solidFill>
                  <a:srgbClr val="000000"/>
                </a:solidFill>
              </a:rPr>
              <a:t>Source: Aura, Bain analysis </a:t>
            </a:r>
          </a:p>
        </p:txBody>
      </p:sp>
      <p:grpSp>
        <p:nvGrpSpPr>
          <p:cNvPr id="53" name="btfpStatusSticker323952">
            <a:extLst>
              <a:ext uri="{FF2B5EF4-FFF2-40B4-BE49-F238E27FC236}">
                <a16:creationId xmlns:a16="http://schemas.microsoft.com/office/drawing/2014/main" id="{9AED61AC-D9FC-C600-87A7-05F54C92581E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10102664" y="955344"/>
            <a:ext cx="1759136" cy="235611"/>
            <a:chOff x="-2269853" y="876300"/>
            <a:chExt cx="1759136" cy="235611"/>
          </a:xfrm>
        </p:grpSpPr>
        <p:sp>
          <p:nvSpPr>
            <p:cNvPr id="51" name="btfpStatusStickerText323952">
              <a:extLst>
                <a:ext uri="{FF2B5EF4-FFF2-40B4-BE49-F238E27FC236}">
                  <a16:creationId xmlns:a16="http://schemas.microsoft.com/office/drawing/2014/main" id="{2B8FCCD3-088A-7DFB-1D28-31C979763166}"/>
                </a:ext>
              </a:extLst>
            </p:cNvPr>
            <p:cNvSpPr txBox="1"/>
            <p:nvPr/>
          </p:nvSpPr>
          <p:spPr bwMode="gray">
            <a:xfrm>
              <a:off x="-2269853" y="876300"/>
              <a:ext cx="1759136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000000"/>
                  </a:solidFill>
                </a:rPr>
                <a:t>directional</a:t>
              </a:r>
            </a:p>
          </p:txBody>
        </p:sp>
        <p:cxnSp>
          <p:nvCxnSpPr>
            <p:cNvPr id="52" name="btfpStatusStickerLine323952">
              <a:extLst>
                <a:ext uri="{FF2B5EF4-FFF2-40B4-BE49-F238E27FC236}">
                  <a16:creationId xmlns:a16="http://schemas.microsoft.com/office/drawing/2014/main" id="{C03E4E9E-DC81-95BC-B279-B39ADDEFAF28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2269853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Title 1">
            <a:extLst>
              <a:ext uri="{FF2B5EF4-FFF2-40B4-BE49-F238E27FC236}">
                <a16:creationId xmlns:a16="http://schemas.microsoft.com/office/drawing/2014/main" id="{694D5409-4D32-D7A6-3C93-E11306BEA0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1"/>
            <a:ext cx="11522075" cy="876687"/>
          </a:xfrm>
        </p:spPr>
        <p:txBody>
          <a:bodyPr vert="horz"/>
          <a:lstStyle/>
          <a:p>
            <a:r>
              <a:rPr lang="en-US" dirty="0">
                <a:highlight>
                  <a:srgbClr val="FFFFFF"/>
                </a:highlight>
              </a:rPr>
              <a:t>Engineering and Sales roles constitute ~60% of the workforce across peers; Target has a slightly higher sales workforce as compared to peers</a:t>
            </a:r>
          </a:p>
        </p:txBody>
      </p:sp>
      <p:sp>
        <p:nvSpPr>
          <p:cNvPr id="100" name="Rounded Rectangle 84">
            <a:extLst>
              <a:ext uri="{FF2B5EF4-FFF2-40B4-BE49-F238E27FC236}">
                <a16:creationId xmlns:a16="http://schemas.microsoft.com/office/drawing/2014/main" id="{F2DB2B85-3467-DB90-A345-485736973799}"/>
              </a:ext>
            </a:extLst>
          </p:cNvPr>
          <p:cNvSpPr/>
          <p:nvPr>
            <p:custDataLst>
              <p:tags r:id="rId7"/>
            </p:custDataLst>
          </p:nvPr>
        </p:nvSpPr>
        <p:spPr bwMode="gray">
          <a:xfrm>
            <a:off x="9779886" y="1286004"/>
            <a:ext cx="325071" cy="306004"/>
          </a:xfrm>
          <a:prstGeom prst="roundRect">
            <a:avLst/>
          </a:prstGeom>
          <a:solidFill>
            <a:schemeClr val="bg1"/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15" name="Graphic 114" descr="Gears outline">
            <a:extLst>
              <a:ext uri="{FF2B5EF4-FFF2-40B4-BE49-F238E27FC236}">
                <a16:creationId xmlns:a16="http://schemas.microsoft.com/office/drawing/2014/main" id="{8EF18AF2-DF0D-2AD0-6090-A4F37DDE8C94}"/>
              </a:ext>
            </a:extLst>
          </p:cNvPr>
          <p:cNvPicPr>
            <a:picLocks noChangeAspect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9"/>
              </a:ext>
            </a:extLst>
          </a:blip>
          <a:stretch>
            <a:fillRect/>
          </a:stretch>
        </p:blipFill>
        <p:spPr>
          <a:xfrm>
            <a:off x="9842867" y="1340210"/>
            <a:ext cx="293429" cy="293429"/>
          </a:xfrm>
          <a:prstGeom prst="rect">
            <a:avLst/>
          </a:prstGeom>
        </p:spPr>
      </p:pic>
      <p:grpSp>
        <p:nvGrpSpPr>
          <p:cNvPr id="58" name="Group 57">
            <a:extLst>
              <a:ext uri="{FF2B5EF4-FFF2-40B4-BE49-F238E27FC236}">
                <a16:creationId xmlns:a16="http://schemas.microsoft.com/office/drawing/2014/main" id="{5083D81E-2DEE-540E-2141-6001EBD40150}"/>
              </a:ext>
            </a:extLst>
          </p:cNvPr>
          <p:cNvGrpSpPr/>
          <p:nvPr/>
        </p:nvGrpSpPr>
        <p:grpSpPr>
          <a:xfrm>
            <a:off x="9596927" y="5133245"/>
            <a:ext cx="2221880" cy="685368"/>
            <a:chOff x="9229521" y="5640749"/>
            <a:chExt cx="2573847" cy="685368"/>
          </a:xfrm>
        </p:grpSpPr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2E4472EB-BDCF-5F01-ED40-901C3D7EA25A}"/>
                </a:ext>
              </a:extLst>
            </p:cNvPr>
            <p:cNvSpPr/>
            <p:nvPr>
              <p:custDataLst>
                <p:tags r:id="rId28"/>
              </p:custDataLst>
            </p:nvPr>
          </p:nvSpPr>
          <p:spPr bwMode="gray">
            <a:xfrm>
              <a:off x="9229521" y="5978331"/>
              <a:ext cx="2573847" cy="347786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900" i="1" dirty="0">
                  <a:solidFill>
                    <a:schemeClr val="tx1"/>
                  </a:solidFill>
                  <a:latin typeface="Arial"/>
                </a:rPr>
                <a:t>Software Engineer, Engineering Manager, Development Lead, Product manager etc. </a:t>
              </a:r>
              <a:endParaRPr kumimoji="0" lang="en-US" sz="900" b="0" i="1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60" name="btfpQuoteBox867437">
              <a:extLst>
                <a:ext uri="{FF2B5EF4-FFF2-40B4-BE49-F238E27FC236}">
                  <a16:creationId xmlns:a16="http://schemas.microsoft.com/office/drawing/2014/main" id="{496AA141-20E3-755C-0D5A-9CABA8940FA1}"/>
                </a:ext>
              </a:extLst>
            </p:cNvPr>
            <p:cNvSpPr txBox="1"/>
            <p:nvPr>
              <p:custDataLst>
                <p:tags r:id="rId29"/>
              </p:custDataLst>
            </p:nvPr>
          </p:nvSpPr>
          <p:spPr bwMode="gray">
            <a:xfrm>
              <a:off x="9716157" y="5696865"/>
              <a:ext cx="1981374" cy="257442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FFFFFF"/>
              </a:solidFill>
              <a:prstDash val="solid"/>
            </a:ln>
          </p:spPr>
          <p:txBody>
            <a:bodyPr vert="horz" wrap="square" lIns="36036" tIns="36036" rIns="36036" bIns="36036" rtlCol="0" anchor="t">
              <a:spAutoFit/>
            </a:bodyPr>
            <a:lstStyle/>
            <a:p>
              <a:pPr marL="60325" lvl="0" indent="-60325">
                <a:spcBef>
                  <a:spcPts val="600"/>
                </a:spcBef>
                <a:buNone/>
                <a:defRPr/>
              </a:pPr>
              <a:r>
                <a:rPr lang="en-US" sz="1200" b="1" dirty="0">
                  <a:solidFill>
                    <a:srgbClr val="333333"/>
                  </a:solidFill>
                </a:rPr>
                <a:t>Engineering / Product</a:t>
              </a:r>
            </a:p>
          </p:txBody>
        </p:sp>
        <p:sp>
          <p:nvSpPr>
            <p:cNvPr id="61" name="Rounded Rectangle 7">
              <a:extLst>
                <a:ext uri="{FF2B5EF4-FFF2-40B4-BE49-F238E27FC236}">
                  <a16:creationId xmlns:a16="http://schemas.microsoft.com/office/drawing/2014/main" id="{A31CBE7C-80F1-8F28-9E50-3E848EA625D3}"/>
                </a:ext>
              </a:extLst>
            </p:cNvPr>
            <p:cNvSpPr/>
            <p:nvPr>
              <p:custDataLst>
                <p:tags r:id="rId30"/>
              </p:custDataLst>
            </p:nvPr>
          </p:nvSpPr>
          <p:spPr bwMode="gray">
            <a:xfrm>
              <a:off x="9259980" y="5640749"/>
              <a:ext cx="410510" cy="347786"/>
            </a:xfrm>
            <a:custGeom>
              <a:avLst/>
              <a:gdLst>
                <a:gd name="connsiteX0" fmla="*/ 665548 w 795234"/>
                <a:gd name="connsiteY0" fmla="*/ 778101 h 778101"/>
                <a:gd name="connsiteX1" fmla="*/ 129686 w 795234"/>
                <a:gd name="connsiteY1" fmla="*/ 778101 h 778101"/>
                <a:gd name="connsiteX2" fmla="*/ 0 w 795234"/>
                <a:gd name="connsiteY2" fmla="*/ 648415 h 778101"/>
                <a:gd name="connsiteX3" fmla="*/ 0 w 795234"/>
                <a:gd name="connsiteY3" fmla="*/ 129686 h 778101"/>
                <a:gd name="connsiteX4" fmla="*/ 129686 w 795234"/>
                <a:gd name="connsiteY4" fmla="*/ 0 h 778101"/>
                <a:gd name="connsiteX5" fmla="*/ 665548 w 795234"/>
                <a:gd name="connsiteY5" fmla="*/ 0 h 778101"/>
                <a:gd name="connsiteX6" fmla="*/ 795234 w 795234"/>
                <a:gd name="connsiteY6" fmla="*/ 129686 h 778101"/>
                <a:gd name="connsiteX7" fmla="*/ 788986 w 795234"/>
                <a:gd name="connsiteY7" fmla="*/ 474662 h 778101"/>
                <a:gd name="connsiteX8" fmla="*/ 795234 w 795234"/>
                <a:gd name="connsiteY8" fmla="*/ 648415 h 778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5234" h="778101">
                  <a:moveTo>
                    <a:pt x="665548" y="778101"/>
                  </a:moveTo>
                  <a:lnTo>
                    <a:pt x="129686" y="778101"/>
                  </a:lnTo>
                  <a:cubicBezTo>
                    <a:pt x="58062" y="778101"/>
                    <a:pt x="0" y="720039"/>
                    <a:pt x="0" y="648415"/>
                  </a:cubicBezTo>
                  <a:lnTo>
                    <a:pt x="0" y="129686"/>
                  </a:lnTo>
                  <a:cubicBezTo>
                    <a:pt x="0" y="58062"/>
                    <a:pt x="58062" y="0"/>
                    <a:pt x="129686" y="0"/>
                  </a:cubicBezTo>
                  <a:lnTo>
                    <a:pt x="665548" y="0"/>
                  </a:lnTo>
                  <a:cubicBezTo>
                    <a:pt x="737172" y="0"/>
                    <a:pt x="795234" y="58062"/>
                    <a:pt x="795234" y="129686"/>
                  </a:cubicBezTo>
                  <a:lnTo>
                    <a:pt x="788986" y="474662"/>
                  </a:lnTo>
                </a:path>
              </a:pathLst>
            </a:custGeom>
            <a:solidFill>
              <a:schemeClr val="bg1"/>
            </a:solidFill>
            <a:ln w="9525" cap="flat" cmpd="sng" algn="ctr">
              <a:solidFill>
                <a:srgbClr val="858585"/>
              </a:solidFill>
              <a:prstDash val="sysDot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7BEE589B-AB00-4B9A-B10A-350F0371681D}"/>
                </a:ext>
              </a:extLst>
            </p:cNvPr>
            <p:cNvCxnSpPr>
              <a:cxnSpLocks/>
            </p:cNvCxnSpPr>
            <p:nvPr>
              <p:custDataLst>
                <p:tags r:id="rId31"/>
              </p:custDataLst>
            </p:nvPr>
          </p:nvCxnSpPr>
          <p:spPr bwMode="gray">
            <a:xfrm>
              <a:off x="9259984" y="5988163"/>
              <a:ext cx="2509227" cy="0"/>
            </a:xfrm>
            <a:prstGeom prst="line">
              <a:avLst/>
            </a:prstGeom>
            <a:ln>
              <a:headEnd type="none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3" name="Rounded Rectangle 84">
              <a:extLst>
                <a:ext uri="{FF2B5EF4-FFF2-40B4-BE49-F238E27FC236}">
                  <a16:creationId xmlns:a16="http://schemas.microsoft.com/office/drawing/2014/main" id="{239AD62B-8CA7-9F5D-FC62-2D478C0F3EE0}"/>
                </a:ext>
              </a:extLst>
            </p:cNvPr>
            <p:cNvSpPr/>
            <p:nvPr>
              <p:custDataLst>
                <p:tags r:id="rId32"/>
              </p:custDataLst>
            </p:nvPr>
          </p:nvSpPr>
          <p:spPr bwMode="gray">
            <a:xfrm>
              <a:off x="9291379" y="5673016"/>
              <a:ext cx="352056" cy="286550"/>
            </a:xfrm>
            <a:prstGeom prst="roundRect">
              <a:avLst/>
            </a:prstGeom>
            <a:solidFill>
              <a:srgbClr val="333333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93863030-8C6E-F114-CA20-8792D0687C3D}"/>
              </a:ext>
            </a:extLst>
          </p:cNvPr>
          <p:cNvGrpSpPr/>
          <p:nvPr/>
        </p:nvGrpSpPr>
        <p:grpSpPr>
          <a:xfrm>
            <a:off x="9596927" y="2254577"/>
            <a:ext cx="2221880" cy="685368"/>
            <a:chOff x="9229521" y="5640749"/>
            <a:chExt cx="2573847" cy="685368"/>
          </a:xfrm>
        </p:grpSpPr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B6F8973A-E782-0BFE-5B29-D9C91BC3D8EC}"/>
                </a:ext>
              </a:extLst>
            </p:cNvPr>
            <p:cNvSpPr/>
            <p:nvPr>
              <p:custDataLst>
                <p:tags r:id="rId23"/>
              </p:custDataLst>
            </p:nvPr>
          </p:nvSpPr>
          <p:spPr bwMode="gray">
            <a:xfrm>
              <a:off x="9229521" y="5978331"/>
              <a:ext cx="2573847" cy="347786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900" i="1">
                  <a:solidFill>
                    <a:schemeClr val="tx1"/>
                  </a:solidFill>
                  <a:latin typeface="Arial"/>
                </a:rPr>
                <a:t>CXOs, Partner, MDs, VPs, etc.</a:t>
              </a:r>
            </a:p>
          </p:txBody>
        </p:sp>
        <p:sp>
          <p:nvSpPr>
            <p:cNvPr id="66" name="btfpQuoteBox867437">
              <a:extLst>
                <a:ext uri="{FF2B5EF4-FFF2-40B4-BE49-F238E27FC236}">
                  <a16:creationId xmlns:a16="http://schemas.microsoft.com/office/drawing/2014/main" id="{89954DF4-1FD5-C9DD-DC5E-6222F2AC3632}"/>
                </a:ext>
              </a:extLst>
            </p:cNvPr>
            <p:cNvSpPr txBox="1"/>
            <p:nvPr>
              <p:custDataLst>
                <p:tags r:id="rId24"/>
              </p:custDataLst>
            </p:nvPr>
          </p:nvSpPr>
          <p:spPr bwMode="gray">
            <a:xfrm>
              <a:off x="9716157" y="5696865"/>
              <a:ext cx="1981374" cy="257442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FFFFFF"/>
              </a:solidFill>
              <a:prstDash val="solid"/>
            </a:ln>
          </p:spPr>
          <p:txBody>
            <a:bodyPr vert="horz" wrap="square" lIns="36036" tIns="36036" rIns="36036" bIns="36036" rtlCol="0" anchor="t">
              <a:spAutoFit/>
            </a:bodyPr>
            <a:lstStyle/>
            <a:p>
              <a:pPr marL="60325" lvl="0" indent="-60325">
                <a:spcBef>
                  <a:spcPts val="600"/>
                </a:spcBef>
                <a:buNone/>
                <a:defRPr/>
              </a:pPr>
              <a:r>
                <a:rPr lang="en-US" sz="1200" b="1">
                  <a:solidFill>
                    <a:srgbClr val="2D475A"/>
                  </a:solidFill>
                </a:rPr>
                <a:t>Leadership</a:t>
              </a:r>
            </a:p>
          </p:txBody>
        </p:sp>
        <p:sp>
          <p:nvSpPr>
            <p:cNvPr id="67" name="Rounded Rectangle 7">
              <a:extLst>
                <a:ext uri="{FF2B5EF4-FFF2-40B4-BE49-F238E27FC236}">
                  <a16:creationId xmlns:a16="http://schemas.microsoft.com/office/drawing/2014/main" id="{363B121D-1E2B-4C17-57AA-E1DB6EEFACF8}"/>
                </a:ext>
              </a:extLst>
            </p:cNvPr>
            <p:cNvSpPr/>
            <p:nvPr>
              <p:custDataLst>
                <p:tags r:id="rId25"/>
              </p:custDataLst>
            </p:nvPr>
          </p:nvSpPr>
          <p:spPr bwMode="gray">
            <a:xfrm>
              <a:off x="9259980" y="5640749"/>
              <a:ext cx="410510" cy="347786"/>
            </a:xfrm>
            <a:custGeom>
              <a:avLst/>
              <a:gdLst>
                <a:gd name="connsiteX0" fmla="*/ 665548 w 795234"/>
                <a:gd name="connsiteY0" fmla="*/ 778101 h 778101"/>
                <a:gd name="connsiteX1" fmla="*/ 129686 w 795234"/>
                <a:gd name="connsiteY1" fmla="*/ 778101 h 778101"/>
                <a:gd name="connsiteX2" fmla="*/ 0 w 795234"/>
                <a:gd name="connsiteY2" fmla="*/ 648415 h 778101"/>
                <a:gd name="connsiteX3" fmla="*/ 0 w 795234"/>
                <a:gd name="connsiteY3" fmla="*/ 129686 h 778101"/>
                <a:gd name="connsiteX4" fmla="*/ 129686 w 795234"/>
                <a:gd name="connsiteY4" fmla="*/ 0 h 778101"/>
                <a:gd name="connsiteX5" fmla="*/ 665548 w 795234"/>
                <a:gd name="connsiteY5" fmla="*/ 0 h 778101"/>
                <a:gd name="connsiteX6" fmla="*/ 795234 w 795234"/>
                <a:gd name="connsiteY6" fmla="*/ 129686 h 778101"/>
                <a:gd name="connsiteX7" fmla="*/ 788986 w 795234"/>
                <a:gd name="connsiteY7" fmla="*/ 474662 h 778101"/>
                <a:gd name="connsiteX8" fmla="*/ 795234 w 795234"/>
                <a:gd name="connsiteY8" fmla="*/ 648415 h 778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5234" h="778101">
                  <a:moveTo>
                    <a:pt x="665548" y="778101"/>
                  </a:moveTo>
                  <a:lnTo>
                    <a:pt x="129686" y="778101"/>
                  </a:lnTo>
                  <a:cubicBezTo>
                    <a:pt x="58062" y="778101"/>
                    <a:pt x="0" y="720039"/>
                    <a:pt x="0" y="648415"/>
                  </a:cubicBezTo>
                  <a:lnTo>
                    <a:pt x="0" y="129686"/>
                  </a:lnTo>
                  <a:cubicBezTo>
                    <a:pt x="0" y="58062"/>
                    <a:pt x="58062" y="0"/>
                    <a:pt x="129686" y="0"/>
                  </a:cubicBezTo>
                  <a:lnTo>
                    <a:pt x="665548" y="0"/>
                  </a:lnTo>
                  <a:cubicBezTo>
                    <a:pt x="737172" y="0"/>
                    <a:pt x="795234" y="58062"/>
                    <a:pt x="795234" y="129686"/>
                  </a:cubicBezTo>
                  <a:lnTo>
                    <a:pt x="788986" y="474662"/>
                  </a:lnTo>
                </a:path>
              </a:pathLst>
            </a:custGeom>
            <a:solidFill>
              <a:schemeClr val="bg1"/>
            </a:solidFill>
            <a:ln w="9525" cap="flat" cmpd="sng" algn="ctr">
              <a:solidFill>
                <a:srgbClr val="858585"/>
              </a:solidFill>
              <a:prstDash val="sysDot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72B568F3-A84E-2A92-79A7-C59B2247B701}"/>
                </a:ext>
              </a:extLst>
            </p:cNvPr>
            <p:cNvCxnSpPr>
              <a:cxnSpLocks/>
            </p:cNvCxnSpPr>
            <p:nvPr>
              <p:custDataLst>
                <p:tags r:id="rId26"/>
              </p:custDataLst>
            </p:nvPr>
          </p:nvCxnSpPr>
          <p:spPr bwMode="gray">
            <a:xfrm>
              <a:off x="9259984" y="5988163"/>
              <a:ext cx="2509227" cy="0"/>
            </a:xfrm>
            <a:prstGeom prst="line">
              <a:avLst/>
            </a:prstGeom>
            <a:ln>
              <a:headEnd type="none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Rounded Rectangle 84">
              <a:extLst>
                <a:ext uri="{FF2B5EF4-FFF2-40B4-BE49-F238E27FC236}">
                  <a16:creationId xmlns:a16="http://schemas.microsoft.com/office/drawing/2014/main" id="{1D5EFA2B-E8F7-E3C9-32DA-BA18FCC91CAD}"/>
                </a:ext>
              </a:extLst>
            </p:cNvPr>
            <p:cNvSpPr/>
            <p:nvPr>
              <p:custDataLst>
                <p:tags r:id="rId27"/>
              </p:custDataLst>
            </p:nvPr>
          </p:nvSpPr>
          <p:spPr bwMode="gray">
            <a:xfrm>
              <a:off x="9291379" y="5673016"/>
              <a:ext cx="352056" cy="286550"/>
            </a:xfrm>
            <a:prstGeom prst="roundRect">
              <a:avLst/>
            </a:prstGeom>
            <a:solidFill>
              <a:srgbClr val="2D475A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pic>
        <p:nvPicPr>
          <p:cNvPr id="70" name="Picture 69">
            <a:extLst>
              <a:ext uri="{FF2B5EF4-FFF2-40B4-BE49-F238E27FC236}">
                <a16:creationId xmlns:a16="http://schemas.microsoft.com/office/drawing/2014/main" id="{E7C56A50-D38E-0880-DC4E-703E467DDE0D}"/>
              </a:ext>
            </a:extLst>
          </p:cNvPr>
          <p:cNvPicPr>
            <a:picLocks noChangeAspect="1"/>
          </p:cNvPicPr>
          <p:nvPr/>
        </p:nvPicPr>
        <p:blipFill>
          <a:blip r:embed="rId40"/>
          <a:stretch>
            <a:fillRect/>
          </a:stretch>
        </p:blipFill>
        <p:spPr>
          <a:xfrm>
            <a:off x="9691130" y="5168051"/>
            <a:ext cx="240837" cy="278988"/>
          </a:xfrm>
          <a:prstGeom prst="rect">
            <a:avLst/>
          </a:prstGeom>
        </p:spPr>
      </p:pic>
      <p:grpSp>
        <p:nvGrpSpPr>
          <p:cNvPr id="72" name="Group 71">
            <a:extLst>
              <a:ext uri="{FF2B5EF4-FFF2-40B4-BE49-F238E27FC236}">
                <a16:creationId xmlns:a16="http://schemas.microsoft.com/office/drawing/2014/main" id="{F3764476-7EBD-2CC6-B9B3-0CFCA9406A8B}"/>
              </a:ext>
            </a:extLst>
          </p:cNvPr>
          <p:cNvGrpSpPr/>
          <p:nvPr/>
        </p:nvGrpSpPr>
        <p:grpSpPr>
          <a:xfrm>
            <a:off x="9604027" y="4388997"/>
            <a:ext cx="2221880" cy="685368"/>
            <a:chOff x="9229521" y="5640749"/>
            <a:chExt cx="2573847" cy="685368"/>
          </a:xfrm>
        </p:grpSpPr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E91042E5-2FC6-F293-F372-A3F070AB6F72}"/>
                </a:ext>
              </a:extLst>
            </p:cNvPr>
            <p:cNvSpPr/>
            <p:nvPr>
              <p:custDataLst>
                <p:tags r:id="rId18"/>
              </p:custDataLst>
            </p:nvPr>
          </p:nvSpPr>
          <p:spPr bwMode="gray">
            <a:xfrm>
              <a:off x="9229521" y="5978331"/>
              <a:ext cx="2573847" cy="347786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900" i="1">
                  <a:solidFill>
                    <a:schemeClr val="tx1"/>
                  </a:solidFill>
                  <a:latin typeface="Arial"/>
                </a:rPr>
                <a:t>Business Dev. Representative, Sales Manager, Account Manager, etc.</a:t>
              </a:r>
              <a:endParaRPr kumimoji="0" lang="en-US" sz="900" b="0" i="1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74" name="btfpQuoteBox867437">
              <a:extLst>
                <a:ext uri="{FF2B5EF4-FFF2-40B4-BE49-F238E27FC236}">
                  <a16:creationId xmlns:a16="http://schemas.microsoft.com/office/drawing/2014/main" id="{468B53FB-4B19-8987-EBEA-488F25B48763}"/>
                </a:ext>
              </a:extLst>
            </p:cNvPr>
            <p:cNvSpPr txBox="1"/>
            <p:nvPr>
              <p:custDataLst>
                <p:tags r:id="rId19"/>
              </p:custDataLst>
            </p:nvPr>
          </p:nvSpPr>
          <p:spPr bwMode="gray">
            <a:xfrm>
              <a:off x="9716157" y="5696865"/>
              <a:ext cx="1981374" cy="257442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FFFFFF"/>
              </a:solidFill>
              <a:prstDash val="solid"/>
            </a:ln>
          </p:spPr>
          <p:txBody>
            <a:bodyPr vert="horz" wrap="square" lIns="36036" tIns="36036" rIns="36036" bIns="36036" rtlCol="0" anchor="t">
              <a:spAutoFit/>
            </a:bodyPr>
            <a:lstStyle/>
            <a:p>
              <a:pPr marL="60325" lvl="0" indent="-60325">
                <a:spcBef>
                  <a:spcPts val="600"/>
                </a:spcBef>
                <a:buNone/>
                <a:defRPr/>
              </a:pPr>
              <a:r>
                <a:rPr lang="en-US" sz="1200" b="1">
                  <a:solidFill>
                    <a:srgbClr val="5C5C5C"/>
                  </a:solidFill>
                </a:rPr>
                <a:t>Sales</a:t>
              </a:r>
            </a:p>
          </p:txBody>
        </p:sp>
        <p:sp>
          <p:nvSpPr>
            <p:cNvPr id="75" name="Rounded Rectangle 7">
              <a:extLst>
                <a:ext uri="{FF2B5EF4-FFF2-40B4-BE49-F238E27FC236}">
                  <a16:creationId xmlns:a16="http://schemas.microsoft.com/office/drawing/2014/main" id="{D14554BA-0E16-3F50-386B-BC5F63F34A1F}"/>
                </a:ext>
              </a:extLst>
            </p:cNvPr>
            <p:cNvSpPr/>
            <p:nvPr>
              <p:custDataLst>
                <p:tags r:id="rId20"/>
              </p:custDataLst>
            </p:nvPr>
          </p:nvSpPr>
          <p:spPr bwMode="gray">
            <a:xfrm>
              <a:off x="9259980" y="5640749"/>
              <a:ext cx="410510" cy="347786"/>
            </a:xfrm>
            <a:custGeom>
              <a:avLst/>
              <a:gdLst>
                <a:gd name="connsiteX0" fmla="*/ 665548 w 795234"/>
                <a:gd name="connsiteY0" fmla="*/ 778101 h 778101"/>
                <a:gd name="connsiteX1" fmla="*/ 129686 w 795234"/>
                <a:gd name="connsiteY1" fmla="*/ 778101 h 778101"/>
                <a:gd name="connsiteX2" fmla="*/ 0 w 795234"/>
                <a:gd name="connsiteY2" fmla="*/ 648415 h 778101"/>
                <a:gd name="connsiteX3" fmla="*/ 0 w 795234"/>
                <a:gd name="connsiteY3" fmla="*/ 129686 h 778101"/>
                <a:gd name="connsiteX4" fmla="*/ 129686 w 795234"/>
                <a:gd name="connsiteY4" fmla="*/ 0 h 778101"/>
                <a:gd name="connsiteX5" fmla="*/ 665548 w 795234"/>
                <a:gd name="connsiteY5" fmla="*/ 0 h 778101"/>
                <a:gd name="connsiteX6" fmla="*/ 795234 w 795234"/>
                <a:gd name="connsiteY6" fmla="*/ 129686 h 778101"/>
                <a:gd name="connsiteX7" fmla="*/ 788986 w 795234"/>
                <a:gd name="connsiteY7" fmla="*/ 474662 h 778101"/>
                <a:gd name="connsiteX8" fmla="*/ 795234 w 795234"/>
                <a:gd name="connsiteY8" fmla="*/ 648415 h 778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5234" h="778101">
                  <a:moveTo>
                    <a:pt x="665548" y="778101"/>
                  </a:moveTo>
                  <a:lnTo>
                    <a:pt x="129686" y="778101"/>
                  </a:lnTo>
                  <a:cubicBezTo>
                    <a:pt x="58062" y="778101"/>
                    <a:pt x="0" y="720039"/>
                    <a:pt x="0" y="648415"/>
                  </a:cubicBezTo>
                  <a:lnTo>
                    <a:pt x="0" y="129686"/>
                  </a:lnTo>
                  <a:cubicBezTo>
                    <a:pt x="0" y="58062"/>
                    <a:pt x="58062" y="0"/>
                    <a:pt x="129686" y="0"/>
                  </a:cubicBezTo>
                  <a:lnTo>
                    <a:pt x="665548" y="0"/>
                  </a:lnTo>
                  <a:cubicBezTo>
                    <a:pt x="737172" y="0"/>
                    <a:pt x="795234" y="58062"/>
                    <a:pt x="795234" y="129686"/>
                  </a:cubicBezTo>
                  <a:lnTo>
                    <a:pt x="788986" y="474662"/>
                  </a:lnTo>
                </a:path>
              </a:pathLst>
            </a:custGeom>
            <a:solidFill>
              <a:schemeClr val="bg1"/>
            </a:solidFill>
            <a:ln w="9525" cap="flat" cmpd="sng" algn="ctr">
              <a:solidFill>
                <a:srgbClr val="858585"/>
              </a:solidFill>
              <a:prstDash val="sysDot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08571E61-905C-6333-4F53-DBB4E9163FB4}"/>
                </a:ext>
              </a:extLst>
            </p:cNvPr>
            <p:cNvCxnSpPr>
              <a:cxnSpLocks/>
            </p:cNvCxnSpPr>
            <p:nvPr>
              <p:custDataLst>
                <p:tags r:id="rId21"/>
              </p:custDataLst>
            </p:nvPr>
          </p:nvCxnSpPr>
          <p:spPr bwMode="gray">
            <a:xfrm>
              <a:off x="9259984" y="5988163"/>
              <a:ext cx="2509227" cy="0"/>
            </a:xfrm>
            <a:prstGeom prst="line">
              <a:avLst/>
            </a:prstGeom>
            <a:ln>
              <a:headEnd type="none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7" name="Rounded Rectangle 84">
              <a:extLst>
                <a:ext uri="{FF2B5EF4-FFF2-40B4-BE49-F238E27FC236}">
                  <a16:creationId xmlns:a16="http://schemas.microsoft.com/office/drawing/2014/main" id="{4936C56B-0779-A96C-92F9-823B400368DA}"/>
                </a:ext>
              </a:extLst>
            </p:cNvPr>
            <p:cNvSpPr/>
            <p:nvPr>
              <p:custDataLst>
                <p:tags r:id="rId22"/>
              </p:custDataLst>
            </p:nvPr>
          </p:nvSpPr>
          <p:spPr bwMode="gray">
            <a:xfrm>
              <a:off x="9291379" y="5673016"/>
              <a:ext cx="352056" cy="286550"/>
            </a:xfrm>
            <a:prstGeom prst="roundRect">
              <a:avLst/>
            </a:pr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78" name="Group 77">
            <a:extLst>
              <a:ext uri="{FF2B5EF4-FFF2-40B4-BE49-F238E27FC236}">
                <a16:creationId xmlns:a16="http://schemas.microsoft.com/office/drawing/2014/main" id="{A1A05DF5-84D9-82CD-0D98-3B4FD52BDD2F}"/>
              </a:ext>
            </a:extLst>
          </p:cNvPr>
          <p:cNvGrpSpPr/>
          <p:nvPr/>
        </p:nvGrpSpPr>
        <p:grpSpPr>
          <a:xfrm>
            <a:off x="9596928" y="3655480"/>
            <a:ext cx="2221880" cy="685368"/>
            <a:chOff x="9229522" y="5640749"/>
            <a:chExt cx="2573847" cy="685368"/>
          </a:xfrm>
        </p:grpSpPr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449FB099-2793-359D-C2F6-FFA1FC4BCCD8}"/>
                </a:ext>
              </a:extLst>
            </p:cNvPr>
            <p:cNvSpPr/>
            <p:nvPr>
              <p:custDataLst>
                <p:tags r:id="rId13"/>
              </p:custDataLst>
            </p:nvPr>
          </p:nvSpPr>
          <p:spPr bwMode="gray">
            <a:xfrm>
              <a:off x="9229522" y="5978331"/>
              <a:ext cx="2573847" cy="347786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1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</a:rPr>
                <a:t>Implement.</a:t>
              </a:r>
              <a:r>
                <a:rPr lang="en-US" sz="900" i="1">
                  <a:solidFill>
                    <a:schemeClr val="tx1"/>
                  </a:solidFill>
                  <a:latin typeface="Arial"/>
                </a:rPr>
                <a:t> /</a:t>
              </a:r>
              <a:r>
                <a:rPr kumimoji="0" lang="en-US" sz="900" b="0" i="1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</a:rPr>
                <a:t> Solutions Consultant, Project Manager, Operations Specialist, etc. </a:t>
              </a:r>
            </a:p>
          </p:txBody>
        </p:sp>
        <p:sp>
          <p:nvSpPr>
            <p:cNvPr id="80" name="btfpQuoteBox867437">
              <a:extLst>
                <a:ext uri="{FF2B5EF4-FFF2-40B4-BE49-F238E27FC236}">
                  <a16:creationId xmlns:a16="http://schemas.microsoft.com/office/drawing/2014/main" id="{2F10D3B6-8B4F-9A13-731A-79DAC5EB89FC}"/>
                </a:ext>
              </a:extLst>
            </p:cNvPr>
            <p:cNvSpPr txBox="1"/>
            <p:nvPr>
              <p:custDataLst>
                <p:tags r:id="rId14"/>
              </p:custDataLst>
            </p:nvPr>
          </p:nvSpPr>
          <p:spPr bwMode="gray">
            <a:xfrm>
              <a:off x="9716157" y="5696865"/>
              <a:ext cx="1981374" cy="257442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FFFFFF"/>
              </a:solidFill>
              <a:prstDash val="solid"/>
            </a:ln>
          </p:spPr>
          <p:txBody>
            <a:bodyPr vert="horz" wrap="square" lIns="36036" tIns="36036" rIns="36036" bIns="36036" rtlCol="0" anchor="t">
              <a:spAutoFit/>
            </a:bodyPr>
            <a:lstStyle/>
            <a:p>
              <a:pPr marL="60325" lvl="0" indent="-60325">
                <a:spcBef>
                  <a:spcPts val="600"/>
                </a:spcBef>
                <a:buNone/>
                <a:defRPr/>
              </a:pPr>
              <a:r>
                <a:rPr lang="en-US" sz="1200" b="1">
                  <a:solidFill>
                    <a:srgbClr val="858585"/>
                  </a:solidFill>
                </a:rPr>
                <a:t>Operations</a:t>
              </a:r>
            </a:p>
          </p:txBody>
        </p:sp>
        <p:sp>
          <p:nvSpPr>
            <p:cNvPr id="81" name="Rounded Rectangle 7">
              <a:extLst>
                <a:ext uri="{FF2B5EF4-FFF2-40B4-BE49-F238E27FC236}">
                  <a16:creationId xmlns:a16="http://schemas.microsoft.com/office/drawing/2014/main" id="{2F34B547-8787-07C3-2517-E3C7BDBA4B5A}"/>
                </a:ext>
              </a:extLst>
            </p:cNvPr>
            <p:cNvSpPr/>
            <p:nvPr>
              <p:custDataLst>
                <p:tags r:id="rId15"/>
              </p:custDataLst>
            </p:nvPr>
          </p:nvSpPr>
          <p:spPr bwMode="gray">
            <a:xfrm>
              <a:off x="9259980" y="5640749"/>
              <a:ext cx="410510" cy="347786"/>
            </a:xfrm>
            <a:custGeom>
              <a:avLst/>
              <a:gdLst>
                <a:gd name="connsiteX0" fmla="*/ 665548 w 795234"/>
                <a:gd name="connsiteY0" fmla="*/ 778101 h 778101"/>
                <a:gd name="connsiteX1" fmla="*/ 129686 w 795234"/>
                <a:gd name="connsiteY1" fmla="*/ 778101 h 778101"/>
                <a:gd name="connsiteX2" fmla="*/ 0 w 795234"/>
                <a:gd name="connsiteY2" fmla="*/ 648415 h 778101"/>
                <a:gd name="connsiteX3" fmla="*/ 0 w 795234"/>
                <a:gd name="connsiteY3" fmla="*/ 129686 h 778101"/>
                <a:gd name="connsiteX4" fmla="*/ 129686 w 795234"/>
                <a:gd name="connsiteY4" fmla="*/ 0 h 778101"/>
                <a:gd name="connsiteX5" fmla="*/ 665548 w 795234"/>
                <a:gd name="connsiteY5" fmla="*/ 0 h 778101"/>
                <a:gd name="connsiteX6" fmla="*/ 795234 w 795234"/>
                <a:gd name="connsiteY6" fmla="*/ 129686 h 778101"/>
                <a:gd name="connsiteX7" fmla="*/ 788986 w 795234"/>
                <a:gd name="connsiteY7" fmla="*/ 474662 h 778101"/>
                <a:gd name="connsiteX8" fmla="*/ 795234 w 795234"/>
                <a:gd name="connsiteY8" fmla="*/ 648415 h 778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5234" h="778101">
                  <a:moveTo>
                    <a:pt x="665548" y="778101"/>
                  </a:moveTo>
                  <a:lnTo>
                    <a:pt x="129686" y="778101"/>
                  </a:lnTo>
                  <a:cubicBezTo>
                    <a:pt x="58062" y="778101"/>
                    <a:pt x="0" y="720039"/>
                    <a:pt x="0" y="648415"/>
                  </a:cubicBezTo>
                  <a:lnTo>
                    <a:pt x="0" y="129686"/>
                  </a:lnTo>
                  <a:cubicBezTo>
                    <a:pt x="0" y="58062"/>
                    <a:pt x="58062" y="0"/>
                    <a:pt x="129686" y="0"/>
                  </a:cubicBezTo>
                  <a:lnTo>
                    <a:pt x="665548" y="0"/>
                  </a:lnTo>
                  <a:cubicBezTo>
                    <a:pt x="737172" y="0"/>
                    <a:pt x="795234" y="58062"/>
                    <a:pt x="795234" y="129686"/>
                  </a:cubicBezTo>
                  <a:lnTo>
                    <a:pt x="788986" y="474662"/>
                  </a:lnTo>
                </a:path>
              </a:pathLst>
            </a:custGeom>
            <a:solidFill>
              <a:schemeClr val="bg1"/>
            </a:solidFill>
            <a:ln w="9525" cap="flat" cmpd="sng" algn="ctr">
              <a:solidFill>
                <a:srgbClr val="858585"/>
              </a:solidFill>
              <a:prstDash val="sysDot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82" name="Straight Connector 81">
              <a:extLst>
                <a:ext uri="{FF2B5EF4-FFF2-40B4-BE49-F238E27FC236}">
                  <a16:creationId xmlns:a16="http://schemas.microsoft.com/office/drawing/2014/main" id="{113174FE-8C4C-850C-5D40-08992CCA76C5}"/>
                </a:ext>
              </a:extLst>
            </p:cNvPr>
            <p:cNvCxnSpPr>
              <a:cxnSpLocks/>
            </p:cNvCxnSpPr>
            <p:nvPr>
              <p:custDataLst>
                <p:tags r:id="rId16"/>
              </p:custDataLst>
            </p:nvPr>
          </p:nvCxnSpPr>
          <p:spPr bwMode="gray">
            <a:xfrm>
              <a:off x="9259984" y="5988163"/>
              <a:ext cx="2509227" cy="0"/>
            </a:xfrm>
            <a:prstGeom prst="line">
              <a:avLst/>
            </a:prstGeom>
            <a:ln>
              <a:headEnd type="none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3" name="Rounded Rectangle 84">
              <a:extLst>
                <a:ext uri="{FF2B5EF4-FFF2-40B4-BE49-F238E27FC236}">
                  <a16:creationId xmlns:a16="http://schemas.microsoft.com/office/drawing/2014/main" id="{9793A2A4-69A5-FACE-D157-D383D8CF8137}"/>
                </a:ext>
              </a:extLst>
            </p:cNvPr>
            <p:cNvSpPr/>
            <p:nvPr>
              <p:custDataLst>
                <p:tags r:id="rId17"/>
              </p:custDataLst>
            </p:nvPr>
          </p:nvSpPr>
          <p:spPr bwMode="gray">
            <a:xfrm>
              <a:off x="9291379" y="5673016"/>
              <a:ext cx="352056" cy="286550"/>
            </a:xfrm>
            <a:prstGeom prst="roundRect">
              <a:avLst/>
            </a:prstGeom>
            <a:solidFill>
              <a:srgbClr val="858585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pic>
        <p:nvPicPr>
          <p:cNvPr id="139" name="Picture 138">
            <a:extLst>
              <a:ext uri="{FF2B5EF4-FFF2-40B4-BE49-F238E27FC236}">
                <a16:creationId xmlns:a16="http://schemas.microsoft.com/office/drawing/2014/main" id="{7E9A0CC6-9D6B-9501-7765-B18C8F3B52DA}"/>
              </a:ext>
            </a:extLst>
          </p:cNvPr>
          <p:cNvPicPr>
            <a:picLocks noChangeAspect="1"/>
          </p:cNvPicPr>
          <p:nvPr/>
        </p:nvPicPr>
        <p:blipFill>
          <a:blip r:embed="rId41"/>
          <a:stretch>
            <a:fillRect/>
          </a:stretch>
        </p:blipFill>
        <p:spPr>
          <a:xfrm>
            <a:off x="9694968" y="4435159"/>
            <a:ext cx="223357" cy="258739"/>
          </a:xfrm>
          <a:prstGeom prst="rect">
            <a:avLst/>
          </a:prstGeom>
        </p:spPr>
      </p:pic>
      <p:sp>
        <p:nvSpPr>
          <p:cNvPr id="47" name="Rectangle 46">
            <a:extLst>
              <a:ext uri="{FF2B5EF4-FFF2-40B4-BE49-F238E27FC236}">
                <a16:creationId xmlns:a16="http://schemas.microsoft.com/office/drawing/2014/main" id="{56D021ED-BFE1-8F27-B79B-FEB8A619236E}"/>
              </a:ext>
            </a:extLst>
          </p:cNvPr>
          <p:cNvSpPr/>
          <p:nvPr/>
        </p:nvSpPr>
        <p:spPr bwMode="gray">
          <a:xfrm>
            <a:off x="854507" y="2124809"/>
            <a:ext cx="1564629" cy="4138710"/>
          </a:xfrm>
          <a:prstGeom prst="rect">
            <a:avLst/>
          </a:prstGeom>
          <a:noFill/>
          <a:ln w="12700">
            <a:solidFill>
              <a:schemeClr val="accent3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chemeClr val="tx1"/>
              </a:solidFill>
            </a:endParaRPr>
          </a:p>
        </p:txBody>
      </p:sp>
      <p:pic>
        <p:nvPicPr>
          <p:cNvPr id="49" name="Picture 48">
            <a:extLst>
              <a:ext uri="{FF2B5EF4-FFF2-40B4-BE49-F238E27FC236}">
                <a16:creationId xmlns:a16="http://schemas.microsoft.com/office/drawing/2014/main" id="{664E885E-99F3-9719-6B5C-978D9C76230B}"/>
              </a:ext>
            </a:extLst>
          </p:cNvPr>
          <p:cNvPicPr>
            <a:picLocks noChangeAspect="1"/>
          </p:cNvPicPr>
          <p:nvPr/>
        </p:nvPicPr>
        <p:blipFill>
          <a:blip r:embed="rId42"/>
          <a:stretch>
            <a:fillRect/>
          </a:stretch>
        </p:blipFill>
        <p:spPr>
          <a:xfrm>
            <a:off x="10646654" y="6191366"/>
            <a:ext cx="1261892" cy="353608"/>
          </a:xfrm>
          <a:prstGeom prst="rect">
            <a:avLst/>
          </a:prstGeom>
        </p:spPr>
      </p:pic>
      <p:grpSp>
        <p:nvGrpSpPr>
          <p:cNvPr id="23" name="Group 22">
            <a:extLst>
              <a:ext uri="{FF2B5EF4-FFF2-40B4-BE49-F238E27FC236}">
                <a16:creationId xmlns:a16="http://schemas.microsoft.com/office/drawing/2014/main" id="{2165B0BE-ED70-7202-346F-6606D3BABE7F}"/>
              </a:ext>
            </a:extLst>
          </p:cNvPr>
          <p:cNvGrpSpPr/>
          <p:nvPr/>
        </p:nvGrpSpPr>
        <p:grpSpPr>
          <a:xfrm>
            <a:off x="9594579" y="2879406"/>
            <a:ext cx="2221880" cy="685368"/>
            <a:chOff x="9229521" y="5640749"/>
            <a:chExt cx="2573847" cy="685368"/>
          </a:xfrm>
        </p:grpSpPr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D5B91CD4-3861-666F-D2AE-B3EB2D316AFC}"/>
                </a:ext>
              </a:extLst>
            </p:cNvPr>
            <p:cNvSpPr/>
            <p:nvPr>
              <p:custDataLst>
                <p:tags r:id="rId8"/>
              </p:custDataLst>
            </p:nvPr>
          </p:nvSpPr>
          <p:spPr bwMode="gray">
            <a:xfrm>
              <a:off x="9229521" y="5978331"/>
              <a:ext cx="2573847" cy="347786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1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</a:rPr>
                <a:t>Executive Assistant, Office Manager, </a:t>
              </a:r>
              <a:r>
                <a:rPr lang="en-US" sz="900" i="1">
                  <a:solidFill>
                    <a:schemeClr val="tx1"/>
                  </a:solidFill>
                  <a:latin typeface="Arial"/>
                </a:rPr>
                <a:t>HR Analyst, Accountant,</a:t>
              </a:r>
              <a:r>
                <a:rPr kumimoji="0" lang="en-US" sz="900" b="0" i="1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</a:rPr>
                <a:t> etc.</a:t>
              </a:r>
            </a:p>
          </p:txBody>
        </p:sp>
        <p:sp>
          <p:nvSpPr>
            <p:cNvPr id="25" name="btfpQuoteBox867437">
              <a:extLst>
                <a:ext uri="{FF2B5EF4-FFF2-40B4-BE49-F238E27FC236}">
                  <a16:creationId xmlns:a16="http://schemas.microsoft.com/office/drawing/2014/main" id="{3596B5DF-A3C4-1442-3833-2C6EE78AE347}"/>
                </a:ext>
              </a:extLst>
            </p:cNvPr>
            <p:cNvSpPr txBox="1"/>
            <p:nvPr>
              <p:custDataLst>
                <p:tags r:id="rId9"/>
              </p:custDataLst>
            </p:nvPr>
          </p:nvSpPr>
          <p:spPr bwMode="gray">
            <a:xfrm>
              <a:off x="9716157" y="5696865"/>
              <a:ext cx="1981374" cy="257442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FFFFFF"/>
              </a:solidFill>
              <a:prstDash val="solid"/>
            </a:ln>
          </p:spPr>
          <p:txBody>
            <a:bodyPr vert="horz" wrap="square" lIns="36036" tIns="36036" rIns="36036" bIns="36036" rtlCol="0" anchor="t">
              <a:spAutoFit/>
            </a:bodyPr>
            <a:lstStyle/>
            <a:p>
              <a:pPr marL="60325" lvl="0" indent="-60325">
                <a:spcBef>
                  <a:spcPts val="600"/>
                </a:spcBef>
                <a:buNone/>
                <a:defRPr/>
              </a:pPr>
              <a:r>
                <a:rPr lang="en-US" sz="1200" b="1">
                  <a:solidFill>
                    <a:srgbClr val="B4B4B4"/>
                  </a:solidFill>
                </a:rPr>
                <a:t>Support Functions</a:t>
              </a:r>
            </a:p>
          </p:txBody>
        </p:sp>
        <p:sp>
          <p:nvSpPr>
            <p:cNvPr id="26" name="Rounded Rectangle 7">
              <a:extLst>
                <a:ext uri="{FF2B5EF4-FFF2-40B4-BE49-F238E27FC236}">
                  <a16:creationId xmlns:a16="http://schemas.microsoft.com/office/drawing/2014/main" id="{3F3DD68B-8BDF-DBBC-297A-445248182CFD}"/>
                </a:ext>
              </a:extLst>
            </p:cNvPr>
            <p:cNvSpPr/>
            <p:nvPr>
              <p:custDataLst>
                <p:tags r:id="rId10"/>
              </p:custDataLst>
            </p:nvPr>
          </p:nvSpPr>
          <p:spPr bwMode="gray">
            <a:xfrm>
              <a:off x="9259980" y="5640749"/>
              <a:ext cx="410510" cy="347786"/>
            </a:xfrm>
            <a:custGeom>
              <a:avLst/>
              <a:gdLst>
                <a:gd name="connsiteX0" fmla="*/ 665548 w 795234"/>
                <a:gd name="connsiteY0" fmla="*/ 778101 h 778101"/>
                <a:gd name="connsiteX1" fmla="*/ 129686 w 795234"/>
                <a:gd name="connsiteY1" fmla="*/ 778101 h 778101"/>
                <a:gd name="connsiteX2" fmla="*/ 0 w 795234"/>
                <a:gd name="connsiteY2" fmla="*/ 648415 h 778101"/>
                <a:gd name="connsiteX3" fmla="*/ 0 w 795234"/>
                <a:gd name="connsiteY3" fmla="*/ 129686 h 778101"/>
                <a:gd name="connsiteX4" fmla="*/ 129686 w 795234"/>
                <a:gd name="connsiteY4" fmla="*/ 0 h 778101"/>
                <a:gd name="connsiteX5" fmla="*/ 665548 w 795234"/>
                <a:gd name="connsiteY5" fmla="*/ 0 h 778101"/>
                <a:gd name="connsiteX6" fmla="*/ 795234 w 795234"/>
                <a:gd name="connsiteY6" fmla="*/ 129686 h 778101"/>
                <a:gd name="connsiteX7" fmla="*/ 788986 w 795234"/>
                <a:gd name="connsiteY7" fmla="*/ 474662 h 778101"/>
                <a:gd name="connsiteX8" fmla="*/ 795234 w 795234"/>
                <a:gd name="connsiteY8" fmla="*/ 648415 h 778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5234" h="778101">
                  <a:moveTo>
                    <a:pt x="665548" y="778101"/>
                  </a:moveTo>
                  <a:lnTo>
                    <a:pt x="129686" y="778101"/>
                  </a:lnTo>
                  <a:cubicBezTo>
                    <a:pt x="58062" y="778101"/>
                    <a:pt x="0" y="720039"/>
                    <a:pt x="0" y="648415"/>
                  </a:cubicBezTo>
                  <a:lnTo>
                    <a:pt x="0" y="129686"/>
                  </a:lnTo>
                  <a:cubicBezTo>
                    <a:pt x="0" y="58062"/>
                    <a:pt x="58062" y="0"/>
                    <a:pt x="129686" y="0"/>
                  </a:cubicBezTo>
                  <a:lnTo>
                    <a:pt x="665548" y="0"/>
                  </a:lnTo>
                  <a:cubicBezTo>
                    <a:pt x="737172" y="0"/>
                    <a:pt x="795234" y="58062"/>
                    <a:pt x="795234" y="129686"/>
                  </a:cubicBezTo>
                  <a:lnTo>
                    <a:pt x="788986" y="474662"/>
                  </a:lnTo>
                </a:path>
              </a:pathLst>
            </a:custGeom>
            <a:solidFill>
              <a:schemeClr val="bg1"/>
            </a:solidFill>
            <a:ln w="9525" cap="flat" cmpd="sng" algn="ctr">
              <a:solidFill>
                <a:srgbClr val="858585"/>
              </a:solidFill>
              <a:prstDash val="sysDot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2497A8D8-DB30-3138-68AA-50623E87484D}"/>
                </a:ext>
              </a:extLst>
            </p:cNvPr>
            <p:cNvCxnSpPr>
              <a:cxnSpLocks/>
            </p:cNvCxnSpPr>
            <p:nvPr>
              <p:custDataLst>
                <p:tags r:id="rId11"/>
              </p:custDataLst>
            </p:nvPr>
          </p:nvCxnSpPr>
          <p:spPr bwMode="gray">
            <a:xfrm>
              <a:off x="9259984" y="5988163"/>
              <a:ext cx="2509227" cy="0"/>
            </a:xfrm>
            <a:prstGeom prst="line">
              <a:avLst/>
            </a:prstGeom>
            <a:ln>
              <a:headEnd type="none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Rounded Rectangle 84">
              <a:extLst>
                <a:ext uri="{FF2B5EF4-FFF2-40B4-BE49-F238E27FC236}">
                  <a16:creationId xmlns:a16="http://schemas.microsoft.com/office/drawing/2014/main" id="{1A830401-D1CE-2ECC-D447-18DDF9DFC700}"/>
                </a:ext>
              </a:extLst>
            </p:cNvPr>
            <p:cNvSpPr/>
            <p:nvPr>
              <p:custDataLst>
                <p:tags r:id="rId12"/>
              </p:custDataLst>
            </p:nvPr>
          </p:nvSpPr>
          <p:spPr bwMode="gray">
            <a:xfrm>
              <a:off x="9291379" y="5673016"/>
              <a:ext cx="352056" cy="286550"/>
            </a:xfrm>
            <a:prstGeom prst="roundRect">
              <a:avLst/>
            </a:prstGeom>
            <a:solidFill>
              <a:srgbClr val="B4B4B4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pic>
        <p:nvPicPr>
          <p:cNvPr id="86" name="Picture 85">
            <a:extLst>
              <a:ext uri="{FF2B5EF4-FFF2-40B4-BE49-F238E27FC236}">
                <a16:creationId xmlns:a16="http://schemas.microsoft.com/office/drawing/2014/main" id="{EF77D9B3-6E68-507C-F47D-57DDFDA06670}"/>
              </a:ext>
            </a:extLst>
          </p:cNvPr>
          <p:cNvPicPr>
            <a:picLocks noChangeAspect="1"/>
          </p:cNvPicPr>
          <p:nvPr/>
        </p:nvPicPr>
        <p:blipFill>
          <a:blip r:embed="rId43"/>
          <a:stretch>
            <a:fillRect/>
          </a:stretch>
        </p:blipFill>
        <p:spPr>
          <a:xfrm>
            <a:off x="9676918" y="2311979"/>
            <a:ext cx="242283" cy="242283"/>
          </a:xfrm>
          <a:prstGeom prst="rect">
            <a:avLst/>
          </a:prstGeom>
        </p:spPr>
      </p:pic>
      <p:pic>
        <p:nvPicPr>
          <p:cNvPr id="138" name="Picture 137">
            <a:extLst>
              <a:ext uri="{FF2B5EF4-FFF2-40B4-BE49-F238E27FC236}">
                <a16:creationId xmlns:a16="http://schemas.microsoft.com/office/drawing/2014/main" id="{B390C56F-6F73-A757-775C-7788DBBA4619}"/>
              </a:ext>
            </a:extLst>
          </p:cNvPr>
          <p:cNvPicPr>
            <a:picLocks noChangeAspect="1"/>
          </p:cNvPicPr>
          <p:nvPr/>
        </p:nvPicPr>
        <p:blipFill>
          <a:blip r:embed="rId44"/>
          <a:stretch>
            <a:fillRect/>
          </a:stretch>
        </p:blipFill>
        <p:spPr>
          <a:xfrm>
            <a:off x="9680367" y="3703639"/>
            <a:ext cx="245158" cy="246543"/>
          </a:xfrm>
          <a:prstGeom prst="rect">
            <a:avLst/>
          </a:prstGeom>
        </p:spPr>
      </p:pic>
      <p:pic>
        <p:nvPicPr>
          <p:cNvPr id="170" name="Picture 169">
            <a:extLst>
              <a:ext uri="{FF2B5EF4-FFF2-40B4-BE49-F238E27FC236}">
                <a16:creationId xmlns:a16="http://schemas.microsoft.com/office/drawing/2014/main" id="{20BCB383-927C-4D36-CD3F-DDD99397AFE9}"/>
              </a:ext>
            </a:extLst>
          </p:cNvPr>
          <p:cNvPicPr>
            <a:picLocks noChangeAspect="1"/>
          </p:cNvPicPr>
          <p:nvPr/>
        </p:nvPicPr>
        <p:blipFill>
          <a:blip r:embed="rId45"/>
          <a:stretch>
            <a:fillRect/>
          </a:stretch>
        </p:blipFill>
        <p:spPr>
          <a:xfrm>
            <a:off x="9664626" y="2913164"/>
            <a:ext cx="286909" cy="286909"/>
          </a:xfrm>
          <a:prstGeom prst="rect">
            <a:avLst/>
          </a:prstGeom>
        </p:spPr>
      </p:pic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437186B2-4364-EB72-F976-9F48C1C0628C}"/>
              </a:ext>
            </a:extLst>
          </p:cNvPr>
          <p:cNvSpPr/>
          <p:nvPr/>
        </p:nvSpPr>
        <p:spPr bwMode="gray">
          <a:xfrm>
            <a:off x="10621426" y="808996"/>
            <a:ext cx="1144677" cy="504045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200" dirty="0">
                <a:solidFill>
                  <a:schemeClr val="tx1"/>
                </a:solidFill>
              </a:rPr>
              <a:t>BCN updated 09/13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8504723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3" name="think-cell data - do not delete" hidden="1">
            <a:extLst>
              <a:ext uri="{FF2B5EF4-FFF2-40B4-BE49-F238E27FC236}">
                <a16:creationId xmlns:a16="http://schemas.microsoft.com/office/drawing/2014/main" id="{8C882579-3D22-C274-8C8C-55150391FEE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57967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04" imgH="405" progId="TCLayout.ActiveDocument.1">
                  <p:embed/>
                </p:oleObj>
              </mc:Choice>
              <mc:Fallback>
                <p:oleObj name="think-cell Slide" r:id="rId10" imgW="404" imgH="405" progId="TCLayout.ActiveDocument.1">
                  <p:embed/>
                  <p:pic>
                    <p:nvPicPr>
                      <p:cNvPr id="6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882579-3D22-C274-8C8C-55150391FE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" name="Rectangle 51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aYhHdubK/b9WYMbiqTQFZNRdTaHJ1Coz+gznC5J29/l+uni9WCTqRMIgVGBy5FSCqTCP+Vdrf4pg20L7fH6DBLCUQPEirnQtbpBHNoYBczTAjyI+Q8sdgREG8v3HKj7eJNBIgJSMWMn0emcwEVHj1u6frAMlnit+99IngQn8QIep/Qhr8jUi1LO+/o87oAKNdTM6HxTKJKukgEon8U9FN9MjiMGwBafZuJU+WqCFQVdev7ARK70uXYwiD9qBOT2xEJ53xs00Tf/E5haV1DY5Jejc+G8rXeT0UMHAoqTZdF5PTimqNMQ/u4r2K2rZiVAy65rGTsAipTXkzOj+LqzfpFyxzuHfdAgpd5blrULJEbY3qpdIUzvO77uPOqZui+8jl2i4w1MQet8X1TmBA7JkNXRB+VgpvPoxFbX0IzPPzJ3648wlObgrXOgUvPqc/c1qmfqMtmWuxB0Dnz5Amt3qn+xrbqsThWWtnajRFsODBDg1QMqiRx/ZZjNs1ZguyQI+fPwiuOLtokHGMUTHOCzM0LEQuPamp6ByigqEzDW2JB/vn/ortqdVFlaMvYUWeXvYzhqCj6B0BsDddXNOClCf5lHz6MnXociBqN+65zGfFIiXs5yks9m0ILD6JVOXXTWmoeOTmyZHgHx99fI7o4M+00g5mMv6JqgvcE2RP90PKhxT+QhRRrd0m1HNeufLBmbHQ14XtUgwTL+ZcZdk71bwd1DpIMzhf4/BHP8wPj/hchGuC2qgoZL3VETtbcjdDiY4kDSbD4E0YVp6yCU3N0vAlp8HglrbfD8B5CRmenuHuTdyhOPt9KRL4vY37klc9tbprb7eqy0yX14ZAkaftNCktTUGESww11zzZOJS7OMYUFHx8a4Wa3GFvgDzckQmC2Wmq4CbCnWSy58N2nQE0FU2Kss+M44TZKzHyh1J3q8R/1yEfmv8Ol9wAowoJXSPFE062SG/tAzkDtZVPELcjrt2xH8KBEuGLS/ya3HpOWaTEwLQwnid/t1jem+O32Ee1WXtgxZ146NuOwiL5l1BcKskOE+mrUS6C9ujmHhIoxUpjQlNJBTGYoW50GJnWe49g6wniiIPz/reTNxXDl5k8lsuUOo0VlDMuJT4QhGvRCQ/fI6XysmC/7kPKcTYhLlyiZ9VYZeNhK9gV/BbF5WZ/DtmW4bHpcZMQt99prGr1XI80vNf86u9CnfZV7kxMlAiDmR+zk8MkkiXzEv4Vv6L4uKjxwQlSmzrLe1G+EHcO2zztNhMurfLFekGhAqn9j0XX5B/kJLOABh8s5gfOmN3/bA60EFA+y1tw6zgyDfw3krCyjwrLoB5Dh7Vw9bJH+80ljR9HWxkeEsebhJUIn+8Qb1z2QX2rP4/yaVqlN+cr4NTjU994ifTtBd1vf7XIsybG5LlyohNuWyRb1j9uVXXDWZY95p2A9yKdhLt1gHfNKoP3rnDU7KmaFUaKav5DvhgiQjz7lG3QPr594ox/X/YkV+IPg8xdScoCN/GQdB6YAFusgr6YYqmd0/xxX/+IzffdiUG5nNCBg8m0YI5oBwqroQaWaeFH0iy0nShYZd+sttOcsaHhRFjervPCmR1CjasuoGKhjJrF0xgPiaaOeoEayG4Rp617aHxoP7SOwiH1Es4LeWVllZ5rEPidhX1y81JdrmWFYxfrTkv5Olyf4LgjrqC6UDK+cqkDDfV4eTJblDwLoI6WKbFNEoqiS/UBmUWaFwizhTIZnBDSb8EFweN34efUCd2vh7X9LEbZUbhVur8nl8uV9wLLBmkfJ9/XPmXeienhY0S6bEgTXBs0X8bWw1f6kBmbUhjMz7SFxIPArKYhqgKsO9PHEmxgYqe2GX/0o8qOMNrKM9npBr9gu18Caz7D1UGMzoDACyZ/jsTOsxrbLYSXRljNioDqEaHlbtIFZVRhrGSq80neWgmCJwo4E/UuBeOOEASK7u9mTDEeqp0z7Vw0ZofiNd+fJJQF3+OXz6sCICfm6sAqZ9pXJIY2SNkwdrDXQs8om2d56kZQqKeWtqKSARLz2RXL60qkzspxqC1/r02ytl+mTXkvlxLI49/NXY1CT45UhVcY413rVPhkIEY9Cr3A+TrGJs8/nzWGSkr615m6xBK1sZvF73we7aV8gysb1wLMzPHIZoUGaTd82C2rIK0wrU90ixQzV5oL26F2bmoHpkec+pycnAJKSDjvYWKq51XmylBXUC+wm6kk+qGxP187OptZDdqG1GMy3B0uA34kE/FcTsta6bmmDX8ZS/CIKuBIwIMUzj4xrXm1Yw+66cAHXyDdNuMYze+ISARkrHluXct8zZGmjohi07xEvqDxjr0vebvAPhDya2Az5/axKWbWU7tRBoPtLSUEwCQ3Rh8+eosxSVavAwtBDgimzdKqq2TznFLzPERzZZ6HNL92wOqBsUHuqu9KyTKP9tZR01vP+F1eznaoHpesvRHtjPMuwOf2wFRt6WWbkrGhKqEACsjR9eSydd5lHH+aioEqNmjBdmPK7OV/hFXdUxUj2uEHlyqm/cvcSO/1aHq+q60owuJR1O1Ejf1MXNBrw4w3+xoszkVcd6ZxsSIN7Jc1N/yKDEM1ulj+7Sp8rqkyr9rlNRhcc/UbOJ5MXxcues/SvMbgQUkVliflOdyHSpnhb9KL0rY6LOrnbq8z+tv7Mfbu0uY/EzR+4IXRpmL57RifgqZAs4cZj+gZ6Vwu8lDrtYxLrInaY5L163yJ+ITd6D9DEtwqsMAoPszkz0Ty3sfZ+56G7cRDzG7kvFWiUihjGIEGz/bBKsb2bNg0ordR9pM+UhmNYdgW0McshKBZXYLLRNNQ3UR26cVgwamQliT6iJnPSU91wLOdLMaGKxNsQEpt5aQht3QjE4BG5yz3r06mYGQPKcZLsAVZO4174WWEqVyu2lciLFOT2z7ss3TREkjRFCXFi5RMY6dHFSv+g064+mBjR59O2PIYeki5FQCleX1R7G/3P2JRsz1b1kyEBT/70KuwwLwkozHEtOH4ZtYzCWWihyUeQ/HdhAjmQ7CdX/Shw0IfQLgLRGO1d3ln9NzkceLGzAnzpOou42OcTkUahG4Bfw5pAqcz5M1hZuQG9EfGKMiVy3GLXJLKZk1dfkVvzSCKLJWMb8U5icHBcrpjQqyEd1MELb9KS47PkMYc80eQLZXT2+BxorGrgtHVom0C8NYmo3bWdAFVNpOfABGrhAtUBRFJu6ZMQy+VjOuMclzVgahcjo71y6oxiQMejI1yMPeZ3SwBwpD4euVwl0oEMPSftlPix75TUs2r4A5HAMxk/mRoGE/MGzB/McWN56sPhwsXDHDPPdZ1C7Jc51xV3SpE5RIOTK5G/iYojkWbSnwhFneMR3/AjU3xsHdScw5a75vwyArfHdoryj1IyDGp+TaJRmm1bKjhVUj1JZ2AcFAfhFLQtuoaDCdnatZXVqc1h7K0tjJPRdY7lrNEqAhjTFiyPHTk6DpLoPMVVBOQtvpS93TbRkOrPSn91OtccO2RklwM2UMSRA6BQCr1H85R8Ru7DduBwIGSvBuUG9JCv+90A70rFW7TTNSe4f8dqDg+OoihntJdxyZqRtsxA3oHqRMUOW+jHKdG2KpUjWo3umP5nadgMb7W8zpznq3YCGlWq6E8C9veyo1hrYMehpApZurAOzBBmJjRFQGSmx3fFO8eaaiLFYUSoIgECkRdDrHy7iQ3VDOYgr8lQe83e8MXcgGX2wqfyaCo2WWzwCK9W6UBX+F/RjVze/fy+UmIcPNjg39DKS19JaOOSOoChz+/EK/dWjddM6wzcd9DvXtiVKcmB75rOXy3r7iETQ4J5bhLBUwZ3vnTPkPfSANrjm2YJGUiql1ynilTrw4evsaFfbnaNCTY02Kz6iTBEEwIC3TODrpoEhMJVBSadRbkDeQcWmZ+Y3EdmO6aXKKVplvP3gEBkEBEa82zcHcR+JElabYxhBjuA823IYiHgo+EVbaEfxf/UzxT1LnnInfCwyyJwL29tnC8hNNqa1wSQ+wBwOkHM04w/B86Ar/HFDqE6oOhLsEt9v2vkgzLNL13cymr5e7j9eSlMGDFcjlIjyJyyy3NFFWsWW+4Pv/A/b4wm2uOgYV9c8qcRJNH9uUoHH+kUASkgWDQbBmO95lh0CNNVl942+H4hZGzeGrcPBcl3HlqmNkvb/f3uGig7l6Wrb9esSDxfgKS9+N3cPg8XKJXN8/Om915JhKMWZ0qNoznfnBfEhsh0lfDLhUiTFsdwoNPcdZD6PZcabQ+5NFVfulxmSL4FiksrmyldVMLodwgdw1AdIzQG6nB0Mg1lSILtg6DHe1Mm86gVLWy7Vaft7xD8b1J02O7TwBZ878MjLGEd3cMcuZmgeSLtpGGr9lExzPgk1Dz8uEXE5dOqU+zsxSlb0iwU1echfR7+OIh6C9r5dNu7u+ZfzNJeujrZKibxejZ5E24G0E4ty/T2Z5rz0j8sJEJftXX4mDT5DMDTmNLGBX0bLoRXYxeZPLSKT+ULbcsBUknmZ8qfumuFDR45K0XVhkJAxJKGT/uUA12RQ44bU7riRPpSlDr231wO1uf03S9dv7s1znB+49U0g3/Q72aX5IqhWzly4s5PIlAd38WS79kGtuL/O7cdvPcdNz9e/HaD4/MDNonV5w+nvRjQtBBXfvNzoFO/T7Q+YAA4GHffdWIFuUsOP9nBN2hS6j4cOAEQvNSUAknkRbd/1Z0ZHdldSaP9XZy82OIBVtcBN5TliLE1KyQb+kYe31tHRHKpCaUbRlanWMMY5AZKA2bwsWVDUJ6Rv1EjJrgoYRtNx7SbYKDGFB+BFhyaSu2D8ul1vVunbltJlLwmV6Tt9DPT/p8Gf7kp5CMmi0jaYZ8rYTkZtLlk36w9iAGsEffrha24MzifK0QFYemRsnVDqU05A15MVHlWqZFL1RFinQM4AxeKznJmP3yHfRc9IFjIJ9BDfIvlSMxTbq6oFGKVTlzD6InwZSezbB4L8PN5Z8PxgyE2lmOyb/HtkAYJFjm9D6uqsBMpcNs6sNVwN/CPUPwqR9CXoClJ4r7Ic/lhpxi6qKT/le4zP41QqyMiQibdhjEM/Nmf5c2489JoN2LS8xqgaIqXfq6cfMA5Fjnw/HhNHN149XU+a865L7s50gJenNSIrDlyUB1yd+lISYTur20XT5CdyZl8Lmul/upa3LLGoHj9h9eTCQANiXoo++9hVCuqk7ycSndK+WC+ee3W/UcxAIorJosk6Sisma/5zP8KiueAKqFgB6zTMR96SLctZbqA5mR34GnARw4H0frR++taDe0o1x5VtZxwXLK9ztCLzlyf8igCH63cXhf7eg2M9YenDGgEndbqmNVuPC6xTjVZYrdL10iZWyxSuQtJogiBT3ejDc1/JKxXgIi5kS0kSCdM3/HDJYyb49ReIZ5PFrH2UDZiz/pCizY/YyhCoMaKphIJWoAr2DY2OaPcsvmc9AsL2NXeOqj/hM9xxt5YT2/JnMsq3GI/ovD32UVUeAdJwX1O9m9CERJLxrsMQQ7Uo7Del4z4DIblG/oTRzhYuALibCRiFHeDxCBA5/X1EBQNrIhsKXMec2PSSIRA0jUPzcF75NlzBdh47ViCYd/wOrF5HaeC+8IGqoHmAkSfkMyF0H+HigsmnB0gH9gXOinklmtwDIna4nfqqYGPpxeaWepjP4Y+51vJMoeDgS9cqw1FcZrVf1TEjV+UnkmCVdR7cbY/T/oYEipq2q3u3xbcFXqbHUl5RYnhQVcTTHHnKYDy/NfnPairkFWWh9ijrmeFcDJMlF85lNSbT7UNizxYnkzLLn+ssS7pqVC8674V/2xgEiiABPRkvBEnAHO4IcZ63Zuo9RhNODqqQF25NgC795A+8hY2wSpaeh4Rb54rnm+EKUYvjXYQbnvSu7LENap1PlUid1sfnF42NsmRPTwIRhiV48r8gLJlaHud9FqwOq7o+rIUaCTVV2kB3WM5wnMdDWd8hZHM75Nd9GGXsLA3mvkrvGATpVCTanyxrvM0zYZXdwdBZfw/r3ciO8pIfNBL1rd0KsshBXrRfMWrXGGuS7+9GGYIY9HsBoFIaTtp55CUdSHGKbJhVMiGs8ejWajcMRt1R+TTkuoVN3kLVuBFOlqy30JKcBz/EdgkXQi1gM7TSinlhipko53Pc9IC4Kl9XInhfwh1u+hpLDUjt50Bt1T4FKwXLqdqrPhlInKTDWAncbkGnOHOaa7v3h/XTRMScvPcLVOJpoABw6gDxD6/oPXKomDJPjmRJ0P1RC48FY6l4ca1mODZMWWw6twz278XM8X+TalG2C+eGHJpMoWoEDad0gYxLXvte/1iubXULOwRpAyFlj4+oWE0Eti1hSGVlg4qpr6o7EEFtbwzl8VkiQEHHfZsJ/EbHNgZIQwhB1YKHuQzYlgCqdjjNZDVagA6Bx/j/4i9IS7DOFPskvJEdJz6NtrfbghNjA0DS6sDV3N41KIgAqlxix/GtTHAdwL5Ez0atT2Qg6nCwP5hs6ZFCEgE0P7PPG9zo8TymRfw4dubcvUEU9GcHt7XAUg7N6U5EUgZ9pbgG7BBarUOJbZbwrz/WK/YIpdn9DvvmnsNtAml2B5s705mFMLrHFH5pP+0DBljcwaewqwbig0tAPlLnyrlQ+9gKXXJoOwCoytSlTz9pi/Q5LRcNeqfDOKvkOTAndCBnb2XiJwMlWPOo6LFhoNyaVrBQO7ms7fBaXAcwLtNipkkGIcFGZaC7J8IkI5jR9OBFEDQ1HpN3DZURWrYjzwZLhGOiFdclcNVoy3+vDHuwbm2ztteDrgqVid7kZOesB+MUylGjj1C+bgBHES5VNAc9pIe0OCrCEQ5dnBhqu5TPDN0rZhHSDTXMvHTCUFead8kYaxpI8dSdly6JyotzOeb3ZDM5cAjxt4Bj7X5m9GalzrlubLVEioxABzRwr43UA8mYGhwf+tkyCbZT3UpT0c0yXQtRbYpjbUq1nhAS8NAUk1p6mBNtZkQfXQIi5Zhf9CPJAMLdNludchV1kYXQ9FgyiVe0I7nfoWplfHDJwhPIFvr25HoQ7DhV2b6Dy+Z2gyZ5B4FeUM8ux1zH3EQqhvMEbIXN0Vs253Y+vDhcNjR0thAh16jAhclrPbeeGzAkMPyXhqc06OVLUEAVXJxH2671sZtDpQj0EgIinFL/H5kd/E4osGNzjg9rEebWVu+yEMGL8j5mWMr3nPGc1djl+qLy/Kf1rOjv9oeMF6Af0/rvmY/FskES228a1gsswhxzqqC8TSdFD2aUdFINkbR3JXP1+qAYxGcPKQdjX1I3BHB4yewXAjO0FL3GGkrlcwl0v1RST9poEswpvK0LZ2J+CFTFLE/rvnAxIgPBzU8bhKRWs7xSHV7l6ZD5rLtvYEjo+tQ8h8JrBPBCuXC7USrNFOKtff410aMgF+Z7M8SRttDXf6fcmIX9T4vufeRp3YsL9Bf60hZ+KGGVuQ94jCLkQ/4raAl2n7iDnY6IKoZgwzEgQYuTqobpgZO6Yc1toKv2fo7+rVbaXuxRNihh/cjkFM6sXzY5aLHUrIjExN8NeoGPwoQ/mSgcZxkwvmTSHEMef7B5DWsPRQv65W+Xi0IHzY23AGG8liFlrw/PkBlva9/8+9bKvGCgf+azYVB6eHHaHxD/17n/Jxx1HI8RengYNE3YJrksmhbHHUSKqQYHEwU7h6ust6qd3cj1T6aBmaq3Z7QKwyyrsuKDn3qRAQw5O14nhfId+hSv2m2OiwZpLon3q3bHuym/ACFfbjNBNrXtwzW1et9uhYNxuaDn9CjEtuTT0MkubZQIw7PFMAFKHRrDq7aCv1Ue96Gi8rqVL7aZB7inKgQCFcjpL/XgFOEKjdrFup5l6cjpZzSNum+vIicVvDIeKyZyjLtz5gkQv4EjvjzEMs/7cJw7rexVqMFIARzgAicTry9AFrfqFyUNSoC6+GqGpdcpYSWWrK1yZfmTVIk8DGid05MOXrrMeYRKv+o7cF2t6YN30Qye2eU5ASigJa9Psqc2ngyHcoU2nh1GEmT7k5TH88PT40vbRWYKowqMc9dq7ZQSWTafmJpenOfRzDSVr8fBzylGDKtszXT3r+8L24Tv5RSII1OFGDqWt6H6iUovub59mdNPgGPd1DKZiZ1tTAaY1toHwUzfjxbuo1Yyqgl+HJVdb9WnsOLWKNKqBUS/GcH3S8PZHP764RDl6CIDjmlHJZZXMldfnm/ZghbWoIkGftKGBQv9SvoMOPo/oIEKHImOazrnIfjOGookXaxhYa6KV0SVG8+wqihyG9FO70BspsihMqab3NMYIuV+vuSFvTPe8XkziymXgl6SKlKHqlloHbvWq/mrnJKnGux3MrZsJzfv1Fs/PEE92nVkCkMzKTaXwNNQ1j1YDxsmoJfcW46VJC1ZUusLMEA23HwoAGLA6J0kiOk8RTCPTOlmd+E9gPQC93os25hHkBft1wKuxj3Y+BtTBc09BI9OVmICfvAOuneonwjV+sWghAZjdnv3fAeqI8giRP16S/ls0VvAWuo9jsH/PFFaSEaWo8kx8NrBQ1BnxEqoBXCIC2McvJT9eXTxhlCU8vd7usXfRIgEYO8VyIKusISxTF86hJMGe8apoLnUcP+WnvrCjEVhMIFg57DAk12y7GzWcV45r6tIGZBtUOCssn5mDOz+FXf869575RuzDM65hQf5VbCrdh9Eebypp/Ofb/V6zpQg9zkbW3JxprmD1Xa/j9RxKLw0y8QT9c04XModHWJr78U513lFGiQwR0bn21wrGi9IoBOuGgvS8hCheHlekM4MgMcD5jseyu66mMrC4X1x/W7S6RvDaiRQEV14Y4iTrW6YYIuNTmfY1qKGkluE0qQnee2GV6R7wX5QZJNwNHvUvxQ81cK7FlIgPmMBMjDW3OGc+x3jsHE0jpqgAqTPvtsJE1DJiw754w1C3tqNOBH09nIzf4ElIbFR552ryKlWbbuTAQNNSnImRMkYuVCidc0hmDlcalU9E351XnLOaUNQ23vZsQ+O3i/UeHgQKMmEIExJYUGDC7PmP6Lp27sZrWJOR6mR1W+SvT5fD8QflTEiop0AhmZ38iX793sLZZUxcSVt+JhHvXzwGRJ+kjT7vXn6Qis0OgPMULetDRaXGC048gXf5wsi/5+G2f+RAcF9zR4FkgGQLMHH/OBxzdMVAnWvDJ4JFR9EKWKulnoCbn9Mu2pBfQeFSHyo6EhBYhwG100bFaxsTy3/tod9Nen8i50U4wNXP/SIO/VhFm2t+MnUhoBFDheuxwLJ8PDeybR3GRAySocXMQWdntmTO0EY48tCEV3YjqkNM2+wn9flQVrLGU9fNgbrwrRdSlYiBdqic2F0LvCdz4aL8njDoYkhrxldnYcwzNLB2vAzdi0rtq5DoIB0bnluWy5Vzr7SBLADXKGNZcmVZsP6xDGPT/N/KlX2AQ+Vkxnp/hSqu1OBULc+5NyK67v1cJkh1oFCJP227UwUxx3IRRp3Z0KhL7zD6JWNvRtyRQAjVkIWfz6gD9Km6m2NJv5Z9vWLAmVh+3gtUq8bSQbSfhYJzIMiyibJm+06+UVK8wwWX0RKCpQccwIuJ13T8v+HSYVTFLLL4JMLl+0VwIP0jnkgS0szLYMAViBmpt3jk43RgySEwsao88miGg+laCeQN9UlbmI/AtR2LgERXDfFKFj9zzMnrRF3/WQA8FIZAazkkbQs1CF95I5xq6AZQJlMsczXT38jTOejUsDqM6n+1LgncKgC8GmudkmTE5VFOolJo5vy0yuu1A3bzBYLk0RKXYzIP5b3rWmmYO014rkQ6shP1HKX67CK+/Q663QBeE11K0+A4Ue1Kn+O/xxaHIftxRHTGMbCWSdPgmsq+VYsbl1njcWYAPvMSCAMvebi384uNLaB/ORmjWqcRNQJNSYxrL7wCZZsLNJUhzIopZUp2HKA04/PyYAh77AnmB2F7J2vHgnugSWRfRy3oOv9pfgNymqINA2M+ME2EvRswAj40dqPGf2XJH8rXo/qxB7viAv+R8QkLq+5raUFcCL9SRqmOf73C4yI/TwQSOH/wbSnLD8g7THKXSuonmrLYrRYnrQ6YkUZ+aSEWxUx25xpe5yZNGQcKkjwmBS5vWK2IAbovkNXp0FKM/FfwUayTemEQUk9ekZl4cj7Pm1/5L7BbycSBCex7wXFm35XVR/NY8js8fjYOywMoyr2wx70aCMRz/0RdUWdYqP53LiWiFfR4T1UKTYLHFWjoMomk5JO/Y1h30nAR3dM4RSRpO+8aihUf49onCvriGuPgEYh1pgT2BSPfNmAOl5vUG6FtCOAfX7tfSJOBQzRAkKPJO8/z3WKzKHtZzEZ+dNrKhiPAti2mJ0p42oyaxbcYCyuyvv0Iai4k5CXQqNl2lFAm0QkC2BT7hPI/xrZKh6VYawKA5KoNTz8hyVQvNv8Cj/l8KAqpJ3WAuaWmH1VlFXdw3fCLx8nNaQK99dI/nBU+syYR/6teJJxoYIUp7DzMRa3jfUQfR7VhLHOWjLKoccZ7DbH25HcNhhV4wNFL1bCTbRqpiam86nlkNPJo/uw5s0vAG/GYdJc/WaxMLwxfk6NBUznccme3dDGLJBS2IvZ9ynRejAcXjYDuYhV9fuKGmHxYlEpHJT3hB0usGOHp8Za3VRvU0Igc8DZIdFuGx0vMkOYKiWnC1PZ67ZxBeCUz2wmHbjpTb/q/hURFxov8whdohZh47YHC8tkd4aJvDq5UESnkffYKIiEpLgfTlZRgMFshXLFvv1YrrFP4jwMYzXcVLaeG97X7f/5B1FLKz6y44D7k1gcoPMHhFKQcN3Ekcu4dLQAmFEE5wOaF/4mXoV8noPT5DkON5AyE53E8H1TwJm7rkkzg+h6PWr7wSzZm9g4WzGY31FEjSX/NUGtk7CbjQtWNORZ56Tul0Lki81mXCXmqOPEKi7NXf2JJChgu6UVrUrcNlP9BwCF51Zp89OjBNkFGE+EOfcOSGouK78qoAqgLHisRyeT5qrN0V0lHIq+Q7ad5WHw/k6IlRe0XNL0esK6acJPnMN34RhKSh+ZfZO1WayzCESHMbeDbl4l/WQTw/4m758Z8scBHFRE15zM4OHlGjGwEGS9+gfqO3Cz77nR6Emuf9KL/kG9WJn4qWEIWpOeJADGaNY1xJl6AlxupUOWpKqTEUHD0BE6zCjia3/LSngtn6v75KWSBkBLCPXxo45fn2yi4lFuNdrZ4eOhu6obOGZ0AxjPYSMG55V4DICTEnrxs7gzuBExiPqxuzBOkSTo7odUhD+FLvl2csGE7Ab1LcPZ/rvl5YdjKhuAh749VKzCWrsYpkL8AfIEZd8JwWvw/z+olRQW/6nPQChW1r5yCde2xpLT+xxwEyVjqF9OriJUKrj9wEOBHSpG7K0Oom29DmQwFrSpTrBmbNcN5M/wt3Q5KMuS+cmZMFxFR3oPdEJq6sBvWN0ZFj5MjU+KHbt8s4+CvUONgkIXkpNny/UDmrQSkzAzmKXuaFmTnH0wYKE8c6whjjkAeJo52c0kTPQ5XFnA/vZUTTcZ8sugqoyrW9mpE8eMsfmViq1bqGEOrcEePF3P5qC5gjEzpbwV5hKAD2n0OgQAGJKZRXArNLha+wTFI0mVlny3SdPA+O/fuVbgCpLK394PXbCz4qTSGm++IUU7LLeKm/L5oX+PecXcXpb7GfvyzJx7b4+LTroBpALzOI8zsY5syclvaOoy2MU3y/4dAlZrBEFV0IwS2eM13VA7KECTa51oRJI9yh0kIMAmj7+qF2JcgfoPtmhXIB6GI+I/iVdXxhcY1BeknJ9s1psGxuWiYdF0Tqxb/3MEw3vYWQaROYiFOh30gsECTQJ123GJEA9xp87XZujLrKGPXeWZ3UXFW3DdVzJ1b48UPXcAHgxK5eVufc7Fz0yAUCSQyIrqzz5vOGjxKZYJ03whkifd7Gz7pbM9AD8x1T//m5Yga2Xe4wn7R1SWdOs4pll5V6W71/vivBAjdaOSjxskbIltyVgKsOE50hjT3IuANIdKc11gofgKt7/jr+ySjgh43BVwNM5qo5tToqSceqaV7RWTJezCHyHNdHcMUDKQ0vwkZi4hxcA403hW39SFxrF+v58P7LV0Zc9tzCVx5rU80305l7p5VyQLD/kcqkttqJWhZBTP1yYMwy+vTRCqfFgK0ThEr/YRc7zHC4rYTl6b7L8hvaqW+WjYzk0BeoXLHDsKXjibjIosMTab7qk5tmVLgKblqTkMXOcZ7tQw1Q0JnmLIP9ZXdrhEtfkTH8Zw4ddFQuAWQ3He+AJ54CaPccGZeQFQLwrzGmUb59zv8V4Bt2HlbSBkbraM5DwA1MS/1unZgvREAU90piNfbQuXR7jZAqA+1qkkhahuQrHn57nfcpVHzgRrwHc17TgsciQzWHDj4bM6cOD9Uz6edFpYkKsIJm7DxbHg8gp/j87ck/3hdN3ukCW5dWjPSXwxag8O4HljziS9z1oCq5hdoYUPFckMd581jSpd55l6vPJqD3WATQ+xJYnMhaXSip1LBOedQX1rEsNfZnX3kHmTQpQ5tGasgP/ajXMWvg2pYYD72GX0w1ak9HC6WtPtdTCqVfG+5EWGVp9eYiaHem8ThnpHrs00U9jxRG12w2RJwU2P7wTlY0twSY5X3Kt1qdQYnBlpCceELLV5l7aS0mRK6IDNgK8ipxYiPmFyXlhEyB9DSxmxEU9BnsjzC0xcJEWkore2/sACTMYTrHrcluBFpTVcF/YJz8DuneTwk4kwsNisRCG/QuLZ0DpxFHSz/IEQCXaVAAm3HrpaDOYzNkGhcFKLkPOqeazJv/vnxL1jjLogq6xhL/8yYZsiV9YSXcPcwj6EAYFHChS0y42lpbkFlsExyRXvzXCFI9hh6ms9v7OKsFUrepzUT8VOoVLPi/EWFnMQr6ms/gpLlJdGFAgycH380LEuEOt6l/iWRd7i2T85DgILSx4l9AHWHt0YSv5d21nU7Mc+3u9NimkrQpWwUtkF2DPIzmc1dSQG815TNgHcwQ90/aHLlhVc7Ivki4jXiMiFG5N3cjZNGVZA++12TJ9+KToqlpipcUAnsljp0hgLNHQY11TxAEEa+Xv6GqXwK3hFXsyVSspvOSGEfPa+WHKH1Mx9139CHssDhqQTFXGGVF/jI4p7ooEkddXPJ+E8qDW7OULAZ6JJ/r7Uo2W8yvQXiJflb6NU3DnHUTMjDmM+r0uAsorhABh+4tCtBb5iWZAGLwpUF3eQhWAs/yj1uTA789Aq4bg1A29iLvtBNzg9gXS6wRKFB9fHHJP0thxmHdpPaxfGg5ZgCn96c72e6hzmT6OYzCa6FcdpB79r22zhNCqTHwDs5erhwh3f6+a+ZLwo0jVssueMPdgjDDjs5ucYHLElHyByC32Q+VMej95jjBcxxzsklOkaVJML6eVPaTb7QpdPOItd+TLLZmpMuMNM+H/zp/G85t6CnUOI6sNaxj7LNZnCoGyErY1nJtGmQx7CmxPNtjfxz0SDb1ISwqyAyuOfpP1d2SoabRu3q8HWhe17esTBOojAFbojjHL+BsXI6tzu5Z3X7ykbtDf/33t5XRj6IP+D67j2gw0T/aPWLWveQgwrexxeajCXWCxmwGRNBxP1A5R7nIX+nRjWWZ+zgf98OVMQkU2EgdDukGqtLDKw4H1RxoymWx/XURKiBaP8oyFCKur2OQ7tVoUKkI6I+9gR57gnqA1UOnH2DBWo5uiIFYNMTWEc8KJKGyK29x6Um1jMNBHhqBuplSXfXS5oEInEOqbWj/nteIsDKaJYpbzwFrszBe8Ks/ndVHqJsbYlDaD7loEVXRr7PUjafueaU7qy9yASB0HusA4JMNheTP/pVaHJyfxRWRuvDmjSx3qPisTZ0lagOzVwlyea7dED2qzLiKbkIV6hQikT1J4UMBfrt5j7hg/w3GzT+4iw+yjiy1adhp8R+P6gbV17kPvINUlZQqJKitqWY8nfXK+e0g49lZLG3Nqnx8zUF1wGj3opGLRbqrdpD+myoy3Vm/H98WQfT5rKew5y5V6j/wgpSWB8YuZOWsaYK80BdOHB9jIOR5miv7gad25EYqkMetzD1A2KRnahTr0uaq81BbuetN2FwS64CmB5Mf2p9pZixAnzpgHwkiXAxzVXmEmY3Ov5nwoxtpHZ/lO371k0uOKQZolt4c2zse7cdfP4KeK7wp0AWyhhSMckttulnQTsGG4t9ruNNpC7kIBpHV+ZyFZa+QXAiIoFfJBPw1tSZL+D16J7We9nyAPkHhiwjgb2XYEJHBQu4QTJM1jOPdHDEkDuJ0r7VuCRBdZW91NlzDbuOO7fZLyf56l4WaWcWSM+HlPBmrK4tbSDMlBGPlZE5lHNciONYBAjnvMgWYETzlxzgfyFfnfnKP1EYbR0zfst1oYew+XQTvuO+bdlKHLczlXFAGZhU9TCsJiu+AcosLb+mlh/w4zfoK03szjg1bxKwbU94fPwHH8yH6K0S12b3oXfFmTfWjE25YrKHkc6CjYAAYawxuYYkgouoZtnaw5XMW1Hnj3ZZiLUGs94s+wBB9GmaoQfqB8a9WyHuhLC4k6M9mr6DBX2GasxjmXd7t5flRjspd2AshQKMM7n6iv9oPjRFnVkW9X5BhmJpF7dGgMm6FUkFvngIkLT77l1RrHB702t78R+Lj4euKreDC7Zml6mGrksv3RHckCDnrPWy2EpY95y0vsLwF/5doyH3Bf+RPR7BUooNR+FYPQ+rdnZANRV9EVWPSWhQ1b3KTUlQyJxgUfKRs6ltB2NEzwtoDa4MjQPsJDSbg4hS16Nl1wzNG1WyjYjdmzOnyaSRcc3+NFU7I6dBqmInA9THHKNgxubXEYnTEbYoUxbWP1ZeDSvr5RL3g1U0OsOAkAVtgv/gZdlbfDHPNjYLSsuhlQgo/LgRnIzSdbN/LA6qkk/kuYt8HxHdZhEmy+vf+/WwhyWcPGVjup7Bb3TFfz9IFqnmm6QBrGDuI1u4f8lmXkSHKxvpCYH47wSdwGot/jPsKNF4hs6wVdFJQSuIafzeFwixhqm6oRjJaDyXKJtMnqH93j1WosCP2oTfJdO2tnGZ2yHrmpxLXGvzUEI3r85HfyHLP8DRX4Wrzl5jKhZegDa8ob1Cs8hEkWiErp8uod7dT0RxNEfePxBLgF1YbjKbLBgih7+K5JcuQDYGLo4+EOwCRnOhjLkvRAr9hKqyzFqBs5/G3oQYSAOZqNdM4ruDarbTIxaWN/cEouqbYeoLol5GUBDVQ5knKsq94ngXaqXp7CmT6e96Fr93EgG10uugK8dc4mh6f6qOHeFrZA51k8k27WxhD5TZPO5mOSZda3agkSjFXoObZDjtkHaWkbzMybBbCt6Vao8lW0qXDN6UBC2lQUWpwqzGuB4Jg9j9AeXhbUndJg+mV+X3DfyY5RsWKlWrrMnziJyrUjehdCYjAycduTKWD2khO1rVX4JA2XeLrKLUfeGx/EDQwGSZYSV9v0YcgS4WRyPx7cZugfVuuRlYZ7x+n5k+UZuz7ofgxEVq+Uk1/iXrFkbQpzscb47Iibx84A32gOLPCtRAX+HiinRJSjXA63QJ9MtPn/qJ3hcWftVlTo1i5F4IXr/QMgkmkvxlxhDKxsm8OCi0D81Gl7vWYumvS8NxrMrxu4hwho5ac+t6VxPf1LyPWKfeOi90uPsjBJsgHu9aAambjt8kU5URZYBaXP+VY3rapvHsRqCZBEm5Sp7ZrP9qg8YjBougKvYaXTmz8XceEp2GN8oH29hwxTUybftch+Qb7VJ8yWqAtaM3DWysu0XISeWqh3JUp/kCVaUt0vjg3aeGTEq7hvKZ7hiPznd+X2Pp2nUjCfHx17hl4AQdn0FcNOY4lZCLRPjJAjTbBBbait90i0fEfgFXBLN9pwiK+Ii/zo2pJsjVfKRGF1kHCE5Q5SpBvt4GLziNHscW3ufsfOdcz066nhz/umH9lQRHMvhr0NVua9WvmZT/3Iu5KQzQIniUp14cU7OUBVUDahVO+MCeEsS3qVx05U30Vm8VB4tmVeoeeggbIzyVszYgfU8Uj88Kbzj0eaJDZYggtt0D6yFbR3hkYjLUZSsqHzc6KnMWe4Ud83uUrL7OjNj+/vGdV82LRQrEmlF7RvW4pzEga7f3VaJYMDWsKqTUJbXWh44RgfWSxaFyQPqB7cOofWfrydKCcMoUnTALfuS2/4maXk6Z8+HI4q4U6wSkmwyAk0kp686vc8rXz02eVLFAnZjZt3C1IPMx4eFxzm2HP5juAKdkQeWPdIlWjuZ8TkXDjtfMwbYUZQQwDqiZmujlVP6ohOBX/xK3n0+wR98TeRYUUSfsOXcH/Z++Q6PQ1C4SuV2+gAG1/gelv6wR0SlxaMSKseNVRnbmTPTJ+lWefXIXlb46fxP6w7iQb9Yoj5GGjZyBUB5vMhuNotCYnAuZxp6q+9amVG4lf1czc6ekTMIQlQfXhfgjYqpeXV4OctlG9AwVcs75zozE+IlT1BZ14n7JI9ATLh7mGTM5cf+7mo9rCiU/AibzQYssYNgoYhKsGGQlB1kytezIKZ9airFmIlI1HF4DcU5qLaN4eujv303NEBbGss0SNEu04O6gPmTW3QNQzzKPzWeuaPf/vJwYIGPnBZsqNPmv3hFx7+9VBGuFN/ICJQiNTuycKVrOZ//lMUv5jyHCDi15r28rALG62dr+GwMC2/YhGVgBMFwqhlP0M9r61b58t57SyfdozKzoYeHWhMQ9iSbjJQCAxDL8PU/XRyC3hfFUNg68371p2qxZr/gV0yE5vaflll7/Rv6w8GYKVlTJN9UvOtyOfJX2/n267lWp/fnjrTsMWbCIDrEOLex93j4MNX6vWratImY/Tc3+nY7BJp/DCNgMXenlVPPo8MFq2VrU2/HbhBJafJ5XB4iguaL7tVKYXS2IqV+YGh1tJhUmmVfBzVyei8vHjFBXR/XZN7hUpYdpvIAxTH6aj8mfYbI2+/na2ohLbTv8XIDQs9hZaMi3fwWAt5Xr3EFGNiRCZr7PxR+QkFj8mD3zyYV8qw7m4Rwf6W9PZUFKUbOqFB56twrFu1I2r/OlxzkbEt6EHz0bVveCx8BZBVpQYzIbLs7g9GUCXblMKOuTRIklPq6A7VN/mOUgAV18THzNlaPtG/R2k3tzBsBpCFwFLrp3dpYYd97ZM5agQF+JpDPpeGrgxE9AiCVbVi6E2VMHhsM+kRivS9URehYVYZGPSnW6vRwjM/XBvjEAiiBEyCwudjwp7biB4htDAUj1iE4SKOVd2sQuGpu97KvHHazzgGEWSeAaIsZI4Wk/w1KPs8CIH/b/abkXV6JL6OScCBrQHvhsnGy3huY+WcdcKkVoWU0vLD++CCAlh/BwWnTqe6BjtCQgcgBaUjGPs2BK9Oyz5NpA5qb1j2C2DIAijRKkJe6KUBMi+VjxLUgOGp/7GWN3udGEB1LzyHm0RoadzN8gfHpb/Y9dEmp7IglJBZQ/GZz74zPP4JaHv+s/85WyY75vjvzoQg6F0vGwbOMSbah56pTBdSyrkEVYaoqX+z9QGUALFjefXACxrIskEL0rm/paUOddXrWJVBNGUrIpGe//+2opqgkqd5SzzZQOPear06aY6NmIyZqwxQNz842Y6IC+tJn1+1Vb88Lnu0I44ikh8SRNrn0IxKR3kyfx9aYIA2netUOdnMRB54deJqeGuiMcIF3xLh0AvVfbbk96QuGZAFbvFJhw2qZXRyZ/p22OdPCP/hH042vFeWPKaSB2hTg2wyGRlnW5NRR4whj0H7pToSpMHvi+VOtm2whMZn492tL+S/ZTK7QQFAkNLmSLoQovN9DeXNi3jCH8Xfo/OU29ETSMRt5biIJbYewHhEqQe/evfY1H17nJ/j7MviuIEnqZitn0Ecs0bvKwtTuWqohAkJe/WZriKSqKo21bbLaEXXr6OVKxjNaOhdgWiKB2ftw7ILTq8piEsoE29tShUF7w4Sc49FsR5p9TuNZ+Ezd+0vmCQR/YDJ3DXB/LNVZelri+6DfNaekriA/7O+hRrEE/+oh6Ji6lHIe6rjCwrhTyMbit1+ae4VDDniDExWpopQOJN96oH/e0ReHSchdUB9PHxyDTQxaUhm6ujHe2s3QR2cBxtwqzXtNrqXOA07k0GGlRqnsK5zLnKl+BUvY9WPpA6fFTb4c4dZpyAJgGmUcHvHBzWjom+P2Ep4+2kkx5ViCmPPPru3fkB7FUC4+gKYcX6baltr318jPXB03LlGz6gIYF3ejfT7NBcHmiK8gU6s5Tf6E3/RDNnGzhxH5Hn+DfWxsM2bCeV5sPck2jyKj4iW2AzOoKowkn2qppWQYJAIoklat2Qx5JZ6h3EJctP6ThLxV49Ca7jBW0pi/OWjF5GxVKyg7iYPOf+unmLsiViSO2p+GRVUyVjxP1XtFfFjnQoV/qw5JJniwJRrNQuLt72QkKtdaG+WB7pSsnyxqkMr7JsXFBa+n+k4oEEpPJNo/VGwpv7g1mMEdIK8eN8vC2kdGsvY2Fo3P4GsIOzTaQ0RDm4GnB/mtreKI/kcc6ihFltB0zTBDvQuktjFfBXpDxmSEjsIRneqHfd5VBXTNMCvnFxAb2+CD3Ofay42oM6+7ytThxnafXGvwgCCFctGE3Yj6wNxnnXCuU1Ug7mCcTXJVuqfWm/I5ebn/LSBfP5E2+DGh/t27i2Gk9deGl9FSKjSq0PZSoWBg2x5a9Mg/ZgnUKi4w1040c6xlOMSpbNkkrgLP8uXabUxwNaNhP/lFw3WANoBvxHgj4+sayd140EjSX2ja229Zweqf0ZomvYbrk6nkmiwNp47vWt7dg6JghSUHD8cHZ9wz06RSu7xg51xLLFoxBO2y+3sMOefOkF9cD4wIntVv1uyWhFpPq9zdf5QEMeThucMdR0DSGcW1SXlvyBnXxuQyE9f2h0i9ogvj3lNv283BMmV8OgrZoE5/ILCn9DMuhOMBP+t1etJG5BfKDP4+mlKdIoPE3V6GVnWWDnxoUktZi1T+aDKS8vh+m6pGrlaLWvHrB8p+entBhRtCOv3/ibKuhvowimy4oExGpiwY4A4HK0rgFTBgdmcfpaYKH5cQQJ+VNklr9kn+AJUzmm3EEcZr4ZE9rEs6qPk+X26u1KHJdLOI43A25nMEbtveC6khZ2SM6scuQJxzqt2rXXC4cV/VROmmA0LlgU/aqNdS1pSx2ijeKcc+RrSjByASdDQbn16cxR14ml+vWjyYiy1BPgmdYycp00cAfGIL8FkBGerS+jeYuSTartV8QVXgkwAj4vvffFeGdkfG2AJUZMWFWw7yAqoM6ijS0Vt0Hew/3N14pappZ2y8ddKIDTKrf8s55uQVKglfllKXkbHXy/4Cd6Tlr4b2+DMoQaByigb5fe3ny0DD7IijssoDN33ofqH9YHUc2KWrI7zWb4OXGEbsJQfm7NDiU1Y2Or7PnrdMlmkvRhC0I25sKUYkPB40CnzO/ZWZ2uhHgLgnsdGwWYNfUivjXLrJMdfG0/RHKrdlLwt6AJ6ndNR+oL7S5bxYcB1MIIBWVMDb64C2+UtwuHkBTSvrZfoh3k3IN5SevUHF+jKKi0dnrehMORyvmQTeWM5XdV4B2/E9ztAG7cHqhXpdxVYg2/x8umcqKoRa1Vje4/9sSNGHUZx2L3+MCf3T4LUgj8x9OIV3Uwo8bwhS6zBhIzgbIQYBUVKgMELeNgU1Y8fPi4o1kc7jZ+1tewOYg6nADi1Y+mVKvaMmnXTmVLl1n4WYHyxPK877FiKGkfCQaYpdqvd7hvSd/9FexkQHiXJGAcoSEk4sAPmGpG9hl/ESu5Bj2j/EY+Vy4Rw7d3XLoa12k2tKFrof7GpSOKQiHWWO3BOEfhRKo3wNUILjQXRJHk4huHjHwAYSsKhj2aauRGtwPWxw/R6AMt8/MnxEjEEoVatib4XaMFaFYpDYLP2f6HnIKT84IzJdEDSTYXupPMDCK1qVlFh++o0eD76kv2yDNCjjsAhfYRFyMDWV43E6L7Tb3S/k49NEqeUhhAWMbDMGwQmgIlcdvJRRnHSFaFy2IiJBerxoIPiL3+oa7gN063DYaOH73Z+QwDnM+6qF0AFqRNIPqz3xJlOHXyPGtWryYv44cblt7c40lmtLTTZ0chOWfOtB73bFmukOTQGwt9sLMfjJ+ooMKAGbW/M5VY8hzezGpCGZE7FjsI9Ux7qedCixqZ5+A4oc97n9N1ndHzuNrpQPdrB8UBh0AfZFy8jURXHEAQGpsecEy+zcmcgbpvMICZ4GBju+XCSVnuQtueRRYCLLMHOQGkqdcs+aTjqma2Bi1pUuzysYQD3HIz6Q1episeRGwHGtdFPEDZquLy9h5ryy2Fve6yT45c9HedW4RGz4h2tugxufsyJtfsFveTvRKJRNiVfKZpQCurloGvb58QgcUcwPZAP9zUvI+8tLENM+0E5NPeGBRSZsZAz1M4kZWopgoaBPnlotO6yI8y/xJfg6up4iAOy3bPrhvQti59l0Qirn2odLe8yoKz/NGrknLQB4xRbHzHw1EDjvOIGcb70/eLMqL7191Ozq0u4R0Dgr1D6CfTfP/PCoBHmmq9FBVAwJyLxQyA7N8pa5hZ6o83tgXWMo/qyTUuHztPjec1JFaunAKo0rLHVB/3okrJIH+l24Dz+VNysOp1HrwMCkX9Xw/4DJLAQoDGx7/V1dumLrcEsj9emnP/WWk1qmckMyJ9qaG/wwZ3toAf7uhWr7Q21JSP1ElIhCdpHnc0nS3912lAthL7X6iSTmjeTAGzHmhwMkR/Q7Hg5f7qWmDCOXWyXRDZG4ObbZvsFp0k8jZzivSmD4oO4tNknuHjzXJVZW2ND2+1XgQM/1AyeyOzVcNmi0NS/XU8AlCEH+Nwzl50pkunF2pBTCCKUz5O7fmIlDBhExQ879+D+BNdaO38FtLlXYynoPYIdp/MNOGf16/zz9Yj+9ls0bgHnOY/9pelLdadrubbRn77YUYtsFV4T9Z30mMxJfGXFwVryfxdAxBYMM0WuD1W8TUtzhuQp0MYwiN/Eu2ZVqUjh7gehhiVLJf790uwm+i6IRMpWxnPMo9pUqcKl+w9UXNLSA//+Cgog7I1z6dUEgX9arNblweRHG3JJJtESWLuJ/v48OQrA4S50YTeey8pAG2X9G8umlo1xwGA8jyVIMNI32I4WvGYWybPh1LV45iHOuXoKz2OMUVii93cGO/WrtFNMjvQsdA8ee6KyihIO6E86MVTC2Kfx628Bewb3BhF0AlAsHLpu+fOpyllft2w8NdpXODwZIIH9FucPC8A6odIHpTYx/Ze+RBNc9PhVStxIyT+pIiVXrkWN7xkpP9N19zIRrRUN6DKV640K7GYWMkmBSPsWgLin02ADhb7CmzciOxDXvr+8r89G2uT2dPbWayyKLySToe2f8OFMBKbr2gTNM3RbIFM7x24CZSCHc5TGtXHlcjqdK0CXjXGYHs050mm5BvtwkJeoeMrln3T3P3oZs4GQO38JY+gRkimZ93GciQXPX+f98T2JU4YbB0ciFVEhwZmrEn0BoScFgLMBP2soGmBMX8Ap2Pn53u5igtPMw31UhmgTtvfDhOCX1wcdjJCWEAtGtO2fTDzk/GPWpDTr2MSLXSfTdiwZgSZ3lrPw4MC6ZsHV8l711p8JYF93wulMcnMazSyKRYb5mwjLx6FRafd4xSRVfY/ksrRS8LFNuuv1d3zDNAzE2CFP6yzvjxTzetzplIWV2Mao2e778aEzSr//aIPwliMiQeygvW3NVQAlIxKBz9IlZrBWBLNiwOuytoHrmSEXlEj0cQtdGsE4gTakuE9XCpWUXM0ZGViKM80XYV+kfNxWAt6FN/daOe1chVtTT7qkewCg12B3+LH44RMZmhYQPclacZnDeIDPu/RDsTTPFGNAyFE4OhdtJipNM6Z5L4/iCABmwpOsrtxoXnB7SQMTt1JoTBAmXXaH/TtNJ9S4gFKxu7PbXiKXN/1e8s5qOExd3bWhDQnRaEM6iqBaZzixSPQkrLyc1jZb7L4dVyRmdPvw1L+YxD0QAFp32nACmvjRNEjOOZUoWLlvsSLS/M2nnprroEOj7+zBPCWDWSwAG0y2NR6D7s4nXiuSH7uCEXhZ1+PqhCGtwdC2kXNw/efgIcQD+QGkavMIxfKIF+GgW3ZgSj3h06npRJpXPYmHyC+/+FqWVL1FjWrd+uaK4xHJhFTBCJ0CfoLp1KSUGrfryC0H9zmCTMibkHPIVsWkIbAoUaPSno8Ml55Na0pB6IxAim8UUgLzhWN6nxQ26Q1jG0ThzpP7Hyd+JefxoBaeE8pD+iPPo9TSiKi2lXAo7FuTsnbIDw3gZPwx+RMrdLdp2cBpLLZyx6LPxKIpS61nAeH0sxNh88KV+r+Dyjgj/XE/63gGA5tF6apGRqpmjr+MyzTu1Fm16SePjOuEY7PANMqpH1nSnHU6RQDjGh5QslOwC+RaDd5bEHeATrZKDgBYdBRoxvbSJNBrYZihsMVDoXya/c88FQ+bcBEaO1sz4+zxenOTKHIhKRbqntCRPQm6yJIDxqAgFComnK4v8ZPP2RtNglrlPRs1gYA+Y3JbujZ7BobZ8oxZ/tD+cXRyQOY5w07rAc4DHvoPeUj+g6/Kk2ZBwxk5SGnt+eX2WaxzEWRGXvfOnKxkrN0TiCbw1PRLAIxeZPnR644mhD9xXftYHRl1JgSDVmWm8V1tLQJ1NtoSFxh5+g/0bL02+Ypbb+avr3ugVnvLtt9zEJ3bopQEVttVFXqn1G4gwF6krKHnS6lwiMvUv8v7eMbIEqLcqUaM/azgX7xOQUmr+y9rfSS4anwSXskylCoUUI5w1XPJml8kfknr0z4hBIyC6HhmKlT8aqI19t3oV/EgwLiWbq3CFxP4Y4FiHuNhRt3ttlyUYGLPGnW3KV0a1xxBoCgozpfjmMiaw/nG84DRojLkFqCSaEwJfc4OqVG80nnf8IrJOLyq4TxRvCfYdl3QlC6Q6izSWFpLOr7WdGexjLTTpbF1Wvw7PNW6IU6uJHe3eOaFoa9cYuWzRanI3oIvwVXrB4iU43aHn9DW3EFK64SpIetY6KYR3JRRpknYhuo5hBTO61ls08KkB3UoHERAdm/TAqiNuP+RICioeunMaaKtnFN8m8H4sYzuJxeCMGhujNrRU8Ehk/E2p2aTHt+f0cEIAoB24j5f5C/46fWYfNF0YAG4gSlIaM9hFjta9GG6Tm7JZm0NIcdDcxCJwzrkc0tMGOp43CeL4+SN/6bP3mtDMhWEHiu3MhZGhUh7hqdnuUhTw9yZEM0Id1S/+Q7CRp9CyaFkXIax/KESl5FsPD1C4yxVfFhC6CTgvxzM7FfuTqv/tuxaXxCFm/Gd1TbuByGkyXZMOb1aPtV9wflZyA7K5qVtMBeO6mKy64vNES6cextPVFUFTUCiTJs7aYhQ3RWykd3Wk0y0sUk3QjSZmbfFEIXP5Idhib2pYTWzTemJwYUpr+DJ7URMaV/jpf8G+DrWM8LYQELySZnyNLn7vypab85rvpIQZgp1OfXXB+XIVHsOxrDdcw4Pc3IrRbyqZCbQ96w5lsragSYUCT9ATHPg/amaJT0Cp7p/WOQunYDlhUzcb/CDHDFLBC4+tqM17SemMINgbUnOVEv1dXb6cIoXTXcThRtRD427571UAe+Dlo+oXy/XkSvVJ7rSHXrY/6E049E1bs8bqUJRRCQSAx0wWqOnaD2y/6UR2tYo5P71N95EX81weHP9h1xmgehSnxm36VF9gWN0NH+bV8TyyED9IghbFB+vod8uj3qZAXQFce2nL15LZ/yTmxOAsY2xYr5cYfPaHrX1kw+oWWla9NfIihvcx+U8ZJAQymO2d5N3VAJYPwe8xtmgA+C74YJ5jfN0eB//mu78aOAKha+kcryNTkjPZl276VZ0Qu332mMOh1RDZavC9RBBVXlLXb4j2tMTqBhp0AhPhslzxLu98UITeCsp1LAEemrBUDiAFtrJXxOo3gNOxTjhFZjjzGCY37yGsfCHVeh+94SY3VH1vihwoKUKwrtcQABuvbAm746JHcwH30QdkR6Ffu1+0FO/3Cnr/eFmV4Ce6xZ4RGvEn7/jVRBbleZwGnOTkC70nlvZUUwxEtZPMeziVC09tp4TPnD9RiTgTnWpWAku6Xf0qyjbBZABEIp/bRcv5ZCPahQhNPxbAec7A4X/aMEifLijDAVHAwkaIgzsRLOFJPtEhtcnxRd6BdivkfkrcLIEqXhZ1aZt5C940rqoMCu4bbm9Llv3tgQ6y5wwHmZvt51X1941PCGbg+gCWHmoFocLXIk13ko1CbJuUSC2lNI2EHMZC8kmKMpbx7AZC68905+tlnFC1+quLH0OFdIKcExGG19/rT6gVH0H8sX8gFBgi5yN/BugTle2M4d+9kvARTAovNk1xjMFZOVUJXEsS3paGarta3IdSJI8xi1cJ0Mv8CANC8hj2p+c0Dac0qBlzxmmLkfYo1RDE67t8XLNUDtxNktw/JE/qzXC9jU4JASmI7LlYri89Ofb7u7lW05Glw63c2aA7F3rPKGPofWkhWsoBIlHbPGwWsNyyDkMvy/2J5CXT/aOPW/7OJQDqj8d96nByBG9s54N/sqPFwcZkjKcevc+3HfuxnKyyDXMd06z186fLVyXCq4voYV+0Ehcghr7cuMskdJDeZD268GbLmWUd+cSPWnD2q2PdyJL3XhUbFHjH9X1HxVis/GvlxhjPpWXMrMUTSyXhEHH9l7x9UJDGRN1eyxMU93s5TjqDLlBLt1Ngk5qUfxhUmemvSzI9PFmn1pysq9oqm86WijP8f0Jdfas+XjBaKwdZCiymqUdSzW2+PZAWecr24TYpvQ/AMtr93dYUfdWWygc5aK1ohYUVmS+ekZ5YDOJMeTWZ/xDJGal4qTm+EmFVkP11S2i6cVqBAlrxWFzDFpsEcSE1CoJiei1UL7g/+8zSjEwnsOX56uyLXk/aym1w3N93useK1P3JPVLek7ea5LpPsqLXwXUDnva3+VhKvyq0+B6nXqutP66t2PYrUYa+J/MvYmY1BzVNgJi7VEeVxm+0Ip0l0ptqdAeTIwcei61E1hHjn0oPGdyyY1l63xUPnG7HIufQllRyERgd0M1MQbcHxKc6YybbUgRxgelaR9EkcjQRrsxc3sz2d/Mxq3spB/9gvz/J5SVdpec6nr1Ma0gpUQigPBIXTvzK6YMgsubrQyJTKCu+jXmU28RgkEZAjM+MenrSP1Op4A6HebJmtPe49P5x1Lfj7KGm+a79rjeLeEoSJhi2aQefSzgJQJYcnVSLGbW7jXvn+Sn58c9/9/6FkEuOVpvn+8qdJzsbg7aWRw2H/w6BJeLI8J3HuohCtaqKe+Oz4e777ZYGUcs3ei1y36fC9+TYOyYB3NEvEb7vYGR0qBvxu1u0gKobFYZUGCHFQQdXZN0cgeQmCfIEr9Lu7SunYRFPJC/UYngZyWlbFBD9cXKLC2IAb5nOR7CkzIF9jaCQoEyBIRxTGg2X/LUYjxzmZJcXS0yyaWJmiCMWo+d3RK3XyBPP/A7Z+7ysjSdF0xHnMzEPvai1p7SjmMY+8dQHQQ1pY4eRVsJ9jL8rqpqt+8FNFPRV6SHR/fvALacyNJ7zOB7VPO2+4l+G4fCFJxHend7Au6dHyrJHNC0ndQfP7p+yh5z29cj0NHMSD8ITWt4uPI1bHbwcYA+g+40ZmWSaKSCmmykStKo8Kf4YDdUnM4CP9TxNZSNtkQ24Oj6a36S1bKup1nwlg5u1NS1wYU2J+AxEBozM49aj3wdSbAPjy0nEL3PH1e/9I/ynTSDKaEGFaFwizah5DM5zBUg9YrGac3c1cRNBMaq6AQL1iR1CexNqoXJh+VBPbVmPwgDgy1znTQYWrBmg8KQIHQ/HdnELdGwfPAp6oWh8Zf4d5nxOfmyGwh+Yrv5ESJwJEQmpGsGViLxUIXw/AjU8+Ud3HJY92pGnIDemXbcJJUxlNfc9oaZl4ilY8Ru0WFptvUWEB8KdnSiXlIGjjXSgLpTtbzuAUGgyl2zFYPCDmpab3MQn5w1CaGW5a+5ZnWWRTDSa9e2hwz2TkfUXQ4PinL2dzFCI6bq6CB3E6hrRun/wDs9weFP5YpMoM2wty37V3okXH7kGEhW+fv49+0KgIhi35/DYtyzsrPKKD8El1ZorCGfcgAiBPhm0afp1ve17mVBEQTIii39BCwv9pjfLif/0fabpIe/XxvoXdi84NNJkDj+H5QzBpR8VNOMIGsVd6pVbV/qeV6QANCYZh+kwxNiKdTCdgQvVaeOJXnc9lbRUvSJAj+VdJ0v5Ui0rW0orfvEpUEOFfonlIZHnDBIXCfSUn5roiO/nqq+PHDObFH6jj3/OwWTog4gX8D0cJoW6l8hHSgPFUJg2sWOJJ2AxWVw1XYJnuWUY5hYWeSEWXJG2UAdrtJjueIDC8tXS1gbIadmdO/9SPddPYgpPNUOMCvmbkOSMHw9+mqIE4icH4iJP4OecbEgySrJ5MrCAC4zDheqiF+gxQhYc4la0lUXrjMjcx/ppXr+G/3FVxl3dnM9PGRvJsfzyhUAj2n5ptseVEk0L3MD7esNg30EltRm+W2357htzrGOagERWCLkIieypOKoe3iKeDR/OD7XE7W2N3RZXQhjEaH1I6DnIjP/QtiM20uW/QjSb+COAhniKU2DCeIt+AnKwl+tLUo9YOi9qfW7hL0NP1zGeD4TfNPwrlA2J2TIQHWQxnGgVblg3gxr+8WDfgsvAxTnA4nFza5hI1K2z4Mfw88POMYtVJHKBG5ze0scuVBUL1p80kJZJx0VB+6YDFSo96ZFvmHo9dEIjE5rUwxbZ0I0mgMX8oS+KYhwmD3FSBxSzawcc5u3tjfA5VDdD8hxf5k7tkmhrro4m/6ELbDwXKqHc6UwPAUF/g6tKche3xWXV1nsHY4ERdryObkCCt2QII/QUvC9CPFsOAP7D6hMhH9XWR/rjTvrbVVpAJ841kHegm4bNS9WLyOPOY17TkUSK4Bc6YWWJdan5eRXEvcMO+FonPh6DIIMMR1M48aykMjKvgpTN+r3G4rsCoxl+28rmX0yg0vt/JNrSauG5M/6znzres2QJInzg0/Z/dvCop7yzlnXinv5sAY5ZkRt3EvTuponbvnzE42lwF94xKMg16A7wy10UGFTxX/hn3LIgC3BkzhVBN4/XTUPmrxCnyUT5C0rrN7EeCgkBIuOzLmcJt2jY7WlzJaw15Fe7urkexfrgljr/O6GCihes+k4DGsWQY0thB6b9edjqozakg9SnSO3jLB6exRwh1RFikEKZewHS3SMmMjuiggXaAQ7CWAmbJTHW2CACiUE2f7Rgi6No+ABlfFVO7lQ2b0TFSofFiFsQ8wWmzfLFzYRv1iI4WUBw1X2+6kIGN4ZQYVLL9CYNKYE5vxU5VxsdDUiygqLBLFq3xJ0Aq6o57rwApN9adetH7l29goMSYVEJ0Yuluqx0olyI5XFMh8ClWHtsz9phwXx3KP2E+4dOmE9T8dOcMBdePSqpfoMDqhyIYm1aKgxQdXmsDQ6Lvee28YLaYG8x/JOMLvbSmBtLxHjT/3MLX/pL10h+bxNXjyuh039MdYBdsauiHS+kBJQ8MPZEtpmi95FqFm04W4ciprzHGKkbWtmfqXxtGPCHOi+YeKHURaQB1sup6EcWIsaqXbXl/FSYrgIYSVvp/cjwLKbM7mPCi21zadiBcnb4vNCgt8ks20R8nLnvEW/kV2k4sLBPdr/U17g7/vMXvWwdgEp5ztOu6LFe4IlNnVXf1G9s8xKzmiEiQEl4UmpFLDdp6rRD043X+YtgTOeCJO6piQzyTEboVKhjYbI8/eR5vwiwPYKCuATZxXFX1Gcfdf/U2FD651YrWkO5SJ9YewwKpzkSb9YY0OCrjPAjOzUGyuSiDMi5JHSStLvEynwswBMgB7zxNUuo5R0nnFArgxPEF/E82tAqRdsqrL9PiUKCvQvqRmgu0vhZOAjo5EE90SS/fgZmK9eG19IS/MpPlHaeUcjl4Xw4u6kdZ2VMb9oU68MpXueHNxLRV+Eap9lSFt+QHSSDYqj9c4eIxLNlF11d1M3WMsRu2hoz/iK0kGs+A9pzrpl4LtoB36p76VHQrulA0UfnLOzcMqfY3yLSpir78dSvQHk0CaPNHaZ2pVvtC0NDsQ66E7aFX5wsapH63pmek6XA7bWlBj2IUpFm5gwtn7X/xf8ldYznN9zxERrg8tpmqCkH4FIAuDAOWk/Cal8jeexRV1Poei/eAGGiwoa2yygosY7Wl3tJ1gjtRpzDJTJtPaGoqbzu8JMjeoKQ35AKLlOuq7DbwLdLDvFXhNkt4H68in+lVV1ea9Nqqkh1fe+FJjyZb/D0Rb4fE10IcwV8pKPGFoSldNu4TZNux5RlxJhqTwPGJxtt7ntaFFupbmQLg9m5gbf9aReEbiZIc7hymyxL8JJ8txlUJ0DYTw7g38mTQUM13StyhlQjhnG6+PbfewuCQs/eX7MQCifY+rLA6PxlvIva/FKcCz1QivPyPnvBONxxwMmBPpNR7HblyV7Up0lIvNJp5X58Z8opS+4jHkysFMYUEroBBT+L491/EKFss45P7xEP8ITASMHOljV+uCgLpqn+gcoWr9awH1H88mA8i0Qs7CMXHEhcetzyj95f5zP3YywC5GYzHAr8+jP9tvax8FS1/GcP9/kAwPsW7UbcQzl2t+WU/ww4l+UwS9moEm/kTanLyHIsDKQVb/bChU254i7TkrA7hMFzXYU5o4alqY/vdQuFz3zWKaQnMc+Ids4Qa5WvJHuyVrUbjjPvQKxRo8LeFxvr1qkWe83RdHwC8/wadqeusfVxweYVv/zmIh+ZKHBYu4eGE8SY/0FgQaQO+DX5LgRC2w/j44Sq1rZkIiq5urxlf9oR+vnb/PwXjSXPpH0sK1s7LHVdyMawVjQZU7hO39ZdNuSdmkS5AfzHJecb4oh2uekpbTMoJuDbWEjTnpEZhPaWFtWplm2UkInsjhMBsOGEtM9MxTj80McSccIw6zIZj+2wmdU657Uh87XRcb3bvBzbFJVcBMzXtXbTwZvjUwU0yTGkV+XJO+vbUED6QV6b8XEbVpPY28O1zOwXP4opjzgha8o1822yaO9jYgX7IOYCdHyC+yNk+5j/2UEeLEfSy+v4Z1tsM9AzjpYmXjoAXvEPODqXTDD1iRG0QmR55zCa2RGprSShq1DAApkL3SiuBdmNYbwvOyQIzqZD8up6xFP6b5BMK7FE+eSeci5hW/rhIQ/peDorRoXmjvTHC1K8urnkksXRqt+vbo7n26yz48labrO/AhquaTDfMQbp7Xb1P4Du/uvlACp7uy8WLftlR8s9YRBVxdqznc57rW39ZP6vk1PjF6tXj206N8d+03Tr8FmDWcKFWKLVW0uv+x5FE5B7d8in271Z7Gf2e20xxOw4zyrl8z6+h2jbmzH+YbXmeGNwZPrxPYD7pAOiCFkK2su8y2ZPeG+pcT3jNOl4jLAl2aGSbsLMgGGyeuncZrmUcIs7kaR/lbIR7JKHOCDi/saisUhdO1bSNCOi6A/bJqGOcgJshSmzRtMThppasPsJ1ASYJGfKzJK4B8a6QAAD9jm1nn2zu2Lt7A6m5elkj8JkJx7Rq5FJYhXLPiSvI6LFpFbI65khMwgYiq+6sVQGx//8N7Ubm8Yd89tHQz6Vk3/Pr/AU8Z5NfFfVG//pUDqRzp3/JrxZIdhg1Bq4qFW3qzUFXtVZ73JUN1icOjDMzyDckmDUf99/JjaYYzGFGOEJ5PLgQZ7MTCghw4DDRyKRQBBu2dFVh8I97pipu9KmaWSpjfX83Qn34bRwBKyvkOLE+XSwXlWhKKN6j+gadj8kZLf96yRn6b0WRsJFa+x6G/DnAK4LXngj2cIl2hGg0rGCstGrfXeh6JnCUWe8xLXdNO9sqAxGw7+PVMnr8U0z7oc2cox02IUZh5K3VQ4mSMV+ssdJuZ0OfEtDt/P/VbGRqgxlel9Wr12TGC+4GqNwNqw88vEARN6mvy1aF8TTWVCekC4Ks2pRfweCQccm0H6J3leuqdmnKSplsW816Z4VnkKG8RzPEdteyyspYT9Gs75SrjmKWsLMtlGMetHuqY69p8XC7QVFkDsOeHr6ewH6v1EFI6qxpSj02XTCky64uf/yjfOqdv3Ak9VG1xOeZ08Yj/8aOlAR1OloZITN4GT9l0bP5qlGWt9m9SaGrXoMtVCqBMeRO5j4tp4I6s4Gn/xpQIwrAh59lMiUVAoKIB88VqBjZOpjtGeR4mLTTfW5Sv1wMznTiYtG38sBiGfc2i6ySVSmAPR5rauA8tYos0A3FNX39dLZ9q2sVANV00+aa48xgT47zcFue3kNqb0gCLTDXAhB96UWmkJA7ScEkqiy5UvjOaRJOyFy/4FK0v0xjolmivVPlt6y2HaosppssQUvn1uDGOCE4BpcTXH/0fchzqZOTZ0GprafcNn8fWpD8BdZ5JWaEjhLfwzsgL2niwMcVGxd8v9GuPoP9zDuQ5sg429WFiXWKa6LSrX5HMWImDuIWxqULVFwcQYBdEAdn9ZbgbACmgrSlvBgV3Af44ByAsW1fqzXngM/YoMxCYYTodu7ZfWllZhmNwp9BZHF1CgxwO4LvGgHf0+5wm1N57/SfXO3+5x1el3ZkZgH9+Rf3xKc2RuAKoKgNKrdHw2j0YllKo0s2YjQbOh11HDDx7TM9KHNlJgZ4S0KLGnfuEeOcrMtPWWIr5/AcXj4Nhv3gVPu8s8kkVU/C8899D/nAcHwSgMvykEyH7iMcNuWnjtUwmtPODfT6pHSI64destH4xPGwUUF/3Hi1L13ztDPadQeVlfuKjZclmKFBOgXLNFHg1XOBrjdkNHawp5pvBneIr5nnJtUkXN0zRUecW/+FCiuV1uQb7jURwaFv846ijYF1ztBB926J4HIUE1pjj6JJ0p7Azp0gsMRx8AZcowvLMjKI4SfF7XWfeuNd0DnLAOWTyvejNH/wvfRC6jJauCQozm+Lf7aEjp62hlh+yxpU3DYwfbN90qk7uALpX3OI8HUCsryceZ64WI7jAWRt+p1HuDN9XwfG19NqxR0TvrC8JhQwQ1wFwJ26eKJB5L8zj8pcRm6hzvczuaEvyMB5vMssZ8ajmVEOEQqXrFRlxzmww35j+7Dr8EYAncQ4OhVRT1mVViGNrt8CIo2BVEzdlzD2kENQK2bkwOl7hwHmFIdUQfCyQxTMyOLpPPmzQVGtLQQVjMZ/OHMFDsA9BEJSNHNe5L0wnKCMiuH0hKuR2d207Znp+36G2d+KqY1MDXMrjo7W9lKXQvcnTvU0kV8a58RPFeCW0GUK6BQw3ZSJMJVpHyk/Zt6D3i6IEMKnExIole7gJJzHVSFt7c1X1UwtGnaIInBDPaSc8qdb2fjuup5kR4pOv/OSFcsTz73oEB/EKLnfCwnfV1cMuGo7E/Lg/8gCDxg8Z8fv1VwiKx75FAx0GpVnuDnND0MsnriDHfTE/+aQVGwsnVxkT1jznbpXMUb0tpU7mnl5QW9N173MgT54FHt1nAUipjIgJvVkeeJCy8SLgdBfqNAvOBO9RTLSklCOSm4knuWdMAFL5v4sE3NcqDAuk6Ca11NjruYm2aXtO6CzhPAQ7lbot5Ebi1rSFx/mQN9HYSvPu/ZS+lrf0LeiGlwl1aLGJtvNlk3ykr5zpgSTVzvFTCLneUGIFWRlNYnpWh/9SUwzhf84mQl808JX/3S1an7ZVxks8YtMtuLlYWxW6/BPNIFUO6j/bdn1jigH4UoBHlB6wmJUNGrYpxTgTjVzlVI4H+0JvUc3AF5v4j9u/a8k/o9/Pe6aAe+8mbD3r7DG9fWRCDfKIGynM8Rae89bIhmoctjF2Iu7DBJwygTI298Yuf3DDrujIK4mX3ji/mGRyGjnVvI7LP8yYdk+dHSUTWOlOXmX+7N1MIvi5fsHcaRejCiuu2q+SjEbEokdt91CiJ4VDXoi3aaWGIKIRfqpFBJ+hHhu9TZNMiO/XdvFgwHNJkZ1Z/90bC3ssEbgNDFwH2SMI0aQFJ9hxDIUJlrh4RQ/1uG95Lbhn4v/nuPx1dLIR9xL8Wj7dszs9j14OlZObWUMMfsIh9Z2CVGYliEWaliRwuaZVp+NAj4e8fZYum7k6xNes9kHNMOEEJcdJDBH8tVOctFyGkAnYx8uGUSuYvGjQhfevqxZc76P7snBZo2Jo+fkhps75DQT2JdXoegxi5mayANLr5/0h+yjiORGS62irzFpXeIImq4za5iJggaDKoPuO2oMi9V4Nh6qynybL3b2FLxVe4tDjjZd/JQtMqdSJ82t86ec8QCXTGEuSwj5sLtIBtaijzssA0f66uqDCHw1DjLMunFP5lugeJkUHijBurUjq6IZMiKW+VGH3X6R2VyIvFy97RVbxsBsIjt9kKdIdBLqRcKbIa8FxzS4tKe6oXXwWCGZLuZJQ+IkH+/GTuHEjoSm/5EUHBYvjM9/bc4A/fQaO7NYaO10JdvFCxs8ZFbR8T1s3u+LVYEdiOXo9Hl6tlmsn6zRtNGqGHwCSgiv2ihpN/h+1GEfo9mLNtuCT4dpRh4fJkExBFZuW2ADVQzdoYxW8ewR/WDYvPnlrL1/jaIvfVDasEPhH64wXAQE6vJdSgxIEzstlQJP1MA5WRYGgC5UIOmzaZ1lf3H0qOYN2vxoArVfoeLVMha3vDxjYwDiecQp2Kio6fE+B4t3sYoAjNKh3/H26aOO42qeGA58CBCkYdNHaPYQRz58ifk0xJ4eYjV4JlL9U5dIUtHR8for44BHCvV/AsgTqBGlDdwfVM1SZKfWr77MK7O/KppMVAzdM1mvgrSPV9Cuu/uUn9w3JRSA6GNj9LsrMkUvvQWMBewrCYlKPrT0mCA53JpuhjFDUQq+Jx7okthQAjLrMpN2lVZfgt/0rRuo62qYWk4nR4/A0Zn8uwlgztVdyZd8z0J7Kt17qlNysJdtI7OAtNp7HOy5qLpxHn/ywogAikaH4UfpVhaFep41hYBhoGAz5WtSTu0MLEKaW2UIQ75IIyJr5N6LrEvxC+yiZXq6AlPmiaSDw7ifT3lyuprWSjVjmVO4t/JMyNly2nbGYkQXXhq06lzoZuv+VaSBrI4o9HmxsVr8g8x3iRQ1lU8rYsu5lxaFk6fPxzB/jxkjoinq28to3RDx9ToojUCh6qFpqZBhGGGcH99KGzulvcEZtGKe8HCg3QYK3vp6ZDL0no3OwAHq33cH3+On9Ibs//i0vfzL0BJJ7ZiL2t3hIDGqnynSqjOgFNypd551X4h6d+TRl8pVvKkNAHI5FQzgR1IareB+W9ECoJHoD39A07Z8WlNRLUK3YB/CQVU4aKkfRstNM1AAcPVcd70+D0tqrC12QAUJM68kYGKsyVFRx7mx2X4z5z7rVquZFCd7uD9vKx1WG0V684ZW6/gW5gPRAbZF8kOJWbiy4HonOBOtcKWOMQkxQZtvmRTFybyAu8Iy0C51Tceo4YW5e6IT8Nv6co1CvKSAiTgE6UB4cXSVQ0eJc07tuZmtL9NETisAUUopyvCH7Mw0eEUUqUSk5rvWEvyeH0u89lhI8I72P22w+aLw9LrikthwBHQfzKbJMtsxP8XqeF5fTm0vfamVMfef1wx3bKgomov44OYe6UJslaBmShBxC24VIrEfIX+HCYW+bd6aYGX1kXsMGLCube1UIhAVPY4ZWiwTo9HcFIIn1qTcRKkoHWHld7X/f47zAenSquG/nCSqdjxdpZ3dAu91VbyiUexjU0+IUXKAGMToY1c5RgwvQucDr7ZYSmsH/Xw90sWgtMxiCi628I84ZIoDcPhJ0AdAJ+iRNdAdCXGRD9V9fbDK7UD+oxAkN+hRfVZeQ/D6UxACYzVBOojxpQVbPb2R7QI7fCTA7R/x7CKxd/57lO4elUNX3rUoUWiOkf+D7EZvPtZCk6qmbfhp0uotydHZ55ULzupQEAMFOJ1aJxwSCfJTMwIU8AoZ0HMtMH8BTnCFwM/vofibbJp988ywqq5Tnh1fAeAriFIVrFOTfnwkClQTXY1fGIFbImoe+oqg4OaT5vvyNK8Yz/iHSzVfn98NfuH7IwDn9bIXGOymmc6z+wsY3PvDRP5O/I68ucRTRQQgIkXoHh3IaCTzKoOKBs/pYObYpLuM0Di9ELXuUUUtHun5nAXTWi7fBOUf8oSAQBe+WLtMpALFj+3frtW1gAOqibVy02I4cwyzwTuylf9NJtpjYTFLbN/ZAJRTi2X/kq6CIXJ6YI5jmpD5DpGwC2DsROzJW8H1NJvsgHEVTmA5kQwr4F9rHXvilASy7iW8uVN28ss6gqNTPjWcc5PYpf+GYRpogC0jb2uaFu3zYp/AJpQKnHL9Zz9M3UUwpDNHUpxqiPvP13GV37fSgc/6FKsNMoxX7n7NEkKydwkvNyk2AM05erIwoGSnO46z7xcFyN+TPnyYidy7/8G7gXWuz86hIo9T0rvWUXokds8onFEGbcQ80WdDJLl0YklSOhpTxeZbGsoqA8DPb0W/YDaSyS2oUxcOHLpumztrDfrtrE7TXAm12XaycUL0TsWFAV6oN44hsBWrN1IJWCWXJsyf8o2cBCZSS0baUYrpSZz3GsPCG9mWn3a/4xQAE2/i+UfxCMPyqZxko9T1w8kPXqFqjUtgEXWgts3ErCreSK2nmz+ZNCosbIev5U06IlniKEESRMcF48wE6XZOVddExsfAiuAnCcbV3hxClu9o9R/D3gzwzd8vBCTB4HRpmlTLZvopq6TNzW5iBwRYVDoyrQluO1eCy6uYDt7CUg1rWbaYdWZ2FwXC2kVCyztulws3JDFfT2c3i0ddWMgefBT+nZOWGp+cYDJ9I5J7UqyQx04RstikPmPtRxEgeVpUmgXw9mWiAHScOXE6O5DT4B6kCKBGc1lUC+qHmTWkG5jzDu0BwVrlj6WWT5KrV3zMUdUwSWdRBWETR6jHCfoTWDFXg6x7YxD9ULDo8EHGdVbfdAUee++W15xDDNSbXh7JEfSOTdi5paekJbYGEPmXdWsfFlJ0U5NnA3MKX1cTIJHove64ctgoZbMYfkrdpAL3YPgm/Oo4HXLq7djdq928uAKqtgnDkoCx14pFOslMnskAebKeAueplQBGc1mdWoVFWsD41q1qAoMG526i9AUfGX2jnpxZwxNt5lBQAiy3BF/hV/s4EzOeZHqRc94DoAghFdiAklvEYU1pRJvDSXjO0LeKgI1xfglh5tVsy8XmuCouLr0Raaqq8aUCK4iTnhO0V4KytBc3g7jgz+vh4BtZFwxa4wc1D3jr+OOqSy5ojmg6kRX0dmCcltwlCpmn5FmK/Wi/fdg1giWaBoU1+Vijv/CC4dfNgnNyyouXYxZ+hBzShzSfsuyvXUdY6Rj0pL7hcpEkgkI19+Lms++4XGkmyZNVPBTO9c1WJV8lQKgPIXlbnzGvdNA+oje8K3qn0OmDMSJDefh2XbQ/mZ9JRPT+K7ZR5DDU5GGsFG3d4K6MffMJ6jen/gIRbTfIGTAMkYXUHV3E/p9PtIseecaqvAK+jCG/foiegmLkYmaentUe8DzLHj3R9gRxWCHy4Oj6u/oFSLG96I8t02FyCFJkMAN0zn1hBkinWRLbqoxJu+j2UoavPIciXyMEX3g4qny0LwASY87udzYQOKymcc5z0tG087RZfwdCBsPeSSL9dKq0wIK0CBpZ4OjooYGNvXIIcCIoA3iV3r3mj2/OwUvLN8YkxXQOunap0SqNV+q7R4g/eCauVT1Qu70sNyIB55PjGznAv+tvlP0KAItKDa/wMDWWSUfERj5yydo+WXSliJZEtlXJQJ/eb4OTNA8Uk2s+KEfNEjBiQanjSstXb7IaRGSYYPLw7zBmMgem9D4pNZ/09DiuVtcgZA5aL4IdVzIl3mUCR9aDukVSKaCh8PicsAAx83CCyuZVlBc307iDE+Klzgtmh8aG29FlRloxaMhoifGclbv7/luz0Ll4vqecoRm+8wNVzTbBIvZoDlR3UxMMdXMuzVVlbNMH5mHUEz4Lw1hEEnZ1qqlQxOHk8YAPpgrPUaZIIlDAqFdUGkoTiskAV8A/5Ljfe6vq8/6SKWyNXlJfWnf6syVb+/N2lQH1B70qKvIOkwXqcoUGLAoNDXtSgRoSKsEOG+loliIRrqYIr3XlNndiiKxl0m6frufsuBoEkSsgSJVPkzSiUgmGp4BWRRqC4lEh41y2kwPdBGcwPers0VNpVovdGCV3Iuf487npjgLTDk72ecDQnPzL4AcArXbTq5FB42R9vxfG93ai2bn9CqSI4HQEU9cG00hMgoNjWdVsHBVHsA06b7TOaj3BQo4rV6I0UKjx7z5ya3QU9tSoaekmc7XpNgA79CH16g7xEslbonXFk04h0Qpt3DQosSuuwkV+X9EDQvRjpkUR/tiNgkPlSR+FNXmoPylUS7FVKOqt45AOfRkPmAVv+N86BoUAj8QtmBCDYpY8+jAY8IXJEVFCWnQ+Hu86bD3hP22miyaZpOwlv1Z6w43wk0fM2fXkfcYecxjWGx/lTQnL/9X8En7NfcdwghgYOS1kCYq6cbmRydR1htYCeGcgyD+R3oRMlH/B8enPfZoOku4FSZwPHLTmcyONFzSrwKNLMvp4YAoYCTkn+gLuK91TWBpUaC8w9Q8itXxEk+UK1nwKflB09vqWjcB3OeqRb2mjRKYNQDsZDGCFZ0kUEZEwuiLyKukizmBbea3uZh/fWGaqiPbRWepeAr3Tubd6qhbY0jmmFpOxGka9kFFz3jbrgMaVae/aKyU9DId5ElRTfBTRetLFn2XVoAsch+EeQs0VK6xzZlJC4UvqFdYex1bepGct9t0gLC9hYD5MFbV5Qviprznwcr3aSE50Bi6cvShVqLG5so++yfkj/EU1e0XWiz53VUOCq6HefK+5A0GiPXn3pm9H3a9pYN4umOGSaNYJ7Gb9TPrCHXPQLfYQBWT8KMKMTNoedn+Rfq7lm/DzBjessrDAZjFF9ICvNyTcP+aJ7LjRvnSI4yciCzPAT7MH4qKsX2zOXuNtY9grD2B6yVGTxaEzK1k6aMVXxwtA5JEa3IwdhU77o/WP7FMRPMEq4fJ2z+jtcdjgHse1TSUHoAZjb+vemizJcLMLw+VWfdsJNmsaKcGa/58PbHtoZIwe+EEvmxVoaV8uzahpR9Z8Jbj504qOwqo4yR9fOptBY2mhZhQ4O+yIAmJHachuNHGrxGhWRyP2ZKDx6apXBoR4Wl6aXaqe+4w3ozfEDW/2B+FcBzkMBymmZICHsTieWJqu+hNO1s3R4OI7VjE39w4z9hbHyD8a7CL51XVgeBu9mtUtLsUGYrrlr6jS3lVB5SfRGyRIRSholKllCtfu2ZuKv4xLu8qvksJzg5MH5SFjr1QG7+j1jha9AB10x8uyoKZnuX4rGXZs9M/qYozcIqOfTtLdeg312qUwx632JLvz/0b+BZlyANj9LWbx4iPViq/JqcOw4fqV9MweXa/kM5nLFIfzADOdA8BjjOD7ngd7stPa07e1vqV60n7z+Vu4BXPs0omiwGZTPeoY3cTHfazjvtmp7dFBnpk/LR0KYB+IiqfuWLpxRksXW+PFRN0ut6zojOc+E7vEnSb1wTTdeIIqS6EBDqlnkZIIsVgvC0aqqJds6/kNyjxzuJ9xHM8s4b1IDfVCGnSW5h2ZR6BsbdA6+OH67bRr+/AQZoQ03ei6WHxOBcalRDl3mda2mMF4KRn55mKcl4dbAQPk9gQFjh+vJXidkZ1JMeg6Ae6rP0bbfHo4eimgh9nNerHDYZpfVBAxBoUnUKIbPYn6CetSAFhxeoM2KgUESc3NfkY/1kTdviiyxlpV+Opl4z4I9JgF2n8pTAKPGWh+fq+pXUw87D51P0HQq6NT76lnK4KPAVgG8CrpBX4ET8zVp8fU7K8iqUOoMTJLYOK4hxcqDdAAqOAVGfQm8awkLHKaquEscDvfcgE0JWfXhf0gNijqDa2F8XE9DvdN83GPFetBfiWuQjl8hLqwmrfsE7bUqbgriA19VhpwTJAWt52pHF01GLXJA3oXxLWYuJcro4yA7nJFYjwwUn4DJagv9nEyIPb/FZA1qJhzcROe3h9olI1LRGN9Fj59UGar8pAqRLGjpev+Mdh6VRh0aL4MeJ4wCeNhX/JZ9WNB6vrXC2n3cSOGxMDcujdgIlfulaCzwNqJ9R64GGWcsCeaSrkoUXrhTzmvauPwZdRMJyAv1BNIVngWg1KK4yv4ptGcfsBdxg0+oIZci4fEiRvUE/AKYv3E57wv76eMLIYhNOOJc5sP+/7qGrDAHlwd8cbnz5aiBfToOt3jO/pv6M7ZWB8uN0mmESKILi6+9HhmDL0OO7iptvfM9AZxbPz5BGtTQA8Mks1Xc33vviXZVWw8/YO9u4bItFQq7xANhQZfKrygHUJ/fuQOnH23RaUyHS/Oa199PdsdI9t4mPjbYIR0HXnMNlyneRrjgw1MxveER31zEfiqy18bQPoU2vSh8k3ggR86uQVpEnOSz+oX5J2D0OQ0SWLh7wp8143wW59iwjh5ma3rvqjQ/eOqy0DGxIImafhXwMEACJzAkyDpYZijTckEQAAZbNI7Qw3hF0H4d44DO8NoCbs31bTNQHhJ3WmdUa0bO0Ssla9/qOVLztxKLJxajDQiycly5zrjTVyUe4GVBEs5gDqvmyyaP82fDm3Mh2bvY49a/qeXcD014W3Tj1oQnMGkVXDICMQ8Ez3r2dyL2uBTTWBBNRqqJC6Jc1GaHr51gY683LStiP8m0hMZzvH8pSyGpN/WP/SNxaNxBK1927lLnGD0Z0ZAHStqIPMrsHw1MZh3FQ3iEeMIBgZW6X3PhQ2AZH0XePDX1Xg78W/YWnDOQnpYYEnWWShV/IcmXaerQLd1OKR4XuPtEz4JEEAI4jg7OQNDF1Naa4zPeqIP/duRW1vx+sFEM/Qt+EiQDu6Cicjiy0jRmjw0kC6jGlGquzRKvauNO4RIdkdmJS43J/8RPhLBBPsqdKbk9lLq45REqgO4J4VAI11ibdfTsXwDwkO+LjoQqoWE+3LthCQyP/k2W0xgqO527HSTBEveB94/UPr4IacQqXd/JGqsv5eaxrjX3vGUzNVRfctN5+TSdCDISxuXSNa8mqz0ruts2Wkob8qdamqlHIlkCcsRqra+ivZaveDlh1/q4iHlNtn8Wvi1YM5mTehDWMKTyNaDxzul7utKQdOCpYvcP446Cer1Z28YOxL6VkbjXZGWOUnjywyZqBFYE1CvMUOEBoVCbRsomavM/P7cgYuMYwB6b2rGyJctFat5pEMD6KVVuSiJ4sEyLFQMHo9hcC814gifSiA3e1FcE0w03zbWrHyleMrDHGZZ6bT28AgkmtELwqDg9v69qVLth2WwoDKgJm7X+z11+YgC6USkigbgWGA05PKQDCX68+bqOr4+7umg5U2OXprKsPnJdhhzeMqLv3V71ek5rDfdiRJUXNIowBB35fxADNwj8OOYw05p/4Tb61PEGdJ4LwnHBtXveLqY5LmvNv8OWl75mH0ZWrbG53EvrXZf/dnoqHwwcW+pm3yXhPQeGOtqgmU16uSIccyUy5SiAh2Eu+I/kR52X1wauHMcMwNCIaIOFdyecxo09dnYW6dfrbZ9h6Aghe1FUTcBV2IEV/Mbz7jfyH5KzePOCVNRcuKVQ491XqBuEKlMzlUDSK8VkeqtorSFaPIlycH6mVrkbNfVJVM0vY4DWEY1zrIyae8cWS/X+aCan+V5QAJYBhFldPm2c/s3zzkXF3KYyYoeJJo4fWXYjDFfOOblEBAGSoJwrvwxASGzzPBkflYmLHewCJzmsEwdizGuX7k0/U9wsryDEmiDVTFBbVeJpmobkpPBGUhpsBzfyOnmj2FdrbkUPz+D+6SHbD/6GRcTExpsmlmV9xR745dQy+qMJ18kdLSIzCGLdUADmpZDB+XMTIS83mHYQaIW8oPXKrova+ihzq8m6E8v9IUaVWK1K5mxpX6AOTdiV1Fzqc1rIida0jILhh5TpT4SlEZRrISMRsqUfkilQF2uaxO6qWNIhKnWTAA0lEhd7j9wR1pjj6uRy8zaRoW7N4T8P9p/ozjBU59OtHO3VGoUpR9vO5tdHNZy23imcz71mZi7mZwS1Sgh83LqVk4HNJQBAJcbNkzyMJKCcAY09XpZfwP7pjDSgVlfhrE+EPHp5sc+7awF0M0zlRw8fM+owatYPbMRlcGFe/kDr0rS/ZOtzUcKdKCHbI+jpQeewJD39WIIjmLNv6iU8wbFCm29bU0xhpdC92BwdMrjJcYkhZgwgPW49s1f4kQB75J9qeYJ5a5oGZ2icikkCxkr9Uc9C/CEPhtktuc+SQeQuG4Cnw/isCv4manKte2iCSjWhWRyMe4dknwwu6jux7ROkma9ssbr26R5w3j9yVpCAtVB3OyS81AGoCbASNxNbKwlOQPVKXQ5lyydKFZ0DmU3W61O709wDarRkwb4PWrxHMsc8VcMMQlULujF3ccm5oyE6aBV4m3Zwd+RXdc912P+31r3HyiOqU8ftH47MxmbRsim9rIkTUXTixq6h7CmpvFfDHbs/cCbZbuLkcowfBQq1qe+4wHRPCcRUI7ewrHtC1lDRsLz4BGWWYDKXhvVYuhVEXDjHKsNKSWFC4AGPQdGuAP1REFVPAUvPlJEUJZJY6oEFadHrPF7c9B0KtLGo7nu+7LLyiCoFnEGtGh3Lse6+n8XbO7I2cr2vop8iy0IjM/nxjbgPj9Bfcd45FXeDjIlAT8cIvpUO6vTI6EC2BMvxG28gAu4zkmbgK5QMGEoCpIYqm8X/VXLxOU51/5TadNWjVa2XHAbzkpqv1FqBOMkXAwHZk8yDUt2RmHw/5cn6m8STbTUKnqrXiv14sKwAw14SaZxm5/drltYLq6Hrxj21ezvRXIgayWBaBXPk2TD537PTBXbFH2hx1YnkJ8nyZCftELuxS/FRFFVrakp69nl2rhNo5oMqHLfn1ffq6yg5jt5h9A0fLzdNueGGU970k+g23L9AUxEKy+hzW2YHZ8cST9J+KluP3ftbbCcYDxNgVCuF6Pfuyd7MAkR1O+3VrZ1S1e4eeFdypM2H/baYf1cGTDLaPB1Pj/fm3tLyCDt9MYu7ER51shXHqMDJHu5T9DuMYJziJssFvSil5Z3V2uW9RGUfDjUNCoUud1l3ozXeKFayGxvyPbPNhag9/OvlQfZQhb4419WzwkN0TxZOIsWwMQ2ki3QOH1NWGzyHKlHtcEVWIAhNbfPh8TbFMUDcYE517cxdAshnlvnQyl7JZDGJeBXWBnYoilbQZboYmbKCukEp/Y3dGBxi7YaXaKhBjItTRrEImmLzjN3yRl53JRRqcWlpJQSmn+XtbSkx7fqhh9HLTz3+VMQDHRCHua5QGLqx37yNuYuRHmZgrRSCGnjP2fRDfsnpAFw8LL+zJpvrW6JNySeNqfmVgAKZleANc7WuM+xMk+/4Gxrsh71/rGFJzaKNhrHMr9sC12w23SUG6P24yowiACvUbLh6qU2QRDmvrjCT4/etaDk23ML8zI/GEjPxYHuoVZ4sZR93XlkJ9/aIH5Z5UJscONJ23NP7bbVZpnxEBO3ULcJfaKPWXNnoZxFLw4mZWyHLEk1lpsguLUcJZD0Xcbdja2KAB9yCD4kbv5aFP5TWMu7J7UJzF+JjbV5+2ZlazMRc4t3D23Dh7/W4gvBYNcwtNbbHZtX0+hPa7oYWd182HjWrL6K+x8/mTgw+N9h2xZHIYWGaGrR9sq0BEGC6fFo8e1+xA8xyKaQnOg022HZraR7GWwwLsD+cH0RB8019E7BmK0j26gkPbqUJTMf+YXGuF1PvNmZCFT875IGG40ZZ/ss8/N/s78D4eloM7i0JcWX9nrBP5cg6dI+f9C8M1DeL6V6laoGe4TbtK9KISNSH35TlHlAaWOGY0FPW8O1l+HVu/YEJmZf4RTlE8ZZLhkL6XPMLql/UEseUJun4emMji1jvLUsoKEX/1U1Zqx4MeviPYLpYEo9x92JtWbGcQPLOLytlqzx0UXhqy2ujGbaHFICpxUg/lrDQ/Dz1MdXyHo+IvLqD3Q6IurzwcvsWYImZ3As45xBI88FP22YgLKghpHH9P4riNQJLl62pEAvcTl1VqoodpwNzQvWD7I+kedfogZmLlfEnaL2hTiqaMHZGdbxESD6HoduuDKnVmOspMnhT+oDu/Auu/5in4PBPhkem4nF60O7Dtpvi4292+feBUxq1ndGLvfEh3LvKzwZ7S4DFbL56mhjKIYxjQTDlwjtwkYCVi0OqwmwhFTSCkPHydilG/YcRoNHLTCAXu7BFZSkVxWJcuQLWYX6xwnAKUzLQoQtZETJLQmSFr6D/f3H1RNWkH5MilV9M7EG9uwwrUd3bAmh0PkDoY5pH/6Dz6WKRQti6hzWruYE5Klvt0CP6dDWx+FcSjTfQef1RlHytMl2zQVCg4j2oASD+MLqIxbZrc+vohRO4bPJOQ5vzzEd9cm08gIAormPCYeqsRDZMpjtl+O4738sOCA7ma1KZBE2A3le/QwLNXPoxDTtr30TqkTmtEdb1+nDB0vQ8gANbf1bQ46sFo//6q4YLJVm46/NOe5z6PdK4N70tjmtIMHCbpYkpG3DZf5BIpYp9nssrj28bVpYmJTbAvr73mBF6hQwhjMLLYcMcvmSLCY+Mptr+4WVJ98A7ts5X52z8EfUX0Ekk+pgxEJll88F7ZCAcgMOXW9B10XGhWWPG3B0ETcVWZwK9knvMco+WElF5bU2m38wQg78I16KrKn08xJPJ7OqQA0PE5sQr4Dojs/v/fbU8YES+tyWmd5hA9/Cwhl1jbeII3n8zegyw31lPA+AtMjojpLlf/oUm2VglTMBd1VzeD3l6IMU7GUcjfIyn0sURIdzJFGQ9Vy6Dlulc2I/FXUfB0XwN+65/AKe5dbdOwMIvXHEn8/Ojlt5B3QBbWM1Lw1E9qcDZe4KAQlTqtEbZxTS8MC1+jCwt44UdfulK0uSLoiS43WF54fUzwHER4gJI6+xMGp4Tp7Etk6CmUa185bpRnO3Kf+ZjnM3nm+Tcq2w7DuOOU94A/z+5nBtvzKaUocSc5lYLQ6ockxv3Hb0ff60MT2uQBt9UO+vSCrb6iVOhcOmbzrAISpVHdVZ2Z8lWoU5/M5Ju05p94ArQs800eKs46oHhdZfmqZryA70w8iIo+7bPwlfX6HbFTvx3P+ngtGvKooUBsRsQ5vPTxDL5sYUIy6ckt/0vHJeI+wGAAErH+LrKuQ62JCzROzcem04BriD2hBWJP+R0WOtAZ/Way+gfn3jFF7BgFr+QvYb/rfPMIT7zQlE6qkokdAjB8m4aBxu6Bm9Q5abZbAQjcmhSm0XeyCbmYOvzSihW90hDk239hwklFYm5mUpB5A/ZwxroJpMirA/DrTY0VZcjSPHcRQoErwJSHlE+yqgBnNEPnw/QXQpX8CqNUAqkU5t/9PZhn4J/ZTse/T/OpGu8OhCuEfusZcM+rNrJX8O1mFGQKLnbklKVL3jK5yLLCQMZS7uBs5WB3aB65rdqG4zuAuBi9YpRt/qqKCjbkTuA2c5NK7Zg2POdVL1p0XrKnH8qlACgY3Ju2FDS2BMwTcKP5U1YphZNVYttf8pvtEIVEYTa3VwHXWw8OIuwYStAvExKw50iEhgimEQkct/KTw2iCtotuUKPL2o54ag9VzxX9xxmaUnfUbn3H1og6dWt8I5QgSE+vtTd6ce5cH/B5xmF+hMxPItHHnD+Qd871XJiEBoE4ZL4g/gl2aEbXXdXyOF+/oq+hIcKb6YJMcdbcK701N18i4aREGRQ/NmBiZbhtZUbHTmz2WotkIi1xx/YskJ/hrgNbPeMr3gkCYYrfp7wfBp6+2lXknScs53AmjeqM2eaHVZrrC6ymiJGIjRAk2lXZRYV/91eF+/Im7FZ/0izYsB62YowM80vbMDLcWKNI5KvcgaOIuXRw3CzR9Iq5tKy257/Tk5z05CgfAkr8hD58rxo2kf7viOZ7WAo2/wEXDC/wYgZhqABMQIzToMEYOPbg2CcBDE4AHBUxNHMUqtahK48Qmt8cApPnkvufn7tlExWR/5uiByjPQI4HSrtPZWrmbYRbTrjSmcrEwykxENFGBDtgEuXj98U84xMr26xm9NeBUJE8PfWMlbxkBhik0x1Dkkvk8C7lxF1yy0guSK1njuyAuFWbVZfI9DmSMFnaBkPZYBRo1kzh/3M+QUqkUu1/hcR4WrFGdO08mLtOO7/vhufXlZJzog+EE2WizWLiOBSMCg3VI+0WCOqVPPoUSSfHxNm/P3rDWG1A/oSHeuB5aV9xRMCY9JAZtHUxASqUNCYDjwFsZzqre9/UXOGN1vIcIC1tsHSUzjy27KDp3RUvuGIHoZ/mX2xGjOxEJZUnh98nD5/3ZOjz71yDIKuM7tRTiEYMvVRIU9zsCRZqSmj3y5GPYmG34MerPXIad/ETJ778TBAKYxOnjGGk+SW7xXTeHmTGeAyPiSVEs3DZdBrAHl1sOiMg4LVD40Ni93lkmTKn7WfZTV33ayQUbyp0UdJMxhj0DeZejIv/uYIY2p5eLbtCtHMj/tE9ZOgjfKHY2eC87R/4wCHI9efN1ul2O5mAtHW9mTzg9RQWR7aOEleHEzSacsGIV8MDCIscAzolQLEReC/sgeKajg0lTX/2Ve72Db76ndKQdivAkSP/wT+pWchhjFvn98oi1Jw5tCObd7BfBAoQHftzUn/zdWRSEEEhenibb/uBIb/xZ5y5FYZvxyGZJwyxkxXEWyz9trESqWJi72XmRVC/LYx9o5w9vv/SnxBxukZZv9E6pkWXsnkaWinvcd74IkSvPRSSslt42G9S3BseENys+MqP1thy1Mxa7QDUju/xrOXTFllxZOKaQeiVVk3TVk44alt6oLHfNeYHup5SRIktmdloGJwQBZ6VgdUQOadvXJZ1DmdL5TrJZgzVlawB1+8cpJuXRzHR8IjyfdGESJFuf3q3p6z37AWI7rZcERwZQPh/aO9XT9Yj1MiwwOE7F0UAoXzfLumlsEm3zdRW0GMdTcbvgHSTa+n/4nDdfQnlJEgoqOJnf4ikNsZJia6XG6Cdrkoz65oJckj6vzQTTszEZC+bZyQrdvSty7mHL7B0EFC4t6xaSK3b3lJtQs0jMEIDhxiHWVcnNZFZ0Kild77MBvIseA/oCWgJ5p3nROMGmthkLMxqRmCYvqBN/m8Nmga7+pE4VqOEMTDd3ZoarAhA9cO0YAX8Sb6JaUwLY4m4xObS/JGOm8FWFMO7gQdTacFpp9CGEHPGhAhHqDbHcJz1YBK61xkkuw7Bd16MNH1l/QZ360SvjJxum2qzViwprNmH0mLQ6GMBeXpxTKsJrNyiI5ZZZjc6tfztBjgSKj4hbXRsEWz/VSmxRGbxsB2VTJRGmNBb2hB12cOqgMAuYQqU9SFkhY17ILBYufthLSSijjqtHMcyP3umTUqPaEBg9ewFMAcr/NwVJ6iAs0SN1OdMsH6dTN+t5yZO90eKcuJFMxcn6HRszKRarabGQF0AvC4UkUR9Lsmlj2RNcH6YOHqNi0NezJaRD5Nsnjyy2glsEKue8VQoQSEXz0E0ugnlznMiA7uoqGr58AKvCpmqeRjxcWPEgLoSdAHLh+uI32iV/zTUpo6trqxuz/SeHS33Cb4hNNnRaeZXERqley/kC/PGVpVWrQxZrlgiuml7SAx1LCKC8KdVrBfOFHwiprHKQpbiXtZGecqcTLoG/o/44WpB+rXlAMioLECgP1ye5qCN5Y5Xmyxyj8B3boX0cR/AK8mG73x2LUrrC7YtjmRiPLDRJZlj8V2ww5ltXAnq1Si+M4EbOkf7jr2DrFJiNQ1M3s73MaB3If20iIuLsJy/YnFBKsA+fyR9B+rkzkUTq/eTGkc2OLauxVybffjwU7HEkLKNUBlU6+SEBJgmEmdFSpghEcEn7mFtfq0imYTRSDh/Fq4noQrsu3Q5cd8HpckYVkAx9oTEgC15OjzbiSnz/M7t9nUve0y5q1LbsuoDUU19YQgGXncJK3jV6pF0/TjqNcNjQ80fFiFn5y4vwzxX2AVk+5AeG+pyRLalevqi08iPKl/AucYgzJrr0xupm5w058gbm5VeKIT31B/xTDU6bqJl8OOfT0O04McLkq5t+bpEznOMTpbrgXBTFQTP/i/VaMYoSVhMZ8PyuZHpJ8FIBEkBjiluU9p2mE0UO9IavSIKAVVQqMcGEVjVWU0HEb4wf+r7CEqQGbwLtC1nuMGrTLxmln7coLpNrvYlyPyAYH6uhqSXHZjl4dU/oTOgIfVHVccEr6QNyD9YOiN8ePGbtYL+Go8O8oCdF3AcFVajgWM1gZuFTVx6+JTNH2m10Y3rwxqFFzjJOEGjjxWAf75JYQ4L6DwGaVxdsOA00MJD0+V1GARWXjWkYwqYnzTw3pwi2Xbu/KTi77uetWM7s6CFgO8UVJR7kcAl8V04qPGTKlbP5H9jKfg2E5IqWTM9YqVqAmuu3tJ0neKxO5u4xfchmaCXthqn/Ier9xVGSKpOWuHQk25kEEFaqOlI5dj0JSmznS3v05w1dKRhqL27nc1p/AZ7D9afKJ/chyvpisAKRPEbFi2hDWXebYXDibYfnXnrtgOwDOhzyVskUEQ/I924Q63g8d1uo95OoouVwN2q/Nn3Tr+5Kxum3aKF3UoyhGN6rhqGmWulKDrm5oQ6cmFWcj6AEjvMN+xbSg1gFN05cQuKc3+ENJ8XxDG8oq50lp0qPbW5zNdcW8iW01wBBHswqIWVHk4EZduL9f5AiEmJjYlluFbdCrUqGIfCCaI5TLxc6X5PJIM7l4YPeqVca6G5g4iZSQd2phWjSYbFlxF6dHfoYGZQ+bF0fg6hJYznaenPs7UrmPIRgmXvgtXdC3S8SHtBpvTH+JUlxt0qlFDj1QKYbpUOI+/tqHBUMTroxVFI7CFFJN1bvejWv45hoE49sOBWwbR25AaWthdEVbdQAQ7vbNHyKtVNYMHjtIWnJand5qxu5AE5otK7k5AGC8xdWWdnk+AJX1uRg46voHFVe5q1UuWaG2L/SIV0OMz9j+IKS8lhxYbIvWKpZpmwDrTaR5l36nz8Pv4xgQIc3mF1oZXbwCCpWY4Cq2UX7uqlRquxU5tnk/gpSwwqPwYANIO8dEGKk5BQ3ID70HzSt3F29wvb4l69d1AZAaWi0tLMMXNdGJbFvWZcToJLXM7bVqr+aj6pBqdKXuuzCATIc73tjeq2C4732ktuHlf2M4OShTSUPOykPTT3rtzIty0mrjOSUK6QPrw3YY8tY92ei8h72RK+FuUBAwlysxH0BjUYXeGfF1b9riBrCmpx0g0Km8L3f0oJESVMKRj5MtOczWeWzDnDAvmDDWLAN7VkgkdbL0vUGIoEbgEJi2ucJF26LCEg+mrlEc8d8pxWHa3ZMF1U0ZuC4pbRAJeMSUt6iY8P+p+WlL42lrcnVyKJqiR1pYpj6dxUEEP4Aex7Tv+HM48ssrbjAaJZwc7zZTc49JGfzd5ZooYY54FbPkQKqUyhLRW0e/9AJsGMri/UTdiUBI/SvTh/rY/owLe8siWtV4CVoYeIzRIMr/t0o2PtbcvEG6x4CaWmDDoIEz3YbSUBj+79O4O2Jtd5/RmNW6wDRLyqEuw3XN7FouObqQ9lqL9NHSIbi1E2C0raaIHau6nz9QQNJ+30KFKmBeK+hApsZ1EN5Gu5t2l7bRoGqF5WbLXl0wo5ET9Cz3oBGoJs37pEXco3ysopt3CDpB7rwPdmgyvHMiXP+19rs0DBwzf6sp/imyNnlkQOs3CoND5CzUklZ0xFkVTMBIA2qChaNdL3rNt3yQTl7KBIS7N6ECiQ9TAyc+fWox8IK4epPoMF0VNpmS0zGYqhIBR0uOjMCgOys51mM0VN/bQ24gaW4rm4qypCX0983AyPgTDeuDjxja6spVeq8mFhPzQiMWe01gawHR0FcUYXghvLUr4cSqJgaCUBw22MBcZmV3+UcM5oGeAnE58jFhLkPYsL5Tn6MJU0StISi0ccGI3m8xBxFXRjFcf6h3Fr87aWoTuGg/0UtJ6+aNPPULWG7+hsbokt8uerToeCCd96gUVq0wprqDb5w7rQJMZ/+Z7dPTwsEJdfNVwaoT73z2v/n40kflcs6Vg/LA0PXCz5bl9pbNDk8SJqap8IbMo0A+iWR+ZDQKnC2rSUho4k3TA0M54SoUdGYkVJcAH5mqvWzP/MgjORXtxvEjbqY7W7MilMhzIo8HopIheNV19JcNZMNAKiMtXbYIAXUtEolGckHYNRkT5DxvoEQZCIiockdf2oia1oQBdQt67fFXRhFSdZdntcV6V6vM1xTcIaUbeilYgFx5rsWg4bMm722+tBnCYmfSFqq8fQEQ4QuW9Ax19up0I3Lhh/p+goUUKKMgyp79jlr7xNlJiDjxCbMIzdO+NnJkvefitNieUe0lIwhQLslOfrJ5dxYwBs53PIkXJ0SGQVqS22xO1RygrpJJ7SUT4fzZG1vZrenqPEQQ57404dU2oOzkvqPPR1MEaKw8fZZNrYrv/CRHhxslPFmuAIABMMkOESvZJBAx28P5BNfjNVw/fGoAiKZqoNXJ2uiaqKNsNVlVYdfMqq3gPwtC+PfuhzHPEdV07h/4G0+SjyWg32okz8PE0LohqtWgQRJ0Hh2D0qtTVn3/+usjtbF6aYgMJdTTChpgMAenksiIQgbjdnKrpeTczekO9C0lG5LQrjf45Zd07izqs6pDvAu8vqPo4v6GjN8Ai4td3FyTeeokM/kNvRl/fBbCopopr8lIdowOkRkhiNzAaQlFTOQmmB1pM5zaDdnaleX19iUeZPJjWI7w2+lxpja9IWl2uuDGALzQRpoDvnBIWfosGqP2Kw8WkVHu9u5k27MX77VvyxWKSzwJg31UbOWlA8PyOZUCIAi1X0qb43TR8tJ3XqcI429iyR1dmiaLwKBwqmnfxNhKK2JXsozbJrgh/FxG9tey7H+ZsjvoOIdRGxHr++bcvekR1Rf50rHyoYwF1X30eKyK/dTAXm1whUaJbq6Ljr9bUgq+mYQlHGFLPVKihNWQvFaYeceVlYBWncrrBKfgg4Jg/m0ombjYZu5jpvtrV4EkXRHiDemhBG3ouUi17rQNGjAxu53FwzLk6IvcR0UxU32vhzpgcVELPlFv+qOymoD2keIQLPKM7qXNknzhKm/wnvBnGWXW7h4MAirvdiBFKLzXAwod8JC90yt+Effth/3rt7Lz3YfmEnnbePVkhI1uAck//6GOtNHC/kbnJZZ+O9jKOCuPelBuuFZRaBBwau29LYc30A67mqU5mVuGeP8OyTeg1Y5IzeYBUuzq8NA3XQ9wcS2N04ENeBtDlm8RULAvUfquptAxn4H7tVPnR0qUFxEzPepBakvKQRt7TkIf2mGYx0VOxjqnHI8bT/h3qHttAEw/ue1Po7u1wU4vpfWBw2X/5bF1b1nMWhy7/Oh375ixEQy7YE4pDDdnbvH5vFGM3jsx8UDBg+VIAWak4iA1KtnHgKfX3aiVARx5OgUczsSr7v8AJEQ8vXNcxuYKa/BylMcOhMehwHSk15Gz69rvBurwc6o4AqSIHWkMuTsdp407M3kBsVBkCcwj9R8xqmsFu4s0SSOq3Y5h5VdY4qlywlnIgB52uXvzqjmdHrh1xW/E+2HLYCt4Ft9rp5gEQ4za1g8R/WMb7XVxn+B7IOyWxvWvbiCubVIfav6zWtwsBVkCfoEnqj33jyRT6D+o5hABAeVSEVCd6RKFPNE+xGq30lOXPSfbc0cY/KM7rLJNOgzVgq+JEpcyo86USpqe0IeGTZ/AzM+NOPyoeBssIHD68yeWizfqfnl0DvOVxJmfz4HtVotnf1S6Xjaguue9z/mgzsAuJSSe68lTqTcadn6A1nLxS3iAzNbbhAbu3qI1erIaeImHlr4vOpAqqG9bFxz7KuqeDCdCGsFeZMOiupCVNuXhYOAk31R/9DkhOo2FOVBdn8k/Pr9fyat6fhEEpcW9jLS4Z52p53ZipyUk/IWqN+k8bh/0SX9icDcJUpYYt+7/EaXAf3hM+PTs8tSD1iU9HgC3O3JtdVRFwmtXbXgrDRwlIuzERiq4lOQGBaG/zENCEwNMvtAZ+I25SgMqo1IfOMSRj+5NM7IvDV5oRX94lIKSHL7cE4hdUKmygZ7csb5AN/wl2mDWwNimk33W002RBnbJ2A6Zl0TlzjHLroh4TfxC1hTK8dyeXm0l8cI8ZqZyalsER/47oC3kdqBVdru8PkpDlwL+j6G9Aj4zvELIkROFioqtajLYswJlVx2GI+x+jxZ/EXaaczXm0THKeVL5pL5RLN0J2ovEHHc7e0lHm0WH5DnRWIrZiwOLHjL7Eh9gYlYo2h5ph5nlzx4cyI0j6DGg1M8P9MV8EVTB0O7D4s+tqctkiFz3aMC1JNIYVFbgHhQNpzxLaFfy+Kg/JTO7gOXj6c5Pu70WCZTr0+Owuf4Km0SMFfhI1KkiaVX7FKuIzzcPbv5/bqrLRGeeCLnrveg/UwZVK2W/lIUj542pPNhk2D10c6i6WZBDh3GVb0XIXvMXEAmAWGp0ijOhJtRV/GMRcMtTPPErp/czjsvpubBeQm58Xua5LnFUDBd2eFGAS8a191jATlw+fZgvTDTI9+h3+OseTrtTUkT9dupv0LrS7AI3FT3D2sLlSPk527CESDy1mvZ2paEYwKYanIrPRaSApjh4nf5BvMuPkP5NsKjXbuNXrcFASG84L6dwH1vAQUTt9w9rOqEnIWMyChVOFa4dCd7x7r2iLQFBn8pr137SjJx/HSBjkPunvD/DSiC6zhP5DzBeqvRwMQir9ffq6Uk4noLYiTW4pfGcn0vSuy1UX88zQ7SYDaSnv40YOhU51KWCFFuyEErzUyVvI+uANiiC33fQ6V51be1o+6uPt/Koo3A3AmqxeorLj4YSi0hwzkpDqGQFWEWWSGCLGORmGm2u9E6vV9oFHkEMjpTEI5OBgqZtxcdcBO5b4GGhiBIzs/j7qa6UPJELM3jdglZkj1RM00Wu1qF+fJbtWDXH9q6pxBup4dOjJ+17NPqaSXlaChPjrQtrZeLKzRKzU1gcaqDQS10QkMenwY9L6/9KcOGsGJ+1uuFaXx54pN9WntTudkj3X6CXrcyeyJRW9uAab31IKOuUAS3bzMVSQm3XITlJYwwIQKXlQgag1rsVGWjyFmwBnY7EzOzLsBeVwoBIThBf2sXc8RFgDUPZYbqYbgZuO2bKwmdM3BEoC6F6JMLO+Kwq3s/vMGHTnmxQEcfHOIyitdWO1pN2LVyxMSJq2RVeu7JtBPy1CcJEyTLeuJ5H5Qew3uXsDoF+8pD0CsfBsvg+BnUzA3Eq1ljxL6EPjkuvQoErvbsvpEjaDVF8rFGjLWOnytp1Y+9M+GX9nQYLfEq97miNDeQOyZff/JyPgYlhi80Ll3Vr97CGjwC+Vdu8o24uyH7NX7i5uQyKuYuz2AVArD+NWlv5emqdeXQalqO5Oeby4ZFuyWGHdOVXWcDetW7IZRv3fRyrUAOJ4A4aXH/SKGpAWqOyQdecI+A0uK3H+puL4rs5qtszHoCTcAPYBjBtZWJULsczOnjIRRbDXMAtfxa9R9FQSENDXHJNnTJ/B2KywPtASn1YWEyuxpvXuZAWitto1FyJe4d/enr4u8XQkIkdjlOSA9pwzuISi7YCLujqsvcpao+6RdYJXHQf8fvgwOdKAH4Vwjv7kxXcSyrUCNkSgYk5e62H6kRTlV3XJKgiiJM698ctHm7ZYpJ4wrrrw2kkbBQddoVu5JxfiIBJSb2a30nWxKQRQlm9Rf54QzGwMTNjL97KtbShh1z5Vr7eQM+kWp3mpIVdIKTr4gb0oAP96sE7lgU1mU5jcIB34QSoEZEw+ei8wgbN4uX4+6bnjjRRSeNPm7d76AB7y43aTXhZx84t2CqTWxd2lRIVykvQ2tGBHvo9bBJonZplWc+Qrkptj8Y2JcAmivIC02Aq17xb3LKFA3EMT37V68z6FNIaaE8lQOjyLodmZR4ZYHmFCaKDcRA+cuZorSyzCI4L9dC3QpqsLGfQ38AwxAOfdeugzP0FYSiNBzmRuNKjA80anefqq26dokRynRX+eHYwwu5oAsRSV9Az33uI7nz/UYEwpSIdYahOmscURttB7ocElbS6UKaufuVT4vcghWo9sxcJAWxEk+PctpQ+yIxS2s/JNsQPvrrcqkuy/pz34VDw/K2gX93DG1MxS4UAPcUc2VGz2d2YyyI0uYNZ4wpw43PXV+m2Uqe0ZnCwXFZwlpTtk0ibWAaPrBwmU98zsYZyGx7OnuPu8ks2hJ/MbwKsi1doE4W9KjQuJYcgMnPzqL3OX64/Gj+6yv7zdjPebLAlkm6aoGq3ta90t/HJa3/dkBcWzN0rWY5lwvpdboy5LFq0sbEq37u/XU2aEu6HfaWhSj8KNlW2ktuWPF1fnTbZihKUhsiN5x44nhljvq0ZWF2SH0iyb8q5yfLSnvDO1aa50frIYwTJVKmyB8C1qLi/rnAbp8n2HV6Qrx0bQngY0GMLQfQ0Yn5Xz41nw4PaXiY3UA6pB/bFGqdiSuEXfFKAoj+hO1vYgFBO5WupTpxhPBbog+5hdz5Ac7fyMZapM1Kk99BEZp/X23GizgI1DmdFZpoytiA8cUj8JVVKKCEy9mjHC9TjYV9qefdHGSyyd2/j30VR0/rPb5CuhFtGs+ql7jxHdQBl5RfTU2XY74HqusJIvDHMQm474win1Hbt0QdlyL2Ocnh3mb8yjXpwI1t1q3Iy+wor7Fte1AFLb1qp0NTCS2WvGY2D7q0sA7do5R3sAavz2HC6Hlduck4ca71XaXT5UGGYB1xCiaw5/WkEMn+vUkfSfRuH1LbMa/oNxhLISPoE/bRjPVoAOaY6Dd2cQAH9/QpkdOBfGDgvy5DDyMosNjVsUYic3hNi6RvM5VnS0eLbOzcyg0DqgAFVe/slAJylgzqsaCz6YFsOc2gHyPRZCf6ea73s9Th5rVZEs5wrraOLmtxxK/KBoaZ54I/3gKl7pC5rbNvJtlyAgpBtATNIY89idaHqU78yZn1ftNRZOcy51un0Mi9zsDrWeVpd/ZJLySmtB4LOXliTc4HLRTItmnOTyhVvUkd0mtlCiFHXgqz/4Dh3GXcICCibugs80gz99/FvxjtunfuIrA3kKBFqEO7Pvk1HrhOK73GT0v2ILDa1qjg9k+0eEVZW5OzRvJdG7VTFte/FJrQ+6eZ0q7dmOTQF1UMChKZDhonHBDL3HQSFRX4CqX6ZLeRop2pZFv2YrBRaNccEXstJPLZY4PqZukxOxdTP2k+e8KtfdSgKrZlC4vOTrQipkoEBbu/0wWE423OyObbz2IUk3lAGSk/B01pHB6Fv9fu4iwGI88TMaEXPtGdAsDBvzSlpDmnD1wzAjqEdvpy/3fKgm22fQyIP63ZXWin0Q2kfIpGY5JP0SqymI7dUxPnfCCld2vbLWHswCX6NgdMx/n5yWoNRE02y95ojC8lSMcEjCu7KpKGt3mGcrWyg0YAXptWuw5paL+lQD+rXukztP6qsA9TnYuRiHmnb4mN6nCtmYAtPC1OVTCWydZhKvY1UNJm3iQzI0BPRn3y4rvwkGlQm/1CmNGq5oD2CwqU8K/F6/6JyQZs1UrZVfhSauLJDrgE9G61Z6rhm1J329CJCN4cx3EECoXwiuMZMi5JHzGXBdEtnk01GTTizX2zPIZxz5VBzirX0rp+s8V4ylDLi7ZGMj5j1tK0po20ise1ITIv2cBEJEUjoy15yntnMjNHObLiXfjDHikJRICyMmjXucbCXPu24i4Aa6QllZcyAtY4cmLBm1RQtUvxWWh6hlMlV5mVeWwDgqFpgYUThk9rCId7t/A5eAhPLVhPNyQLjHtNywEn02qmNHxkP1yQOltykdnT5h9xZgNDbXq28mYpHdkE6fmqNpGXebJeL0JJ6HK+8pB6ctDKfDCX6f2cfUE4vsYmRkktW+VJNvkBXlJj+WegOfLcjdPKHYZ1JsON+kc9rsuB8nor6+qaQXMP7bqEW0io8fee2lwzSF9lw8hqyn6WSurvjgb7740O/y7vUUJi5pmMSSHGq6p8nijBNGAkVSF/W2zy+2bbSAaTVErYfIujanR5BCJ7J3RUgPjO5wnok3+FgPHbg96Ghx9YEowV1InEUrVmE6jS735wSbJKrkp7uLM3EqLrHwlfmIwq/Bjo5pqBcaYqX8kqFuyiMod7eTnFp23WaVY9Q0RtJqOpTlGY210p665wuerY8nYxzCZ6NHzWjtSsBU4mROmd65lFabr4w4wTommfl9ah9qbuo0VcwP7BWz4CxahTZHOjDQnwotya+zuAWaCZ9OaxsNsYYiAfQrUD9idFSe/W1e2Gp9sqYD8xyeK0txzaNjRr9fO0do2DNQJnFJhxUMqxQsgl/7V0q35zFsQWxtMSB6Mr9jyKQBW2dng9ocrtB5NTRgebNV6J9dvaGhKbW3fH5ee3Q3okdyjUr16vEyi/7G8jTrE1Jx2Q8Jw784bkyqqrcU9BDHfpVxP0sXd6yxumKpLhNcsWLHNCCPtKjbDf0qyXu9BFOuLdTGZVV6+I9vi9Wg0569huWf96uvjcDkpPS5MG031BzQKWcKNu6Mv0HfTPmfhO24VDA6VdSXhHfBUo7/WhCXOHrrjoYn6s2vN59hbD3YApKnopcenumwuOk5mMHxpDUi1EQ2A8bheIGFzawNYQxaj0f6Ixnn4K263L/TpO7y5Xl9RWCAycBGaKnQh9Am7SCuI1L3zWlKePdA4+t3EllsxsPYVBg4RAUkul6srCEN8uc7pEhDEORWRaf+8l6GsUNaCkDOYeOJvEhuLN3vMnrmsuJbvgf2Xfxb37/8o+nblUWFZ7Y3RvfWDbplxEwek9B6sDlUmQRfpS0sa1OPF7pQkc1CIGLBmJzqPK2dhq597Utvft9yKhWDix9c69XUmFYRH3GAK46nR0hKbCN1myNvVgqzWLQ2YAteC4xcbe7Qdu00gWq0n/1ujzOC31DMd1kVQp0PcxjVsf1J/dNI4n7PfuBXkBtx+ux3BWpRAvKyaJ86YdsXZgJ+rLO4RzGBN/+CA0pfKhDjfgNkoB5I504Lf4FeiCImXPyVhehf6XyDnG2tI1E9HkwHUbp/8I0xeJUUFFr0c3rfhjTisZyqbWq6msDfBrLQ/lnuQW1YIwCh1jtI3B7uR34v08LAqJol2l0RdSbrt17X3Ay+j5jB2D4zh7x8mc0pPwB2tRwH0cYjWm+Y3RLz7wTzvsBdr1gHP+5TiuooMw8QKaSem3m+r7qNIZS80WdvxzLCPr6E7FLlniVhnQRkFAqMK39pnkL+GvZ1Vw43XCK4LwAg1VmElCCux2UqrJ9rOoKkXR4QCtci5TtHBvMlJ5i4fPotwArB3HeCIruujyno6kVTnaUceSaRo8HTmHzAp1lgm/QyT9H+Dpk0dfG+ZASzxBW9EHtRTlqYGAVJq7SkrvFgoyFa4M7nBmmFXy9tVw+/xHlMHc4CXrsI7kse8T/abu6FVw7CFvuj6DewMOpS4AkaUYDTvrZ1t46l/SIRc6Hyn0M0Gw5vHoqaUMVJx7wXimohLUaJUBsvupMHs26Guf47ySMJQ7ndIx8R5jqxaXTo8HLsy8bUgCWDuDc74ppKTEJGpvYzOjx79tpVm9LGpsLymp2PN3DW28b7wkGPbHOeYo238eLNqSzumR21jLTSM2fA3t0VGOM4+PbOUvtFFDOx8ZPZGzkoQnOtlY3d5iURydE/ecxC1mGhhuRpHRzzSAD41RgHYoDkVGhxlBxSCMIiWwfEI6V44AP+jFTQVK3aCDlHxHe0nBh7/V0u4EG9/VrzOPqI3G/vrNJ9BPzFIqnWiwZvYhO7/U5ToSboUDGAtJx4n9TuOl5ZSULjYCrQypGrvVRcwUuNOtPVFNedsY3EHbAo2lARALgTEry9xL6WIbsb6PTrf+2+3u3Uzkwae1CA/9IKrUKCRhXmRYfYHSMmsauOKIO9so6xhWpIvHlGqyGPWtx64WMO51LVU8Vwd2pV0E4ktOGaty8jLtOMdHV/3LBaGFe56ajopH7Xm9lsfojUuvf9tm5dzZzTq7vDdf/xA5kjtRO1mdTGv3cn5TkDNfxjBkhI8wotSik96To1jcjdO+6VGX5pxbSkuO1Rb83ow==" title="Mekko Graphics Chart">
            <a:extLst>
              <a:ext uri="{FF2B5EF4-FFF2-40B4-BE49-F238E27FC236}">
                <a16:creationId xmlns:a16="http://schemas.microsoft.com/office/drawing/2014/main" id="{BC7ADB42-81E0-4988-84C8-45FAFE915AFB}"/>
              </a:ext>
            </a:extLst>
          </p:cNvPr>
          <p:cNvSpPr>
            <a:spLocks noChangeAspect="1"/>
          </p:cNvSpPr>
          <p:nvPr>
            <p:custDataLst>
              <p:tags r:id="rId3"/>
            </p:custDataLst>
          </p:nvPr>
        </p:nvSpPr>
        <p:spPr>
          <a:xfrm>
            <a:off x="335280" y="1275055"/>
            <a:ext cx="11521440" cy="5000343"/>
          </a:xfrm>
          <a:prstGeom prst="rect">
            <a:avLst/>
          </a:prstGeom>
          <a:blipFill>
            <a:blip r:embed="rId12"/>
            <a:stretch>
              <a:fillRect/>
            </a:stretch>
          </a:blipFill>
          <a:ln w="1905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3167" tIns="33167" rIns="33167" bIns="33167" rtlCol="0" anchor="ctr"/>
          <a:lstStyle/>
          <a:p>
            <a:pPr marL="0" indent="0" algn="ctr">
              <a:buNone/>
            </a:pPr>
            <a:endParaRPr lang="en-US" sz="1843">
              <a:solidFill>
                <a:schemeClr val="tx1"/>
              </a:solidFill>
            </a:endParaRPr>
          </a:p>
        </p:txBody>
      </p:sp>
      <p:grpSp>
        <p:nvGrpSpPr>
          <p:cNvPr id="40" name="btfpColumnIndicatorGroup2">
            <a:extLst>
              <a:ext uri="{FF2B5EF4-FFF2-40B4-BE49-F238E27FC236}">
                <a16:creationId xmlns:a16="http://schemas.microsoft.com/office/drawing/2014/main" id="{3CD0DAC7-F658-F506-5EB0-C10D5C375BB0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35" name="btfpColumnGapBlocker862954">
              <a:extLst>
                <a:ext uri="{FF2B5EF4-FFF2-40B4-BE49-F238E27FC236}">
                  <a16:creationId xmlns:a16="http://schemas.microsoft.com/office/drawing/2014/main" id="{9FD71F4B-5A7D-01EF-6789-CE7C596DD60D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26" name="btfpColumnGapBlocker325076">
              <a:extLst>
                <a:ext uri="{FF2B5EF4-FFF2-40B4-BE49-F238E27FC236}">
                  <a16:creationId xmlns:a16="http://schemas.microsoft.com/office/drawing/2014/main" id="{AE6A27B7-46F5-25F5-7CB3-E0DBA42F84DB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3" name="btfpColumnIndicator981972">
              <a:extLst>
                <a:ext uri="{FF2B5EF4-FFF2-40B4-BE49-F238E27FC236}">
                  <a16:creationId xmlns:a16="http://schemas.microsoft.com/office/drawing/2014/main" id="{DBB3DD9A-A1D4-660E-EC26-0B82BAC2A691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btfpColumnIndicator209346">
              <a:extLst>
                <a:ext uri="{FF2B5EF4-FFF2-40B4-BE49-F238E27FC236}">
                  <a16:creationId xmlns:a16="http://schemas.microsoft.com/office/drawing/2014/main" id="{C245389D-D089-1C1F-5F8D-5754D9FA22A2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9" name="btfpColumnIndicatorGroup1">
            <a:extLst>
              <a:ext uri="{FF2B5EF4-FFF2-40B4-BE49-F238E27FC236}">
                <a16:creationId xmlns:a16="http://schemas.microsoft.com/office/drawing/2014/main" id="{6EDEC9D2-980E-2D6B-6580-B51B0DF730A4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31" name="btfpColumnGapBlocker585414">
              <a:extLst>
                <a:ext uri="{FF2B5EF4-FFF2-40B4-BE49-F238E27FC236}">
                  <a16:creationId xmlns:a16="http://schemas.microsoft.com/office/drawing/2014/main" id="{3F0759EC-8D5F-5999-A72D-318C21BBC344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25" name="btfpColumnGapBlocker530421">
              <a:extLst>
                <a:ext uri="{FF2B5EF4-FFF2-40B4-BE49-F238E27FC236}">
                  <a16:creationId xmlns:a16="http://schemas.microsoft.com/office/drawing/2014/main" id="{6CEBB614-4835-A2BE-C8A3-EE2981887EFB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1" name="btfpColumnIndicator410629">
              <a:extLst>
                <a:ext uri="{FF2B5EF4-FFF2-40B4-BE49-F238E27FC236}">
                  <a16:creationId xmlns:a16="http://schemas.microsoft.com/office/drawing/2014/main" id="{5D6DBD9C-A3C7-915C-A8A2-D0E113801630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btfpColumnIndicator997224">
              <a:extLst>
                <a:ext uri="{FF2B5EF4-FFF2-40B4-BE49-F238E27FC236}">
                  <a16:creationId xmlns:a16="http://schemas.microsoft.com/office/drawing/2014/main" id="{1231CD2E-BD3E-28EA-124B-30B99B57CA78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Peer 2 witnessed the highest CAGR of ~50% in its workforce in L5Y; Target is placed in the middle of the pack with a CAGR of ~20% during the same period</a:t>
            </a:r>
          </a:p>
        </p:txBody>
      </p:sp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870999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>
                <a:solidFill>
                  <a:srgbClr val="FFFFFF">
                    <a:alpha val="0"/>
                  </a:srgbClr>
                </a:solidFill>
              </a:rPr>
              <a:t>overall_1_132334223706527884 columns_1_132334223706527884 6_1_132334225502619957 9_1_132334225898980258 16_1_132390894981357400 </a:t>
            </a:r>
          </a:p>
        </p:txBody>
      </p:sp>
      <p:grpSp>
        <p:nvGrpSpPr>
          <p:cNvPr id="16" name="btfpStatusSticker443151"/>
          <p:cNvGrpSpPr/>
          <p:nvPr>
            <p:custDataLst>
              <p:tags r:id="rId4"/>
            </p:custDataLst>
          </p:nvPr>
        </p:nvGrpSpPr>
        <p:grpSpPr>
          <a:xfrm>
            <a:off x="10102664" y="955344"/>
            <a:ext cx="1759136" cy="235611"/>
            <a:chOff x="10102664" y="955344"/>
            <a:chExt cx="1759136" cy="235611"/>
          </a:xfrm>
        </p:grpSpPr>
        <p:sp>
          <p:nvSpPr>
            <p:cNvPr id="5" name="btfpStatusStickerText443151"/>
            <p:cNvSpPr txBox="1"/>
            <p:nvPr/>
          </p:nvSpPr>
          <p:spPr bwMode="gray">
            <a:xfrm>
              <a:off x="10102664" y="955344"/>
              <a:ext cx="1759136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ct val="0"/>
                </a:spcBef>
                <a:buNone/>
              </a:pPr>
              <a:r>
                <a:rPr lang="en-US" sz="1200" b="1" cap="all" spc="450">
                  <a:solidFill>
                    <a:srgbClr val="000000"/>
                  </a:solidFill>
                </a:rPr>
                <a:t>Directional</a:t>
              </a:r>
            </a:p>
          </p:txBody>
        </p:sp>
        <p:cxnSp>
          <p:nvCxnSpPr>
            <p:cNvPr id="15" name="btfpStatusStickerLine443151"/>
            <p:cNvCxnSpPr/>
            <p:nvPr/>
          </p:nvCxnSpPr>
          <p:spPr bwMode="gray">
            <a:xfrm rot="720000" flipH="1">
              <a:off x="10102664" y="955344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btfpNotesBox502257">
            <a:extLst>
              <a:ext uri="{FF2B5EF4-FFF2-40B4-BE49-F238E27FC236}">
                <a16:creationId xmlns:a16="http://schemas.microsoft.com/office/drawing/2014/main" id="{63E3790C-1073-1872-8031-AFB45FDB393F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gray">
          <a:xfrm>
            <a:off x="330200" y="6316559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ct val="0"/>
              </a:spcBef>
              <a:buNone/>
            </a:pPr>
            <a:r>
              <a:rPr lang="en-US" sz="800">
                <a:solidFill>
                  <a:srgbClr val="000000"/>
                </a:solidFill>
              </a:rPr>
              <a:t>Note: Irrelevant profiles (interns, former, retired employees) have been excluded; Bars sorted basis CAGR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800">
                <a:solidFill>
                  <a:srgbClr val="000000"/>
                </a:solidFill>
              </a:rPr>
              <a:t>Source: Aura, Bain analysis</a:t>
            </a: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08BB20AE-A35E-FB51-4EC1-5F6C97DDD7A5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0646654" y="6191366"/>
            <a:ext cx="1261892" cy="353608"/>
          </a:xfrm>
          <a:prstGeom prst="rect">
            <a:avLst/>
          </a:prstGeom>
        </p:spPr>
      </p:pic>
      <p:grpSp>
        <p:nvGrpSpPr>
          <p:cNvPr id="34" name="btfpRunningAgenda2Level167877">
            <a:extLst>
              <a:ext uri="{FF2B5EF4-FFF2-40B4-BE49-F238E27FC236}">
                <a16:creationId xmlns:a16="http://schemas.microsoft.com/office/drawing/2014/main" id="{24785D0C-5B2E-B665-5DBC-DAD6E1C48505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-1" y="944429"/>
            <a:ext cx="4023788" cy="257442"/>
            <a:chOff x="-1" y="876300"/>
            <a:chExt cx="4023788" cy="257442"/>
          </a:xfrm>
        </p:grpSpPr>
        <p:sp>
          <p:nvSpPr>
            <p:cNvPr id="42" name="btfpRunningAgenda2LevelBarLeft167877">
              <a:extLst>
                <a:ext uri="{FF2B5EF4-FFF2-40B4-BE49-F238E27FC236}">
                  <a16:creationId xmlns:a16="http://schemas.microsoft.com/office/drawing/2014/main" id="{9AD17E78-87BD-2BBF-CA4A-183D3A6D3C42}"/>
                </a:ext>
              </a:extLst>
            </p:cNvPr>
            <p:cNvSpPr/>
            <p:nvPr/>
          </p:nvSpPr>
          <p:spPr bwMode="gray">
            <a:xfrm>
              <a:off x="-1" y="876300"/>
              <a:ext cx="2327781" cy="257442"/>
            </a:xfrm>
            <a:custGeom>
              <a:avLst/>
              <a:gdLst>
                <a:gd name="connsiteX0" fmla="*/ 942786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42786 w 1816204"/>
                <a:gd name="connsiteY0" fmla="*/ 0 h 257442"/>
                <a:gd name="connsiteX1" fmla="*/ 888066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42786 w 942786"/>
                <a:gd name="connsiteY0" fmla="*/ 0 h 257442"/>
                <a:gd name="connsiteX1" fmla="*/ 888066 w 942786"/>
                <a:gd name="connsiteY1" fmla="*/ 257442 h 257442"/>
                <a:gd name="connsiteX2" fmla="*/ 1 w 942786"/>
                <a:gd name="connsiteY2" fmla="*/ 257442 h 257442"/>
                <a:gd name="connsiteX3" fmla="*/ 0 w 942786"/>
                <a:gd name="connsiteY3" fmla="*/ 257442 h 257442"/>
                <a:gd name="connsiteX0" fmla="*/ 942785 w 942785"/>
                <a:gd name="connsiteY0" fmla="*/ 0 h 257442"/>
                <a:gd name="connsiteX1" fmla="*/ 888065 w 942785"/>
                <a:gd name="connsiteY1" fmla="*/ 257442 h 257442"/>
                <a:gd name="connsiteX2" fmla="*/ 0 w 942785"/>
                <a:gd name="connsiteY2" fmla="*/ 257442 h 257442"/>
                <a:gd name="connsiteX3" fmla="*/ 0 w 942785"/>
                <a:gd name="connsiteY3" fmla="*/ 0 h 257442"/>
                <a:gd name="connsiteX0" fmla="*/ 1111101 w 1111101"/>
                <a:gd name="connsiteY0" fmla="*/ 0 h 257442"/>
                <a:gd name="connsiteX1" fmla="*/ 888065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263386 w 1263386"/>
                <a:gd name="connsiteY0" fmla="*/ 0 h 257442"/>
                <a:gd name="connsiteX1" fmla="*/ 1056380 w 1263386"/>
                <a:gd name="connsiteY1" fmla="*/ 257442 h 257442"/>
                <a:gd name="connsiteX2" fmla="*/ 0 w 1263386"/>
                <a:gd name="connsiteY2" fmla="*/ 257442 h 257442"/>
                <a:gd name="connsiteX3" fmla="*/ 0 w 1263386"/>
                <a:gd name="connsiteY3" fmla="*/ 0 h 257442"/>
                <a:gd name="connsiteX0" fmla="*/ 1263386 w 1263386"/>
                <a:gd name="connsiteY0" fmla="*/ 0 h 257442"/>
                <a:gd name="connsiteX1" fmla="*/ 1208664 w 1263386"/>
                <a:gd name="connsiteY1" fmla="*/ 257442 h 257442"/>
                <a:gd name="connsiteX2" fmla="*/ 0 w 1263386"/>
                <a:gd name="connsiteY2" fmla="*/ 257442 h 257442"/>
                <a:gd name="connsiteX3" fmla="*/ 0 w 1263386"/>
                <a:gd name="connsiteY3" fmla="*/ 0 h 257442"/>
                <a:gd name="connsiteX0" fmla="*/ 1263387 w 1263387"/>
                <a:gd name="connsiteY0" fmla="*/ 0 h 257442"/>
                <a:gd name="connsiteX1" fmla="*/ 1208665 w 1263387"/>
                <a:gd name="connsiteY1" fmla="*/ 257442 h 257442"/>
                <a:gd name="connsiteX2" fmla="*/ 0 w 1263387"/>
                <a:gd name="connsiteY2" fmla="*/ 257442 h 257442"/>
                <a:gd name="connsiteX3" fmla="*/ 1 w 1263387"/>
                <a:gd name="connsiteY3" fmla="*/ 0 h 257442"/>
                <a:gd name="connsiteX0" fmla="*/ 1263387 w 1263387"/>
                <a:gd name="connsiteY0" fmla="*/ 0 h 257442"/>
                <a:gd name="connsiteX1" fmla="*/ 1208665 w 1263387"/>
                <a:gd name="connsiteY1" fmla="*/ 257442 h 257442"/>
                <a:gd name="connsiteX2" fmla="*/ 0 w 1263387"/>
                <a:gd name="connsiteY2" fmla="*/ 257442 h 257442"/>
                <a:gd name="connsiteX3" fmla="*/ 1 w 1263387"/>
                <a:gd name="connsiteY3" fmla="*/ 0 h 257442"/>
                <a:gd name="connsiteX0" fmla="*/ 1423688 w 1423688"/>
                <a:gd name="connsiteY0" fmla="*/ 0 h 257442"/>
                <a:gd name="connsiteX1" fmla="*/ 1208665 w 1423688"/>
                <a:gd name="connsiteY1" fmla="*/ 257442 h 257442"/>
                <a:gd name="connsiteX2" fmla="*/ 0 w 1423688"/>
                <a:gd name="connsiteY2" fmla="*/ 257442 h 257442"/>
                <a:gd name="connsiteX3" fmla="*/ 1 w 1423688"/>
                <a:gd name="connsiteY3" fmla="*/ 0 h 257442"/>
                <a:gd name="connsiteX0" fmla="*/ 1423688 w 1423688"/>
                <a:gd name="connsiteY0" fmla="*/ 0 h 257442"/>
                <a:gd name="connsiteX1" fmla="*/ 1368966 w 1423688"/>
                <a:gd name="connsiteY1" fmla="*/ 257442 h 257442"/>
                <a:gd name="connsiteX2" fmla="*/ 0 w 1423688"/>
                <a:gd name="connsiteY2" fmla="*/ 257442 h 257442"/>
                <a:gd name="connsiteX3" fmla="*/ 1 w 1423688"/>
                <a:gd name="connsiteY3" fmla="*/ 0 h 257442"/>
                <a:gd name="connsiteX0" fmla="*/ 1423688 w 1423688"/>
                <a:gd name="connsiteY0" fmla="*/ 0 h 257442"/>
                <a:gd name="connsiteX1" fmla="*/ 1368966 w 1423688"/>
                <a:gd name="connsiteY1" fmla="*/ 257442 h 257442"/>
                <a:gd name="connsiteX2" fmla="*/ 0 w 1423688"/>
                <a:gd name="connsiteY2" fmla="*/ 257442 h 257442"/>
                <a:gd name="connsiteX3" fmla="*/ 1 w 1423688"/>
                <a:gd name="connsiteY3" fmla="*/ 0 h 257442"/>
                <a:gd name="connsiteX0" fmla="*/ 1423688 w 1423688"/>
                <a:gd name="connsiteY0" fmla="*/ 0 h 257442"/>
                <a:gd name="connsiteX1" fmla="*/ 1368966 w 1423688"/>
                <a:gd name="connsiteY1" fmla="*/ 257442 h 257442"/>
                <a:gd name="connsiteX2" fmla="*/ 0 w 1423688"/>
                <a:gd name="connsiteY2" fmla="*/ 257442 h 257442"/>
                <a:gd name="connsiteX3" fmla="*/ 0 w 1423688"/>
                <a:gd name="connsiteY3" fmla="*/ 0 h 257442"/>
                <a:gd name="connsiteX0" fmla="*/ 1583987 w 1583987"/>
                <a:gd name="connsiteY0" fmla="*/ 0 h 257442"/>
                <a:gd name="connsiteX1" fmla="*/ 1368966 w 1583987"/>
                <a:gd name="connsiteY1" fmla="*/ 257442 h 257442"/>
                <a:gd name="connsiteX2" fmla="*/ 0 w 1583987"/>
                <a:gd name="connsiteY2" fmla="*/ 257442 h 257442"/>
                <a:gd name="connsiteX3" fmla="*/ 0 w 1583987"/>
                <a:gd name="connsiteY3" fmla="*/ 0 h 257442"/>
                <a:gd name="connsiteX0" fmla="*/ 1583987 w 1583987"/>
                <a:gd name="connsiteY0" fmla="*/ 0 h 257442"/>
                <a:gd name="connsiteX1" fmla="*/ 1529266 w 1583987"/>
                <a:gd name="connsiteY1" fmla="*/ 257442 h 257442"/>
                <a:gd name="connsiteX2" fmla="*/ 0 w 1583987"/>
                <a:gd name="connsiteY2" fmla="*/ 257442 h 257442"/>
                <a:gd name="connsiteX3" fmla="*/ 0 w 1583987"/>
                <a:gd name="connsiteY3" fmla="*/ 0 h 257442"/>
                <a:gd name="connsiteX0" fmla="*/ 1583987 w 1583987"/>
                <a:gd name="connsiteY0" fmla="*/ 0 h 257442"/>
                <a:gd name="connsiteX1" fmla="*/ 1529266 w 1583987"/>
                <a:gd name="connsiteY1" fmla="*/ 257442 h 257442"/>
                <a:gd name="connsiteX2" fmla="*/ 0 w 1583987"/>
                <a:gd name="connsiteY2" fmla="*/ 257442 h 257442"/>
                <a:gd name="connsiteX3" fmla="*/ 0 w 1583987"/>
                <a:gd name="connsiteY3" fmla="*/ 0 h 257442"/>
                <a:gd name="connsiteX0" fmla="*/ 1583987 w 1583987"/>
                <a:gd name="connsiteY0" fmla="*/ 0 h 257442"/>
                <a:gd name="connsiteX1" fmla="*/ 1529266 w 1583987"/>
                <a:gd name="connsiteY1" fmla="*/ 257442 h 257442"/>
                <a:gd name="connsiteX2" fmla="*/ 0 w 1583987"/>
                <a:gd name="connsiteY2" fmla="*/ 257442 h 257442"/>
                <a:gd name="connsiteX3" fmla="*/ 0 w 1583987"/>
                <a:gd name="connsiteY3" fmla="*/ 0 h 257442"/>
                <a:gd name="connsiteX0" fmla="*/ 1736273 w 1736273"/>
                <a:gd name="connsiteY0" fmla="*/ 0 h 257442"/>
                <a:gd name="connsiteX1" fmla="*/ 1529266 w 1736273"/>
                <a:gd name="connsiteY1" fmla="*/ 257442 h 257442"/>
                <a:gd name="connsiteX2" fmla="*/ 0 w 1736273"/>
                <a:gd name="connsiteY2" fmla="*/ 257442 h 257442"/>
                <a:gd name="connsiteX3" fmla="*/ 0 w 1736273"/>
                <a:gd name="connsiteY3" fmla="*/ 0 h 257442"/>
                <a:gd name="connsiteX0" fmla="*/ 1736273 w 1736273"/>
                <a:gd name="connsiteY0" fmla="*/ 0 h 257442"/>
                <a:gd name="connsiteX1" fmla="*/ 1681552 w 1736273"/>
                <a:gd name="connsiteY1" fmla="*/ 257442 h 257442"/>
                <a:gd name="connsiteX2" fmla="*/ 0 w 1736273"/>
                <a:gd name="connsiteY2" fmla="*/ 257442 h 257442"/>
                <a:gd name="connsiteX3" fmla="*/ 0 w 1736273"/>
                <a:gd name="connsiteY3" fmla="*/ 0 h 257442"/>
                <a:gd name="connsiteX0" fmla="*/ 1736273 w 1736273"/>
                <a:gd name="connsiteY0" fmla="*/ 0 h 257442"/>
                <a:gd name="connsiteX1" fmla="*/ 1681552 w 1736273"/>
                <a:gd name="connsiteY1" fmla="*/ 257442 h 257442"/>
                <a:gd name="connsiteX2" fmla="*/ 0 w 1736273"/>
                <a:gd name="connsiteY2" fmla="*/ 257442 h 257442"/>
                <a:gd name="connsiteX3" fmla="*/ 0 w 1736273"/>
                <a:gd name="connsiteY3" fmla="*/ 0 h 257442"/>
                <a:gd name="connsiteX0" fmla="*/ 1736273 w 1736273"/>
                <a:gd name="connsiteY0" fmla="*/ 0 h 257442"/>
                <a:gd name="connsiteX1" fmla="*/ 1681552 w 1736273"/>
                <a:gd name="connsiteY1" fmla="*/ 257442 h 257442"/>
                <a:gd name="connsiteX2" fmla="*/ 0 w 1736273"/>
                <a:gd name="connsiteY2" fmla="*/ 257442 h 257442"/>
                <a:gd name="connsiteX3" fmla="*/ 0 w 1736273"/>
                <a:gd name="connsiteY3" fmla="*/ 0 h 257442"/>
                <a:gd name="connsiteX0" fmla="*/ 1914205 w 1914205"/>
                <a:gd name="connsiteY0" fmla="*/ 0 h 257442"/>
                <a:gd name="connsiteX1" fmla="*/ 1681552 w 1914205"/>
                <a:gd name="connsiteY1" fmla="*/ 257442 h 257442"/>
                <a:gd name="connsiteX2" fmla="*/ 0 w 1914205"/>
                <a:gd name="connsiteY2" fmla="*/ 257442 h 257442"/>
                <a:gd name="connsiteX3" fmla="*/ 0 w 1914205"/>
                <a:gd name="connsiteY3" fmla="*/ 0 h 257442"/>
                <a:gd name="connsiteX0" fmla="*/ 1914205 w 1914205"/>
                <a:gd name="connsiteY0" fmla="*/ 0 h 257442"/>
                <a:gd name="connsiteX1" fmla="*/ 1859484 w 1914205"/>
                <a:gd name="connsiteY1" fmla="*/ 257442 h 257442"/>
                <a:gd name="connsiteX2" fmla="*/ 0 w 1914205"/>
                <a:gd name="connsiteY2" fmla="*/ 257442 h 257442"/>
                <a:gd name="connsiteX3" fmla="*/ 0 w 1914205"/>
                <a:gd name="connsiteY3" fmla="*/ 0 h 257442"/>
                <a:gd name="connsiteX0" fmla="*/ 1914205 w 1914205"/>
                <a:gd name="connsiteY0" fmla="*/ 0 h 257442"/>
                <a:gd name="connsiteX1" fmla="*/ 1859484 w 1914205"/>
                <a:gd name="connsiteY1" fmla="*/ 257442 h 257442"/>
                <a:gd name="connsiteX2" fmla="*/ 0 w 1914205"/>
                <a:gd name="connsiteY2" fmla="*/ 257442 h 257442"/>
                <a:gd name="connsiteX3" fmla="*/ 0 w 1914205"/>
                <a:gd name="connsiteY3" fmla="*/ 0 h 257442"/>
                <a:gd name="connsiteX0" fmla="*/ 1914205 w 1914205"/>
                <a:gd name="connsiteY0" fmla="*/ 0 h 257442"/>
                <a:gd name="connsiteX1" fmla="*/ 1859484 w 1914205"/>
                <a:gd name="connsiteY1" fmla="*/ 257442 h 257442"/>
                <a:gd name="connsiteX2" fmla="*/ 0 w 1914205"/>
                <a:gd name="connsiteY2" fmla="*/ 257442 h 257442"/>
                <a:gd name="connsiteX3" fmla="*/ 0 w 1914205"/>
                <a:gd name="connsiteY3" fmla="*/ 0 h 257442"/>
                <a:gd name="connsiteX0" fmla="*/ 2082521 w 2082521"/>
                <a:gd name="connsiteY0" fmla="*/ 0 h 257442"/>
                <a:gd name="connsiteX1" fmla="*/ 1859484 w 2082521"/>
                <a:gd name="connsiteY1" fmla="*/ 257442 h 257442"/>
                <a:gd name="connsiteX2" fmla="*/ 0 w 2082521"/>
                <a:gd name="connsiteY2" fmla="*/ 257442 h 257442"/>
                <a:gd name="connsiteX3" fmla="*/ 0 w 2082521"/>
                <a:gd name="connsiteY3" fmla="*/ 0 h 257442"/>
                <a:gd name="connsiteX0" fmla="*/ 2082521 w 2082521"/>
                <a:gd name="connsiteY0" fmla="*/ 0 h 257442"/>
                <a:gd name="connsiteX1" fmla="*/ 2027800 w 2082521"/>
                <a:gd name="connsiteY1" fmla="*/ 257442 h 257442"/>
                <a:gd name="connsiteX2" fmla="*/ 0 w 2082521"/>
                <a:gd name="connsiteY2" fmla="*/ 257442 h 257442"/>
                <a:gd name="connsiteX3" fmla="*/ 0 w 2082521"/>
                <a:gd name="connsiteY3" fmla="*/ 0 h 257442"/>
                <a:gd name="connsiteX0" fmla="*/ 2082521 w 2082521"/>
                <a:gd name="connsiteY0" fmla="*/ 0 h 257442"/>
                <a:gd name="connsiteX1" fmla="*/ 2027800 w 2082521"/>
                <a:gd name="connsiteY1" fmla="*/ 257442 h 257442"/>
                <a:gd name="connsiteX2" fmla="*/ 0 w 2082521"/>
                <a:gd name="connsiteY2" fmla="*/ 257442 h 257442"/>
                <a:gd name="connsiteX3" fmla="*/ 0 w 2082521"/>
                <a:gd name="connsiteY3" fmla="*/ 0 h 257442"/>
                <a:gd name="connsiteX0" fmla="*/ 2082521 w 2082521"/>
                <a:gd name="connsiteY0" fmla="*/ 0 h 257442"/>
                <a:gd name="connsiteX1" fmla="*/ 2027800 w 2082521"/>
                <a:gd name="connsiteY1" fmla="*/ 257442 h 257442"/>
                <a:gd name="connsiteX2" fmla="*/ 0 w 2082521"/>
                <a:gd name="connsiteY2" fmla="*/ 257442 h 257442"/>
                <a:gd name="connsiteX3" fmla="*/ 0 w 2082521"/>
                <a:gd name="connsiteY3" fmla="*/ 0 h 257442"/>
                <a:gd name="connsiteX0" fmla="*/ 2250836 w 2250836"/>
                <a:gd name="connsiteY0" fmla="*/ 0 h 257442"/>
                <a:gd name="connsiteX1" fmla="*/ 2027800 w 2250836"/>
                <a:gd name="connsiteY1" fmla="*/ 257442 h 257442"/>
                <a:gd name="connsiteX2" fmla="*/ 0 w 2250836"/>
                <a:gd name="connsiteY2" fmla="*/ 257442 h 257442"/>
                <a:gd name="connsiteX3" fmla="*/ 0 w 2250836"/>
                <a:gd name="connsiteY3" fmla="*/ 0 h 257442"/>
                <a:gd name="connsiteX0" fmla="*/ 2250836 w 2250836"/>
                <a:gd name="connsiteY0" fmla="*/ 0 h 257442"/>
                <a:gd name="connsiteX1" fmla="*/ 2196114 w 2250836"/>
                <a:gd name="connsiteY1" fmla="*/ 257442 h 257442"/>
                <a:gd name="connsiteX2" fmla="*/ 0 w 2250836"/>
                <a:gd name="connsiteY2" fmla="*/ 257442 h 257442"/>
                <a:gd name="connsiteX3" fmla="*/ 0 w 2250836"/>
                <a:gd name="connsiteY3" fmla="*/ 0 h 257442"/>
                <a:gd name="connsiteX0" fmla="*/ 2250837 w 2250837"/>
                <a:gd name="connsiteY0" fmla="*/ 0 h 257442"/>
                <a:gd name="connsiteX1" fmla="*/ 2196115 w 2250837"/>
                <a:gd name="connsiteY1" fmla="*/ 257442 h 257442"/>
                <a:gd name="connsiteX2" fmla="*/ 0 w 2250837"/>
                <a:gd name="connsiteY2" fmla="*/ 257442 h 257442"/>
                <a:gd name="connsiteX3" fmla="*/ 1 w 2250837"/>
                <a:gd name="connsiteY3" fmla="*/ 0 h 257442"/>
                <a:gd name="connsiteX0" fmla="*/ 2250837 w 2250837"/>
                <a:gd name="connsiteY0" fmla="*/ 0 h 257442"/>
                <a:gd name="connsiteX1" fmla="*/ 2196115 w 2250837"/>
                <a:gd name="connsiteY1" fmla="*/ 257442 h 257442"/>
                <a:gd name="connsiteX2" fmla="*/ 0 w 2250837"/>
                <a:gd name="connsiteY2" fmla="*/ 257442 h 257442"/>
                <a:gd name="connsiteX3" fmla="*/ 1 w 2250837"/>
                <a:gd name="connsiteY3" fmla="*/ 0 h 257442"/>
                <a:gd name="connsiteX0" fmla="*/ 2411137 w 2411137"/>
                <a:gd name="connsiteY0" fmla="*/ 0 h 257442"/>
                <a:gd name="connsiteX1" fmla="*/ 2196115 w 2411137"/>
                <a:gd name="connsiteY1" fmla="*/ 257442 h 257442"/>
                <a:gd name="connsiteX2" fmla="*/ 0 w 2411137"/>
                <a:gd name="connsiteY2" fmla="*/ 257442 h 257442"/>
                <a:gd name="connsiteX3" fmla="*/ 1 w 2411137"/>
                <a:gd name="connsiteY3" fmla="*/ 0 h 257442"/>
                <a:gd name="connsiteX0" fmla="*/ 2411137 w 2411137"/>
                <a:gd name="connsiteY0" fmla="*/ 0 h 257442"/>
                <a:gd name="connsiteX1" fmla="*/ 2356416 w 2411137"/>
                <a:gd name="connsiteY1" fmla="*/ 257442 h 257442"/>
                <a:gd name="connsiteX2" fmla="*/ 0 w 2411137"/>
                <a:gd name="connsiteY2" fmla="*/ 257442 h 257442"/>
                <a:gd name="connsiteX3" fmla="*/ 1 w 2411137"/>
                <a:gd name="connsiteY3" fmla="*/ 0 h 257442"/>
                <a:gd name="connsiteX0" fmla="*/ 2411136 w 2411136"/>
                <a:gd name="connsiteY0" fmla="*/ 0 h 257442"/>
                <a:gd name="connsiteX1" fmla="*/ 2356415 w 2411136"/>
                <a:gd name="connsiteY1" fmla="*/ 257442 h 257442"/>
                <a:gd name="connsiteX2" fmla="*/ 0 w 2411136"/>
                <a:gd name="connsiteY2" fmla="*/ 257442 h 257442"/>
                <a:gd name="connsiteX3" fmla="*/ 0 w 2411136"/>
                <a:gd name="connsiteY3" fmla="*/ 0 h 257442"/>
                <a:gd name="connsiteX0" fmla="*/ 2411137 w 2411137"/>
                <a:gd name="connsiteY0" fmla="*/ 0 h 257442"/>
                <a:gd name="connsiteX1" fmla="*/ 2356416 w 2411137"/>
                <a:gd name="connsiteY1" fmla="*/ 257442 h 257442"/>
                <a:gd name="connsiteX2" fmla="*/ 1 w 2411137"/>
                <a:gd name="connsiteY2" fmla="*/ 257442 h 257442"/>
                <a:gd name="connsiteX3" fmla="*/ 0 w 2411137"/>
                <a:gd name="connsiteY3" fmla="*/ 0 h 257442"/>
                <a:gd name="connsiteX0" fmla="*/ 2250837 w 2356416"/>
                <a:gd name="connsiteY0" fmla="*/ 0 h 257442"/>
                <a:gd name="connsiteX1" fmla="*/ 2356416 w 2356416"/>
                <a:gd name="connsiteY1" fmla="*/ 257442 h 257442"/>
                <a:gd name="connsiteX2" fmla="*/ 1 w 2356416"/>
                <a:gd name="connsiteY2" fmla="*/ 257442 h 257442"/>
                <a:gd name="connsiteX3" fmla="*/ 0 w 2356416"/>
                <a:gd name="connsiteY3" fmla="*/ 0 h 257442"/>
                <a:gd name="connsiteX0" fmla="*/ 2250837 w 2250837"/>
                <a:gd name="connsiteY0" fmla="*/ 0 h 257442"/>
                <a:gd name="connsiteX1" fmla="*/ 2196116 w 2250837"/>
                <a:gd name="connsiteY1" fmla="*/ 257442 h 257442"/>
                <a:gd name="connsiteX2" fmla="*/ 1 w 2250837"/>
                <a:gd name="connsiteY2" fmla="*/ 257442 h 257442"/>
                <a:gd name="connsiteX3" fmla="*/ 0 w 2250837"/>
                <a:gd name="connsiteY3" fmla="*/ 0 h 257442"/>
                <a:gd name="connsiteX0" fmla="*/ 2250837 w 2250837"/>
                <a:gd name="connsiteY0" fmla="*/ 0 h 257442"/>
                <a:gd name="connsiteX1" fmla="*/ 2196116 w 2250837"/>
                <a:gd name="connsiteY1" fmla="*/ 257442 h 257442"/>
                <a:gd name="connsiteX2" fmla="*/ 2 w 2250837"/>
                <a:gd name="connsiteY2" fmla="*/ 257442 h 257442"/>
                <a:gd name="connsiteX3" fmla="*/ 0 w 2250837"/>
                <a:gd name="connsiteY3" fmla="*/ 0 h 257442"/>
                <a:gd name="connsiteX0" fmla="*/ 2250835 w 2250835"/>
                <a:gd name="connsiteY0" fmla="*/ 0 h 257442"/>
                <a:gd name="connsiteX1" fmla="*/ 2196114 w 2250835"/>
                <a:gd name="connsiteY1" fmla="*/ 257442 h 257442"/>
                <a:gd name="connsiteX2" fmla="*/ 0 w 2250835"/>
                <a:gd name="connsiteY2" fmla="*/ 257442 h 257442"/>
                <a:gd name="connsiteX3" fmla="*/ 0 w 2250835"/>
                <a:gd name="connsiteY3" fmla="*/ 0 h 257442"/>
                <a:gd name="connsiteX0" fmla="*/ 2090536 w 2196114"/>
                <a:gd name="connsiteY0" fmla="*/ 0 h 257442"/>
                <a:gd name="connsiteX1" fmla="*/ 2196114 w 2196114"/>
                <a:gd name="connsiteY1" fmla="*/ 257442 h 257442"/>
                <a:gd name="connsiteX2" fmla="*/ 0 w 2196114"/>
                <a:gd name="connsiteY2" fmla="*/ 257442 h 257442"/>
                <a:gd name="connsiteX3" fmla="*/ 0 w 2196114"/>
                <a:gd name="connsiteY3" fmla="*/ 0 h 257442"/>
                <a:gd name="connsiteX0" fmla="*/ 2090536 w 2090536"/>
                <a:gd name="connsiteY0" fmla="*/ 0 h 257442"/>
                <a:gd name="connsiteX1" fmla="*/ 2035815 w 2090536"/>
                <a:gd name="connsiteY1" fmla="*/ 257442 h 257442"/>
                <a:gd name="connsiteX2" fmla="*/ 0 w 2090536"/>
                <a:gd name="connsiteY2" fmla="*/ 257442 h 257442"/>
                <a:gd name="connsiteX3" fmla="*/ 0 w 2090536"/>
                <a:gd name="connsiteY3" fmla="*/ 0 h 257442"/>
                <a:gd name="connsiteX0" fmla="*/ 2090536 w 2090536"/>
                <a:gd name="connsiteY0" fmla="*/ 0 h 257442"/>
                <a:gd name="connsiteX1" fmla="*/ 2035815 w 2090536"/>
                <a:gd name="connsiteY1" fmla="*/ 257442 h 257442"/>
                <a:gd name="connsiteX2" fmla="*/ 0 w 2090536"/>
                <a:gd name="connsiteY2" fmla="*/ 257442 h 257442"/>
                <a:gd name="connsiteX3" fmla="*/ 0 w 2090536"/>
                <a:gd name="connsiteY3" fmla="*/ 0 h 257442"/>
                <a:gd name="connsiteX0" fmla="*/ 2090536 w 2090536"/>
                <a:gd name="connsiteY0" fmla="*/ 0 h 257442"/>
                <a:gd name="connsiteX1" fmla="*/ 2035815 w 2090536"/>
                <a:gd name="connsiteY1" fmla="*/ 257442 h 257442"/>
                <a:gd name="connsiteX2" fmla="*/ 0 w 2090536"/>
                <a:gd name="connsiteY2" fmla="*/ 257442 h 257442"/>
                <a:gd name="connsiteX3" fmla="*/ 0 w 2090536"/>
                <a:gd name="connsiteY3" fmla="*/ 0 h 257442"/>
                <a:gd name="connsiteX0" fmla="*/ 1938251 w 2035815"/>
                <a:gd name="connsiteY0" fmla="*/ 0 h 257442"/>
                <a:gd name="connsiteX1" fmla="*/ 2035815 w 2035815"/>
                <a:gd name="connsiteY1" fmla="*/ 257442 h 257442"/>
                <a:gd name="connsiteX2" fmla="*/ 0 w 2035815"/>
                <a:gd name="connsiteY2" fmla="*/ 257442 h 257442"/>
                <a:gd name="connsiteX3" fmla="*/ 0 w 2035815"/>
                <a:gd name="connsiteY3" fmla="*/ 0 h 257442"/>
                <a:gd name="connsiteX0" fmla="*/ 1938251 w 1938251"/>
                <a:gd name="connsiteY0" fmla="*/ 0 h 257442"/>
                <a:gd name="connsiteX1" fmla="*/ 1883531 w 1938251"/>
                <a:gd name="connsiteY1" fmla="*/ 257442 h 257442"/>
                <a:gd name="connsiteX2" fmla="*/ 0 w 1938251"/>
                <a:gd name="connsiteY2" fmla="*/ 257442 h 257442"/>
                <a:gd name="connsiteX3" fmla="*/ 0 w 1938251"/>
                <a:gd name="connsiteY3" fmla="*/ 0 h 257442"/>
                <a:gd name="connsiteX0" fmla="*/ 1938251 w 1938251"/>
                <a:gd name="connsiteY0" fmla="*/ 0 h 257442"/>
                <a:gd name="connsiteX1" fmla="*/ 1883531 w 1938251"/>
                <a:gd name="connsiteY1" fmla="*/ 257442 h 257442"/>
                <a:gd name="connsiteX2" fmla="*/ 1 w 1938251"/>
                <a:gd name="connsiteY2" fmla="*/ 257442 h 257442"/>
                <a:gd name="connsiteX3" fmla="*/ 0 w 1938251"/>
                <a:gd name="connsiteY3" fmla="*/ 0 h 257442"/>
                <a:gd name="connsiteX0" fmla="*/ 1938250 w 1938250"/>
                <a:gd name="connsiteY0" fmla="*/ 0 h 257442"/>
                <a:gd name="connsiteX1" fmla="*/ 1883530 w 1938250"/>
                <a:gd name="connsiteY1" fmla="*/ 257442 h 257442"/>
                <a:gd name="connsiteX2" fmla="*/ 0 w 1938250"/>
                <a:gd name="connsiteY2" fmla="*/ 257442 h 257442"/>
                <a:gd name="connsiteX3" fmla="*/ 0 w 1938250"/>
                <a:gd name="connsiteY3" fmla="*/ 0 h 257442"/>
                <a:gd name="connsiteX0" fmla="*/ 1769934 w 1883530"/>
                <a:gd name="connsiteY0" fmla="*/ 0 h 257442"/>
                <a:gd name="connsiteX1" fmla="*/ 1883530 w 1883530"/>
                <a:gd name="connsiteY1" fmla="*/ 257442 h 257442"/>
                <a:gd name="connsiteX2" fmla="*/ 0 w 1883530"/>
                <a:gd name="connsiteY2" fmla="*/ 257442 h 257442"/>
                <a:gd name="connsiteX3" fmla="*/ 0 w 1883530"/>
                <a:gd name="connsiteY3" fmla="*/ 0 h 257442"/>
                <a:gd name="connsiteX0" fmla="*/ 1769934 w 1769934"/>
                <a:gd name="connsiteY0" fmla="*/ 0 h 257442"/>
                <a:gd name="connsiteX1" fmla="*/ 1715213 w 1769934"/>
                <a:gd name="connsiteY1" fmla="*/ 257442 h 257442"/>
                <a:gd name="connsiteX2" fmla="*/ 0 w 1769934"/>
                <a:gd name="connsiteY2" fmla="*/ 257442 h 257442"/>
                <a:gd name="connsiteX3" fmla="*/ 0 w 1769934"/>
                <a:gd name="connsiteY3" fmla="*/ 0 h 257442"/>
                <a:gd name="connsiteX0" fmla="*/ 1769935 w 1769935"/>
                <a:gd name="connsiteY0" fmla="*/ 0 h 257442"/>
                <a:gd name="connsiteX1" fmla="*/ 1715214 w 1769935"/>
                <a:gd name="connsiteY1" fmla="*/ 257442 h 257442"/>
                <a:gd name="connsiteX2" fmla="*/ 0 w 1769935"/>
                <a:gd name="connsiteY2" fmla="*/ 257442 h 257442"/>
                <a:gd name="connsiteX3" fmla="*/ 1 w 1769935"/>
                <a:gd name="connsiteY3" fmla="*/ 0 h 257442"/>
                <a:gd name="connsiteX0" fmla="*/ 1769935 w 1769935"/>
                <a:gd name="connsiteY0" fmla="*/ 0 h 257442"/>
                <a:gd name="connsiteX1" fmla="*/ 1715214 w 1769935"/>
                <a:gd name="connsiteY1" fmla="*/ 257442 h 257442"/>
                <a:gd name="connsiteX2" fmla="*/ 0 w 1769935"/>
                <a:gd name="connsiteY2" fmla="*/ 257442 h 257442"/>
                <a:gd name="connsiteX3" fmla="*/ 1 w 1769935"/>
                <a:gd name="connsiteY3" fmla="*/ 0 h 257442"/>
                <a:gd name="connsiteX0" fmla="*/ 1609636 w 1715214"/>
                <a:gd name="connsiteY0" fmla="*/ 0 h 257442"/>
                <a:gd name="connsiteX1" fmla="*/ 1715214 w 1715214"/>
                <a:gd name="connsiteY1" fmla="*/ 257442 h 257442"/>
                <a:gd name="connsiteX2" fmla="*/ 0 w 1715214"/>
                <a:gd name="connsiteY2" fmla="*/ 257442 h 257442"/>
                <a:gd name="connsiteX3" fmla="*/ 1 w 1715214"/>
                <a:gd name="connsiteY3" fmla="*/ 0 h 257442"/>
                <a:gd name="connsiteX0" fmla="*/ 1609636 w 1609636"/>
                <a:gd name="connsiteY0" fmla="*/ 0 h 257442"/>
                <a:gd name="connsiteX1" fmla="*/ 1554915 w 1609636"/>
                <a:gd name="connsiteY1" fmla="*/ 257442 h 257442"/>
                <a:gd name="connsiteX2" fmla="*/ 0 w 1609636"/>
                <a:gd name="connsiteY2" fmla="*/ 257442 h 257442"/>
                <a:gd name="connsiteX3" fmla="*/ 1 w 1609636"/>
                <a:gd name="connsiteY3" fmla="*/ 0 h 257442"/>
                <a:gd name="connsiteX0" fmla="*/ 1609635 w 1609635"/>
                <a:gd name="connsiteY0" fmla="*/ 0 h 257442"/>
                <a:gd name="connsiteX1" fmla="*/ 1554914 w 1609635"/>
                <a:gd name="connsiteY1" fmla="*/ 257442 h 257442"/>
                <a:gd name="connsiteX2" fmla="*/ 0 w 1609635"/>
                <a:gd name="connsiteY2" fmla="*/ 257442 h 257442"/>
                <a:gd name="connsiteX3" fmla="*/ 0 w 1609635"/>
                <a:gd name="connsiteY3" fmla="*/ 0 h 257442"/>
                <a:gd name="connsiteX0" fmla="*/ 1609635 w 1609635"/>
                <a:gd name="connsiteY0" fmla="*/ 0 h 257442"/>
                <a:gd name="connsiteX1" fmla="*/ 1554914 w 1609635"/>
                <a:gd name="connsiteY1" fmla="*/ 257442 h 257442"/>
                <a:gd name="connsiteX2" fmla="*/ 0 w 1609635"/>
                <a:gd name="connsiteY2" fmla="*/ 257442 h 257442"/>
                <a:gd name="connsiteX3" fmla="*/ 0 w 1609635"/>
                <a:gd name="connsiteY3" fmla="*/ 0 h 257442"/>
                <a:gd name="connsiteX0" fmla="*/ 1813217 w 1813217"/>
                <a:gd name="connsiteY0" fmla="*/ 0 h 257442"/>
                <a:gd name="connsiteX1" fmla="*/ 1554914 w 1813217"/>
                <a:gd name="connsiteY1" fmla="*/ 257442 h 257442"/>
                <a:gd name="connsiteX2" fmla="*/ 0 w 1813217"/>
                <a:gd name="connsiteY2" fmla="*/ 257442 h 257442"/>
                <a:gd name="connsiteX3" fmla="*/ 0 w 1813217"/>
                <a:gd name="connsiteY3" fmla="*/ 0 h 257442"/>
                <a:gd name="connsiteX0" fmla="*/ 1813217 w 1813217"/>
                <a:gd name="connsiteY0" fmla="*/ 0 h 257442"/>
                <a:gd name="connsiteX1" fmla="*/ 1758496 w 1813217"/>
                <a:gd name="connsiteY1" fmla="*/ 257442 h 257442"/>
                <a:gd name="connsiteX2" fmla="*/ 0 w 1813217"/>
                <a:gd name="connsiteY2" fmla="*/ 257442 h 257442"/>
                <a:gd name="connsiteX3" fmla="*/ 0 w 1813217"/>
                <a:gd name="connsiteY3" fmla="*/ 0 h 257442"/>
                <a:gd name="connsiteX0" fmla="*/ 1813217 w 1813217"/>
                <a:gd name="connsiteY0" fmla="*/ 0 h 257442"/>
                <a:gd name="connsiteX1" fmla="*/ 1758496 w 1813217"/>
                <a:gd name="connsiteY1" fmla="*/ 257442 h 257442"/>
                <a:gd name="connsiteX2" fmla="*/ 0 w 1813217"/>
                <a:gd name="connsiteY2" fmla="*/ 257442 h 257442"/>
                <a:gd name="connsiteX3" fmla="*/ 0 w 1813217"/>
                <a:gd name="connsiteY3" fmla="*/ 0 h 257442"/>
                <a:gd name="connsiteX0" fmla="*/ 1813217 w 1813217"/>
                <a:gd name="connsiteY0" fmla="*/ 0 h 257442"/>
                <a:gd name="connsiteX1" fmla="*/ 1758496 w 1813217"/>
                <a:gd name="connsiteY1" fmla="*/ 257442 h 257442"/>
                <a:gd name="connsiteX2" fmla="*/ 0 w 1813217"/>
                <a:gd name="connsiteY2" fmla="*/ 257442 h 257442"/>
                <a:gd name="connsiteX3" fmla="*/ 0 w 1813217"/>
                <a:gd name="connsiteY3" fmla="*/ 0 h 257442"/>
                <a:gd name="connsiteX0" fmla="*/ 1991150 w 1991150"/>
                <a:gd name="connsiteY0" fmla="*/ 0 h 257442"/>
                <a:gd name="connsiteX1" fmla="*/ 1758496 w 1991150"/>
                <a:gd name="connsiteY1" fmla="*/ 257442 h 257442"/>
                <a:gd name="connsiteX2" fmla="*/ 0 w 1991150"/>
                <a:gd name="connsiteY2" fmla="*/ 257442 h 257442"/>
                <a:gd name="connsiteX3" fmla="*/ 0 w 1991150"/>
                <a:gd name="connsiteY3" fmla="*/ 0 h 257442"/>
                <a:gd name="connsiteX0" fmla="*/ 1991150 w 1991150"/>
                <a:gd name="connsiteY0" fmla="*/ 0 h 257442"/>
                <a:gd name="connsiteX1" fmla="*/ 1936428 w 1991150"/>
                <a:gd name="connsiteY1" fmla="*/ 257442 h 257442"/>
                <a:gd name="connsiteX2" fmla="*/ 0 w 1991150"/>
                <a:gd name="connsiteY2" fmla="*/ 257442 h 257442"/>
                <a:gd name="connsiteX3" fmla="*/ 0 w 1991150"/>
                <a:gd name="connsiteY3" fmla="*/ 0 h 257442"/>
                <a:gd name="connsiteX0" fmla="*/ 1991151 w 1991151"/>
                <a:gd name="connsiteY0" fmla="*/ 0 h 257442"/>
                <a:gd name="connsiteX1" fmla="*/ 1936429 w 1991151"/>
                <a:gd name="connsiteY1" fmla="*/ 257442 h 257442"/>
                <a:gd name="connsiteX2" fmla="*/ 0 w 1991151"/>
                <a:gd name="connsiteY2" fmla="*/ 257442 h 257442"/>
                <a:gd name="connsiteX3" fmla="*/ 1 w 1991151"/>
                <a:gd name="connsiteY3" fmla="*/ 0 h 257442"/>
                <a:gd name="connsiteX0" fmla="*/ 1991151 w 1991151"/>
                <a:gd name="connsiteY0" fmla="*/ 0 h 257442"/>
                <a:gd name="connsiteX1" fmla="*/ 1936429 w 1991151"/>
                <a:gd name="connsiteY1" fmla="*/ 257442 h 257442"/>
                <a:gd name="connsiteX2" fmla="*/ 0 w 1991151"/>
                <a:gd name="connsiteY2" fmla="*/ 257442 h 257442"/>
                <a:gd name="connsiteX3" fmla="*/ 1 w 1991151"/>
                <a:gd name="connsiteY3" fmla="*/ 0 h 257442"/>
                <a:gd name="connsiteX0" fmla="*/ 2159466 w 2159466"/>
                <a:gd name="connsiteY0" fmla="*/ 0 h 257442"/>
                <a:gd name="connsiteX1" fmla="*/ 1936429 w 2159466"/>
                <a:gd name="connsiteY1" fmla="*/ 257442 h 257442"/>
                <a:gd name="connsiteX2" fmla="*/ 0 w 2159466"/>
                <a:gd name="connsiteY2" fmla="*/ 257442 h 257442"/>
                <a:gd name="connsiteX3" fmla="*/ 1 w 2159466"/>
                <a:gd name="connsiteY3" fmla="*/ 0 h 257442"/>
                <a:gd name="connsiteX0" fmla="*/ 2159466 w 2159466"/>
                <a:gd name="connsiteY0" fmla="*/ 0 h 257442"/>
                <a:gd name="connsiteX1" fmla="*/ 2104744 w 2159466"/>
                <a:gd name="connsiteY1" fmla="*/ 257442 h 257442"/>
                <a:gd name="connsiteX2" fmla="*/ 0 w 2159466"/>
                <a:gd name="connsiteY2" fmla="*/ 257442 h 257442"/>
                <a:gd name="connsiteX3" fmla="*/ 1 w 2159466"/>
                <a:gd name="connsiteY3" fmla="*/ 0 h 257442"/>
                <a:gd name="connsiteX0" fmla="*/ 2159466 w 2159466"/>
                <a:gd name="connsiteY0" fmla="*/ 0 h 257442"/>
                <a:gd name="connsiteX1" fmla="*/ 2104744 w 2159466"/>
                <a:gd name="connsiteY1" fmla="*/ 257442 h 257442"/>
                <a:gd name="connsiteX2" fmla="*/ 0 w 2159466"/>
                <a:gd name="connsiteY2" fmla="*/ 257442 h 257442"/>
                <a:gd name="connsiteX3" fmla="*/ 1 w 2159466"/>
                <a:gd name="connsiteY3" fmla="*/ 0 h 257442"/>
                <a:gd name="connsiteX0" fmla="*/ 2159466 w 2159466"/>
                <a:gd name="connsiteY0" fmla="*/ 0 h 257442"/>
                <a:gd name="connsiteX1" fmla="*/ 2104744 w 2159466"/>
                <a:gd name="connsiteY1" fmla="*/ 257442 h 257442"/>
                <a:gd name="connsiteX2" fmla="*/ 0 w 2159466"/>
                <a:gd name="connsiteY2" fmla="*/ 257442 h 257442"/>
                <a:gd name="connsiteX3" fmla="*/ 0 w 2159466"/>
                <a:gd name="connsiteY3" fmla="*/ 0 h 257442"/>
                <a:gd name="connsiteX0" fmla="*/ 2327780 w 2327780"/>
                <a:gd name="connsiteY0" fmla="*/ 0 h 257442"/>
                <a:gd name="connsiteX1" fmla="*/ 2104744 w 2327780"/>
                <a:gd name="connsiteY1" fmla="*/ 257442 h 257442"/>
                <a:gd name="connsiteX2" fmla="*/ 0 w 2327780"/>
                <a:gd name="connsiteY2" fmla="*/ 257442 h 257442"/>
                <a:gd name="connsiteX3" fmla="*/ 0 w 2327780"/>
                <a:gd name="connsiteY3" fmla="*/ 0 h 257442"/>
                <a:gd name="connsiteX0" fmla="*/ 2327780 w 2327780"/>
                <a:gd name="connsiteY0" fmla="*/ 0 h 257442"/>
                <a:gd name="connsiteX1" fmla="*/ 2273059 w 2327780"/>
                <a:gd name="connsiteY1" fmla="*/ 257442 h 257442"/>
                <a:gd name="connsiteX2" fmla="*/ 0 w 2327780"/>
                <a:gd name="connsiteY2" fmla="*/ 257442 h 257442"/>
                <a:gd name="connsiteX3" fmla="*/ 0 w 2327780"/>
                <a:gd name="connsiteY3" fmla="*/ 0 h 257442"/>
                <a:gd name="connsiteX0" fmla="*/ 2327780 w 2327780"/>
                <a:gd name="connsiteY0" fmla="*/ 0 h 257442"/>
                <a:gd name="connsiteX1" fmla="*/ 2273059 w 2327780"/>
                <a:gd name="connsiteY1" fmla="*/ 257442 h 257442"/>
                <a:gd name="connsiteX2" fmla="*/ 0 w 2327780"/>
                <a:gd name="connsiteY2" fmla="*/ 257442 h 257442"/>
                <a:gd name="connsiteX3" fmla="*/ 0 w 2327780"/>
                <a:gd name="connsiteY3" fmla="*/ 0 h 257442"/>
                <a:gd name="connsiteX0" fmla="*/ 2327780 w 2327780"/>
                <a:gd name="connsiteY0" fmla="*/ 0 h 257442"/>
                <a:gd name="connsiteX1" fmla="*/ 2273059 w 2327780"/>
                <a:gd name="connsiteY1" fmla="*/ 257442 h 257442"/>
                <a:gd name="connsiteX2" fmla="*/ 0 w 2327780"/>
                <a:gd name="connsiteY2" fmla="*/ 257442 h 257442"/>
                <a:gd name="connsiteX3" fmla="*/ 0 w 2327780"/>
                <a:gd name="connsiteY3" fmla="*/ 0 h 257442"/>
                <a:gd name="connsiteX0" fmla="*/ 942786 w 2273059"/>
                <a:gd name="connsiteY0" fmla="*/ 0 h 257442"/>
                <a:gd name="connsiteX1" fmla="*/ 2273059 w 2273059"/>
                <a:gd name="connsiteY1" fmla="*/ 257442 h 257442"/>
                <a:gd name="connsiteX2" fmla="*/ 0 w 2273059"/>
                <a:gd name="connsiteY2" fmla="*/ 257442 h 257442"/>
                <a:gd name="connsiteX3" fmla="*/ 0 w 2273059"/>
                <a:gd name="connsiteY3" fmla="*/ 0 h 257442"/>
                <a:gd name="connsiteX0" fmla="*/ 942786 w 942786"/>
                <a:gd name="connsiteY0" fmla="*/ 0 h 257442"/>
                <a:gd name="connsiteX1" fmla="*/ 888066 w 942786"/>
                <a:gd name="connsiteY1" fmla="*/ 257442 h 257442"/>
                <a:gd name="connsiteX2" fmla="*/ 0 w 942786"/>
                <a:gd name="connsiteY2" fmla="*/ 257442 h 257442"/>
                <a:gd name="connsiteX3" fmla="*/ 0 w 942786"/>
                <a:gd name="connsiteY3" fmla="*/ 0 h 257442"/>
                <a:gd name="connsiteX0" fmla="*/ 942786 w 942786"/>
                <a:gd name="connsiteY0" fmla="*/ 0 h 257442"/>
                <a:gd name="connsiteX1" fmla="*/ 888066 w 942786"/>
                <a:gd name="connsiteY1" fmla="*/ 257442 h 257442"/>
                <a:gd name="connsiteX2" fmla="*/ 1 w 942786"/>
                <a:gd name="connsiteY2" fmla="*/ 257442 h 257442"/>
                <a:gd name="connsiteX3" fmla="*/ 0 w 942786"/>
                <a:gd name="connsiteY3" fmla="*/ 0 h 257442"/>
                <a:gd name="connsiteX0" fmla="*/ 942785 w 942785"/>
                <a:gd name="connsiteY0" fmla="*/ 0 h 257442"/>
                <a:gd name="connsiteX1" fmla="*/ 888065 w 942785"/>
                <a:gd name="connsiteY1" fmla="*/ 257442 h 257442"/>
                <a:gd name="connsiteX2" fmla="*/ 0 w 942785"/>
                <a:gd name="connsiteY2" fmla="*/ 257442 h 257442"/>
                <a:gd name="connsiteX3" fmla="*/ 0 w 942785"/>
                <a:gd name="connsiteY3" fmla="*/ 0 h 257442"/>
                <a:gd name="connsiteX0" fmla="*/ 1111101 w 1111101"/>
                <a:gd name="connsiteY0" fmla="*/ 0 h 257442"/>
                <a:gd name="connsiteX1" fmla="*/ 888065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263386 w 1263386"/>
                <a:gd name="connsiteY0" fmla="*/ 0 h 257442"/>
                <a:gd name="connsiteX1" fmla="*/ 1056380 w 1263386"/>
                <a:gd name="connsiteY1" fmla="*/ 257442 h 257442"/>
                <a:gd name="connsiteX2" fmla="*/ 0 w 1263386"/>
                <a:gd name="connsiteY2" fmla="*/ 257442 h 257442"/>
                <a:gd name="connsiteX3" fmla="*/ 0 w 1263386"/>
                <a:gd name="connsiteY3" fmla="*/ 0 h 257442"/>
                <a:gd name="connsiteX0" fmla="*/ 1263386 w 1263386"/>
                <a:gd name="connsiteY0" fmla="*/ 0 h 257442"/>
                <a:gd name="connsiteX1" fmla="*/ 1208664 w 1263386"/>
                <a:gd name="connsiteY1" fmla="*/ 257442 h 257442"/>
                <a:gd name="connsiteX2" fmla="*/ 0 w 1263386"/>
                <a:gd name="connsiteY2" fmla="*/ 257442 h 257442"/>
                <a:gd name="connsiteX3" fmla="*/ 0 w 1263386"/>
                <a:gd name="connsiteY3" fmla="*/ 0 h 257442"/>
                <a:gd name="connsiteX0" fmla="*/ 1263387 w 1263387"/>
                <a:gd name="connsiteY0" fmla="*/ 0 h 257442"/>
                <a:gd name="connsiteX1" fmla="*/ 1208665 w 1263387"/>
                <a:gd name="connsiteY1" fmla="*/ 257442 h 257442"/>
                <a:gd name="connsiteX2" fmla="*/ 0 w 1263387"/>
                <a:gd name="connsiteY2" fmla="*/ 257442 h 257442"/>
                <a:gd name="connsiteX3" fmla="*/ 1 w 1263387"/>
                <a:gd name="connsiteY3" fmla="*/ 0 h 257442"/>
                <a:gd name="connsiteX0" fmla="*/ 1263387 w 1263387"/>
                <a:gd name="connsiteY0" fmla="*/ 0 h 257442"/>
                <a:gd name="connsiteX1" fmla="*/ 1208665 w 1263387"/>
                <a:gd name="connsiteY1" fmla="*/ 257442 h 257442"/>
                <a:gd name="connsiteX2" fmla="*/ 0 w 1263387"/>
                <a:gd name="connsiteY2" fmla="*/ 257442 h 257442"/>
                <a:gd name="connsiteX3" fmla="*/ 1 w 1263387"/>
                <a:gd name="connsiteY3" fmla="*/ 0 h 257442"/>
                <a:gd name="connsiteX0" fmla="*/ 1423688 w 1423688"/>
                <a:gd name="connsiteY0" fmla="*/ 0 h 257442"/>
                <a:gd name="connsiteX1" fmla="*/ 1208665 w 1423688"/>
                <a:gd name="connsiteY1" fmla="*/ 257442 h 257442"/>
                <a:gd name="connsiteX2" fmla="*/ 0 w 1423688"/>
                <a:gd name="connsiteY2" fmla="*/ 257442 h 257442"/>
                <a:gd name="connsiteX3" fmla="*/ 1 w 1423688"/>
                <a:gd name="connsiteY3" fmla="*/ 0 h 257442"/>
                <a:gd name="connsiteX0" fmla="*/ 1423688 w 1423688"/>
                <a:gd name="connsiteY0" fmla="*/ 0 h 257442"/>
                <a:gd name="connsiteX1" fmla="*/ 1368966 w 1423688"/>
                <a:gd name="connsiteY1" fmla="*/ 257442 h 257442"/>
                <a:gd name="connsiteX2" fmla="*/ 0 w 1423688"/>
                <a:gd name="connsiteY2" fmla="*/ 257442 h 257442"/>
                <a:gd name="connsiteX3" fmla="*/ 1 w 1423688"/>
                <a:gd name="connsiteY3" fmla="*/ 0 h 257442"/>
                <a:gd name="connsiteX0" fmla="*/ 1423688 w 1423688"/>
                <a:gd name="connsiteY0" fmla="*/ 0 h 257442"/>
                <a:gd name="connsiteX1" fmla="*/ 1368966 w 1423688"/>
                <a:gd name="connsiteY1" fmla="*/ 257442 h 257442"/>
                <a:gd name="connsiteX2" fmla="*/ 0 w 1423688"/>
                <a:gd name="connsiteY2" fmla="*/ 257442 h 257442"/>
                <a:gd name="connsiteX3" fmla="*/ 1 w 1423688"/>
                <a:gd name="connsiteY3" fmla="*/ 0 h 257442"/>
                <a:gd name="connsiteX0" fmla="*/ 1423688 w 1423688"/>
                <a:gd name="connsiteY0" fmla="*/ 0 h 257442"/>
                <a:gd name="connsiteX1" fmla="*/ 1368966 w 1423688"/>
                <a:gd name="connsiteY1" fmla="*/ 257442 h 257442"/>
                <a:gd name="connsiteX2" fmla="*/ 0 w 1423688"/>
                <a:gd name="connsiteY2" fmla="*/ 257442 h 257442"/>
                <a:gd name="connsiteX3" fmla="*/ 0 w 1423688"/>
                <a:gd name="connsiteY3" fmla="*/ 0 h 257442"/>
                <a:gd name="connsiteX0" fmla="*/ 1583987 w 1583987"/>
                <a:gd name="connsiteY0" fmla="*/ 0 h 257442"/>
                <a:gd name="connsiteX1" fmla="*/ 1368966 w 1583987"/>
                <a:gd name="connsiteY1" fmla="*/ 257442 h 257442"/>
                <a:gd name="connsiteX2" fmla="*/ 0 w 1583987"/>
                <a:gd name="connsiteY2" fmla="*/ 257442 h 257442"/>
                <a:gd name="connsiteX3" fmla="*/ 0 w 1583987"/>
                <a:gd name="connsiteY3" fmla="*/ 0 h 257442"/>
                <a:gd name="connsiteX0" fmla="*/ 1583987 w 1583987"/>
                <a:gd name="connsiteY0" fmla="*/ 0 h 257442"/>
                <a:gd name="connsiteX1" fmla="*/ 1529266 w 1583987"/>
                <a:gd name="connsiteY1" fmla="*/ 257442 h 257442"/>
                <a:gd name="connsiteX2" fmla="*/ 0 w 1583987"/>
                <a:gd name="connsiteY2" fmla="*/ 257442 h 257442"/>
                <a:gd name="connsiteX3" fmla="*/ 0 w 1583987"/>
                <a:gd name="connsiteY3" fmla="*/ 0 h 257442"/>
                <a:gd name="connsiteX0" fmla="*/ 1583987 w 1583987"/>
                <a:gd name="connsiteY0" fmla="*/ 0 h 257442"/>
                <a:gd name="connsiteX1" fmla="*/ 1529266 w 1583987"/>
                <a:gd name="connsiteY1" fmla="*/ 257442 h 257442"/>
                <a:gd name="connsiteX2" fmla="*/ 0 w 1583987"/>
                <a:gd name="connsiteY2" fmla="*/ 257442 h 257442"/>
                <a:gd name="connsiteX3" fmla="*/ 0 w 1583987"/>
                <a:gd name="connsiteY3" fmla="*/ 0 h 257442"/>
                <a:gd name="connsiteX0" fmla="*/ 1583987 w 1583987"/>
                <a:gd name="connsiteY0" fmla="*/ 0 h 257442"/>
                <a:gd name="connsiteX1" fmla="*/ 1529266 w 1583987"/>
                <a:gd name="connsiteY1" fmla="*/ 257442 h 257442"/>
                <a:gd name="connsiteX2" fmla="*/ 0 w 1583987"/>
                <a:gd name="connsiteY2" fmla="*/ 257442 h 257442"/>
                <a:gd name="connsiteX3" fmla="*/ 0 w 1583987"/>
                <a:gd name="connsiteY3" fmla="*/ 0 h 257442"/>
                <a:gd name="connsiteX0" fmla="*/ 1684976 w 1684976"/>
                <a:gd name="connsiteY0" fmla="*/ 0 h 257442"/>
                <a:gd name="connsiteX1" fmla="*/ 1529266 w 1684976"/>
                <a:gd name="connsiteY1" fmla="*/ 257442 h 257442"/>
                <a:gd name="connsiteX2" fmla="*/ 0 w 1684976"/>
                <a:gd name="connsiteY2" fmla="*/ 257442 h 257442"/>
                <a:gd name="connsiteX3" fmla="*/ 0 w 1684976"/>
                <a:gd name="connsiteY3" fmla="*/ 0 h 257442"/>
                <a:gd name="connsiteX0" fmla="*/ 1684976 w 1684976"/>
                <a:gd name="connsiteY0" fmla="*/ 0 h 257442"/>
                <a:gd name="connsiteX1" fmla="*/ 1630254 w 1684976"/>
                <a:gd name="connsiteY1" fmla="*/ 257442 h 257442"/>
                <a:gd name="connsiteX2" fmla="*/ 0 w 1684976"/>
                <a:gd name="connsiteY2" fmla="*/ 257442 h 257442"/>
                <a:gd name="connsiteX3" fmla="*/ 0 w 1684976"/>
                <a:gd name="connsiteY3" fmla="*/ 0 h 257442"/>
                <a:gd name="connsiteX0" fmla="*/ 1684977 w 1684977"/>
                <a:gd name="connsiteY0" fmla="*/ 0 h 257442"/>
                <a:gd name="connsiteX1" fmla="*/ 1630255 w 1684977"/>
                <a:gd name="connsiteY1" fmla="*/ 257442 h 257442"/>
                <a:gd name="connsiteX2" fmla="*/ 0 w 1684977"/>
                <a:gd name="connsiteY2" fmla="*/ 257442 h 257442"/>
                <a:gd name="connsiteX3" fmla="*/ 1 w 1684977"/>
                <a:gd name="connsiteY3" fmla="*/ 0 h 257442"/>
                <a:gd name="connsiteX0" fmla="*/ 1684977 w 1684977"/>
                <a:gd name="connsiteY0" fmla="*/ 0 h 257442"/>
                <a:gd name="connsiteX1" fmla="*/ 1630255 w 1684977"/>
                <a:gd name="connsiteY1" fmla="*/ 257442 h 257442"/>
                <a:gd name="connsiteX2" fmla="*/ 0 w 1684977"/>
                <a:gd name="connsiteY2" fmla="*/ 257442 h 257442"/>
                <a:gd name="connsiteX3" fmla="*/ 1 w 1684977"/>
                <a:gd name="connsiteY3" fmla="*/ 0 h 257442"/>
                <a:gd name="connsiteX0" fmla="*/ 1862910 w 1862910"/>
                <a:gd name="connsiteY0" fmla="*/ 0 h 257442"/>
                <a:gd name="connsiteX1" fmla="*/ 1630255 w 1862910"/>
                <a:gd name="connsiteY1" fmla="*/ 257442 h 257442"/>
                <a:gd name="connsiteX2" fmla="*/ 0 w 1862910"/>
                <a:gd name="connsiteY2" fmla="*/ 257442 h 257442"/>
                <a:gd name="connsiteX3" fmla="*/ 1 w 1862910"/>
                <a:gd name="connsiteY3" fmla="*/ 0 h 257442"/>
                <a:gd name="connsiteX0" fmla="*/ 1862910 w 1862910"/>
                <a:gd name="connsiteY0" fmla="*/ 0 h 257442"/>
                <a:gd name="connsiteX1" fmla="*/ 1808188 w 1862910"/>
                <a:gd name="connsiteY1" fmla="*/ 257442 h 257442"/>
                <a:gd name="connsiteX2" fmla="*/ 0 w 1862910"/>
                <a:gd name="connsiteY2" fmla="*/ 257442 h 257442"/>
                <a:gd name="connsiteX3" fmla="*/ 1 w 1862910"/>
                <a:gd name="connsiteY3" fmla="*/ 0 h 257442"/>
                <a:gd name="connsiteX0" fmla="*/ 1862910 w 1862910"/>
                <a:gd name="connsiteY0" fmla="*/ 0 h 257442"/>
                <a:gd name="connsiteX1" fmla="*/ 1808188 w 1862910"/>
                <a:gd name="connsiteY1" fmla="*/ 257442 h 257442"/>
                <a:gd name="connsiteX2" fmla="*/ 0 w 1862910"/>
                <a:gd name="connsiteY2" fmla="*/ 257442 h 257442"/>
                <a:gd name="connsiteX3" fmla="*/ 1 w 1862910"/>
                <a:gd name="connsiteY3" fmla="*/ 0 h 257442"/>
                <a:gd name="connsiteX0" fmla="*/ 1862910 w 1862910"/>
                <a:gd name="connsiteY0" fmla="*/ 0 h 257442"/>
                <a:gd name="connsiteX1" fmla="*/ 1808188 w 1862910"/>
                <a:gd name="connsiteY1" fmla="*/ 257442 h 257442"/>
                <a:gd name="connsiteX2" fmla="*/ 0 w 1862910"/>
                <a:gd name="connsiteY2" fmla="*/ 257442 h 257442"/>
                <a:gd name="connsiteX3" fmla="*/ 0 w 1862910"/>
                <a:gd name="connsiteY3" fmla="*/ 0 h 257442"/>
                <a:gd name="connsiteX0" fmla="*/ 1684976 w 1808188"/>
                <a:gd name="connsiteY0" fmla="*/ 0 h 257442"/>
                <a:gd name="connsiteX1" fmla="*/ 1808188 w 1808188"/>
                <a:gd name="connsiteY1" fmla="*/ 257442 h 257442"/>
                <a:gd name="connsiteX2" fmla="*/ 0 w 1808188"/>
                <a:gd name="connsiteY2" fmla="*/ 257442 h 257442"/>
                <a:gd name="connsiteX3" fmla="*/ 0 w 1808188"/>
                <a:gd name="connsiteY3" fmla="*/ 0 h 257442"/>
                <a:gd name="connsiteX0" fmla="*/ 1684976 w 1684976"/>
                <a:gd name="connsiteY0" fmla="*/ 0 h 257442"/>
                <a:gd name="connsiteX1" fmla="*/ 1630255 w 1684976"/>
                <a:gd name="connsiteY1" fmla="*/ 257442 h 257442"/>
                <a:gd name="connsiteX2" fmla="*/ 0 w 1684976"/>
                <a:gd name="connsiteY2" fmla="*/ 257442 h 257442"/>
                <a:gd name="connsiteX3" fmla="*/ 0 w 1684976"/>
                <a:gd name="connsiteY3" fmla="*/ 0 h 257442"/>
                <a:gd name="connsiteX0" fmla="*/ 1684976 w 1684976"/>
                <a:gd name="connsiteY0" fmla="*/ 0 h 257442"/>
                <a:gd name="connsiteX1" fmla="*/ 1630255 w 1684976"/>
                <a:gd name="connsiteY1" fmla="*/ 257442 h 257442"/>
                <a:gd name="connsiteX2" fmla="*/ 0 w 1684976"/>
                <a:gd name="connsiteY2" fmla="*/ 257442 h 257442"/>
                <a:gd name="connsiteX3" fmla="*/ 0 w 1684976"/>
                <a:gd name="connsiteY3" fmla="*/ 0 h 257442"/>
                <a:gd name="connsiteX0" fmla="*/ 1684976 w 1684976"/>
                <a:gd name="connsiteY0" fmla="*/ 0 h 257442"/>
                <a:gd name="connsiteX1" fmla="*/ 1630255 w 1684976"/>
                <a:gd name="connsiteY1" fmla="*/ 257442 h 257442"/>
                <a:gd name="connsiteX2" fmla="*/ 0 w 1684976"/>
                <a:gd name="connsiteY2" fmla="*/ 257442 h 257442"/>
                <a:gd name="connsiteX3" fmla="*/ 0 w 1684976"/>
                <a:gd name="connsiteY3" fmla="*/ 0 h 257442"/>
                <a:gd name="connsiteX0" fmla="*/ 1583987 w 1630255"/>
                <a:gd name="connsiteY0" fmla="*/ 0 h 257442"/>
                <a:gd name="connsiteX1" fmla="*/ 1630255 w 1630255"/>
                <a:gd name="connsiteY1" fmla="*/ 257442 h 257442"/>
                <a:gd name="connsiteX2" fmla="*/ 0 w 1630255"/>
                <a:gd name="connsiteY2" fmla="*/ 257442 h 257442"/>
                <a:gd name="connsiteX3" fmla="*/ 0 w 1630255"/>
                <a:gd name="connsiteY3" fmla="*/ 0 h 257442"/>
                <a:gd name="connsiteX0" fmla="*/ 1583987 w 1583987"/>
                <a:gd name="connsiteY0" fmla="*/ 0 h 257442"/>
                <a:gd name="connsiteX1" fmla="*/ 1529267 w 1583987"/>
                <a:gd name="connsiteY1" fmla="*/ 257442 h 257442"/>
                <a:gd name="connsiteX2" fmla="*/ 0 w 1583987"/>
                <a:gd name="connsiteY2" fmla="*/ 257442 h 257442"/>
                <a:gd name="connsiteX3" fmla="*/ 0 w 1583987"/>
                <a:gd name="connsiteY3" fmla="*/ 0 h 257442"/>
                <a:gd name="connsiteX0" fmla="*/ 1583987 w 1583987"/>
                <a:gd name="connsiteY0" fmla="*/ 0 h 257442"/>
                <a:gd name="connsiteX1" fmla="*/ 1529267 w 1583987"/>
                <a:gd name="connsiteY1" fmla="*/ 257442 h 257442"/>
                <a:gd name="connsiteX2" fmla="*/ 1 w 1583987"/>
                <a:gd name="connsiteY2" fmla="*/ 257442 h 257442"/>
                <a:gd name="connsiteX3" fmla="*/ 0 w 1583987"/>
                <a:gd name="connsiteY3" fmla="*/ 0 h 257442"/>
                <a:gd name="connsiteX0" fmla="*/ 1583986 w 1583986"/>
                <a:gd name="connsiteY0" fmla="*/ 0 h 257442"/>
                <a:gd name="connsiteX1" fmla="*/ 1529266 w 1583986"/>
                <a:gd name="connsiteY1" fmla="*/ 257442 h 257442"/>
                <a:gd name="connsiteX2" fmla="*/ 0 w 1583986"/>
                <a:gd name="connsiteY2" fmla="*/ 257442 h 257442"/>
                <a:gd name="connsiteX3" fmla="*/ 0 w 1583986"/>
                <a:gd name="connsiteY3" fmla="*/ 0 h 257442"/>
                <a:gd name="connsiteX0" fmla="*/ 1423686 w 1529266"/>
                <a:gd name="connsiteY0" fmla="*/ 0 h 257442"/>
                <a:gd name="connsiteX1" fmla="*/ 1529266 w 1529266"/>
                <a:gd name="connsiteY1" fmla="*/ 257442 h 257442"/>
                <a:gd name="connsiteX2" fmla="*/ 0 w 1529266"/>
                <a:gd name="connsiteY2" fmla="*/ 257442 h 257442"/>
                <a:gd name="connsiteX3" fmla="*/ 0 w 1529266"/>
                <a:gd name="connsiteY3" fmla="*/ 0 h 257442"/>
                <a:gd name="connsiteX0" fmla="*/ 1423686 w 1423686"/>
                <a:gd name="connsiteY0" fmla="*/ 0 h 257442"/>
                <a:gd name="connsiteX1" fmla="*/ 1368965 w 1423686"/>
                <a:gd name="connsiteY1" fmla="*/ 257442 h 257442"/>
                <a:gd name="connsiteX2" fmla="*/ 0 w 1423686"/>
                <a:gd name="connsiteY2" fmla="*/ 257442 h 257442"/>
                <a:gd name="connsiteX3" fmla="*/ 0 w 1423686"/>
                <a:gd name="connsiteY3" fmla="*/ 0 h 257442"/>
                <a:gd name="connsiteX0" fmla="*/ 1423687 w 1423687"/>
                <a:gd name="connsiteY0" fmla="*/ 0 h 257442"/>
                <a:gd name="connsiteX1" fmla="*/ 1368966 w 1423687"/>
                <a:gd name="connsiteY1" fmla="*/ 257442 h 257442"/>
                <a:gd name="connsiteX2" fmla="*/ 0 w 1423687"/>
                <a:gd name="connsiteY2" fmla="*/ 257442 h 257442"/>
                <a:gd name="connsiteX3" fmla="*/ 1 w 1423687"/>
                <a:gd name="connsiteY3" fmla="*/ 0 h 257442"/>
                <a:gd name="connsiteX0" fmla="*/ 1423687 w 1423687"/>
                <a:gd name="connsiteY0" fmla="*/ 0 h 257442"/>
                <a:gd name="connsiteX1" fmla="*/ 1368966 w 1423687"/>
                <a:gd name="connsiteY1" fmla="*/ 257442 h 257442"/>
                <a:gd name="connsiteX2" fmla="*/ 0 w 1423687"/>
                <a:gd name="connsiteY2" fmla="*/ 257442 h 257442"/>
                <a:gd name="connsiteX3" fmla="*/ 1 w 1423687"/>
                <a:gd name="connsiteY3" fmla="*/ 0 h 257442"/>
                <a:gd name="connsiteX0" fmla="*/ 1263387 w 1368966"/>
                <a:gd name="connsiteY0" fmla="*/ 0 h 257442"/>
                <a:gd name="connsiteX1" fmla="*/ 1368966 w 1368966"/>
                <a:gd name="connsiteY1" fmla="*/ 257442 h 257442"/>
                <a:gd name="connsiteX2" fmla="*/ 0 w 1368966"/>
                <a:gd name="connsiteY2" fmla="*/ 257442 h 257442"/>
                <a:gd name="connsiteX3" fmla="*/ 1 w 1368966"/>
                <a:gd name="connsiteY3" fmla="*/ 0 h 257442"/>
                <a:gd name="connsiteX0" fmla="*/ 1263387 w 1263387"/>
                <a:gd name="connsiteY0" fmla="*/ 0 h 257442"/>
                <a:gd name="connsiteX1" fmla="*/ 1208666 w 1263387"/>
                <a:gd name="connsiteY1" fmla="*/ 257442 h 257442"/>
                <a:gd name="connsiteX2" fmla="*/ 0 w 1263387"/>
                <a:gd name="connsiteY2" fmla="*/ 257442 h 257442"/>
                <a:gd name="connsiteX3" fmla="*/ 1 w 1263387"/>
                <a:gd name="connsiteY3" fmla="*/ 0 h 257442"/>
                <a:gd name="connsiteX0" fmla="*/ 1263386 w 1263386"/>
                <a:gd name="connsiteY0" fmla="*/ 0 h 257442"/>
                <a:gd name="connsiteX1" fmla="*/ 1208665 w 1263386"/>
                <a:gd name="connsiteY1" fmla="*/ 257442 h 257442"/>
                <a:gd name="connsiteX2" fmla="*/ 1 w 1263386"/>
                <a:gd name="connsiteY2" fmla="*/ 257442 h 257442"/>
                <a:gd name="connsiteX3" fmla="*/ 0 w 1263386"/>
                <a:gd name="connsiteY3" fmla="*/ 0 h 257442"/>
                <a:gd name="connsiteX0" fmla="*/ 1263386 w 1263386"/>
                <a:gd name="connsiteY0" fmla="*/ 0 h 257442"/>
                <a:gd name="connsiteX1" fmla="*/ 1208665 w 1263386"/>
                <a:gd name="connsiteY1" fmla="*/ 257442 h 257442"/>
                <a:gd name="connsiteX2" fmla="*/ 1 w 1263386"/>
                <a:gd name="connsiteY2" fmla="*/ 257442 h 257442"/>
                <a:gd name="connsiteX3" fmla="*/ 0 w 1263386"/>
                <a:gd name="connsiteY3" fmla="*/ 0 h 257442"/>
                <a:gd name="connsiteX0" fmla="*/ 1111101 w 1208665"/>
                <a:gd name="connsiteY0" fmla="*/ 0 h 257442"/>
                <a:gd name="connsiteX1" fmla="*/ 1208665 w 1208665"/>
                <a:gd name="connsiteY1" fmla="*/ 257442 h 257442"/>
                <a:gd name="connsiteX2" fmla="*/ 1 w 1208665"/>
                <a:gd name="connsiteY2" fmla="*/ 257442 h 257442"/>
                <a:gd name="connsiteX3" fmla="*/ 0 w 1208665"/>
                <a:gd name="connsiteY3" fmla="*/ 0 h 257442"/>
                <a:gd name="connsiteX0" fmla="*/ 1111101 w 1111101"/>
                <a:gd name="connsiteY0" fmla="*/ 0 h 257442"/>
                <a:gd name="connsiteX1" fmla="*/ 1056381 w 1111101"/>
                <a:gd name="connsiteY1" fmla="*/ 257442 h 257442"/>
                <a:gd name="connsiteX2" fmla="*/ 1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1 w 1111101"/>
                <a:gd name="connsiteY1" fmla="*/ 257442 h 257442"/>
                <a:gd name="connsiteX2" fmla="*/ 1 w 1111101"/>
                <a:gd name="connsiteY2" fmla="*/ 257442 h 257442"/>
                <a:gd name="connsiteX3" fmla="*/ 0 w 1111101"/>
                <a:gd name="connsiteY3" fmla="*/ 0 h 257442"/>
                <a:gd name="connsiteX0" fmla="*/ 1111100 w 1111100"/>
                <a:gd name="connsiteY0" fmla="*/ 0 h 257442"/>
                <a:gd name="connsiteX1" fmla="*/ 1056380 w 1111100"/>
                <a:gd name="connsiteY1" fmla="*/ 257442 h 257442"/>
                <a:gd name="connsiteX2" fmla="*/ 0 w 1111100"/>
                <a:gd name="connsiteY2" fmla="*/ 257442 h 257442"/>
                <a:gd name="connsiteX3" fmla="*/ 0 w 1111100"/>
                <a:gd name="connsiteY3" fmla="*/ 0 h 257442"/>
                <a:gd name="connsiteX0" fmla="*/ 942785 w 1056380"/>
                <a:gd name="connsiteY0" fmla="*/ 0 h 257442"/>
                <a:gd name="connsiteX1" fmla="*/ 1056380 w 1056380"/>
                <a:gd name="connsiteY1" fmla="*/ 257442 h 257442"/>
                <a:gd name="connsiteX2" fmla="*/ 0 w 1056380"/>
                <a:gd name="connsiteY2" fmla="*/ 257442 h 257442"/>
                <a:gd name="connsiteX3" fmla="*/ 0 w 1056380"/>
                <a:gd name="connsiteY3" fmla="*/ 0 h 257442"/>
                <a:gd name="connsiteX0" fmla="*/ 942785 w 942785"/>
                <a:gd name="connsiteY0" fmla="*/ 0 h 257442"/>
                <a:gd name="connsiteX1" fmla="*/ 888064 w 942785"/>
                <a:gd name="connsiteY1" fmla="*/ 257442 h 257442"/>
                <a:gd name="connsiteX2" fmla="*/ 0 w 942785"/>
                <a:gd name="connsiteY2" fmla="*/ 257442 h 257442"/>
                <a:gd name="connsiteX3" fmla="*/ 0 w 942785"/>
                <a:gd name="connsiteY3" fmla="*/ 0 h 257442"/>
                <a:gd name="connsiteX0" fmla="*/ 942785 w 942785"/>
                <a:gd name="connsiteY0" fmla="*/ 0 h 257442"/>
                <a:gd name="connsiteX1" fmla="*/ 888064 w 942785"/>
                <a:gd name="connsiteY1" fmla="*/ 257442 h 257442"/>
                <a:gd name="connsiteX2" fmla="*/ 0 w 942785"/>
                <a:gd name="connsiteY2" fmla="*/ 257442 h 257442"/>
                <a:gd name="connsiteX3" fmla="*/ 0 w 942785"/>
                <a:gd name="connsiteY3" fmla="*/ 0 h 257442"/>
                <a:gd name="connsiteX0" fmla="*/ 942785 w 942785"/>
                <a:gd name="connsiteY0" fmla="*/ 0 h 257442"/>
                <a:gd name="connsiteX1" fmla="*/ 888064 w 942785"/>
                <a:gd name="connsiteY1" fmla="*/ 257442 h 257442"/>
                <a:gd name="connsiteX2" fmla="*/ 0 w 942785"/>
                <a:gd name="connsiteY2" fmla="*/ 257442 h 257442"/>
                <a:gd name="connsiteX3" fmla="*/ 0 w 942785"/>
                <a:gd name="connsiteY3" fmla="*/ 0 h 257442"/>
                <a:gd name="connsiteX0" fmla="*/ 782550 w 888064"/>
                <a:gd name="connsiteY0" fmla="*/ 0 h 257442"/>
                <a:gd name="connsiteX1" fmla="*/ 888064 w 888064"/>
                <a:gd name="connsiteY1" fmla="*/ 257442 h 257442"/>
                <a:gd name="connsiteX2" fmla="*/ 0 w 888064"/>
                <a:gd name="connsiteY2" fmla="*/ 257442 h 257442"/>
                <a:gd name="connsiteX3" fmla="*/ 0 w 888064"/>
                <a:gd name="connsiteY3" fmla="*/ 0 h 257442"/>
                <a:gd name="connsiteX0" fmla="*/ 782550 w 782550"/>
                <a:gd name="connsiteY0" fmla="*/ 0 h 257442"/>
                <a:gd name="connsiteX1" fmla="*/ 727829 w 782550"/>
                <a:gd name="connsiteY1" fmla="*/ 257442 h 257442"/>
                <a:gd name="connsiteX2" fmla="*/ 0 w 782550"/>
                <a:gd name="connsiteY2" fmla="*/ 257442 h 257442"/>
                <a:gd name="connsiteX3" fmla="*/ 0 w 782550"/>
                <a:gd name="connsiteY3" fmla="*/ 0 h 257442"/>
                <a:gd name="connsiteX0" fmla="*/ 782550 w 782550"/>
                <a:gd name="connsiteY0" fmla="*/ 0 h 257442"/>
                <a:gd name="connsiteX1" fmla="*/ 727829 w 782550"/>
                <a:gd name="connsiteY1" fmla="*/ 257442 h 257442"/>
                <a:gd name="connsiteX2" fmla="*/ 0 w 782550"/>
                <a:gd name="connsiteY2" fmla="*/ 257442 h 257442"/>
                <a:gd name="connsiteX3" fmla="*/ 0 w 782550"/>
                <a:gd name="connsiteY3" fmla="*/ 0 h 257442"/>
                <a:gd name="connsiteX0" fmla="*/ 782550 w 782550"/>
                <a:gd name="connsiteY0" fmla="*/ 0 h 257442"/>
                <a:gd name="connsiteX1" fmla="*/ 727829 w 782550"/>
                <a:gd name="connsiteY1" fmla="*/ 257442 h 257442"/>
                <a:gd name="connsiteX2" fmla="*/ 0 w 782550"/>
                <a:gd name="connsiteY2" fmla="*/ 257442 h 257442"/>
                <a:gd name="connsiteX3" fmla="*/ 0 w 782550"/>
                <a:gd name="connsiteY3" fmla="*/ 0 h 257442"/>
                <a:gd name="connsiteX0" fmla="*/ 986067 w 986067"/>
                <a:gd name="connsiteY0" fmla="*/ 0 h 257442"/>
                <a:gd name="connsiteX1" fmla="*/ 727829 w 986067"/>
                <a:gd name="connsiteY1" fmla="*/ 257442 h 257442"/>
                <a:gd name="connsiteX2" fmla="*/ 0 w 986067"/>
                <a:gd name="connsiteY2" fmla="*/ 257442 h 257442"/>
                <a:gd name="connsiteX3" fmla="*/ 0 w 986067"/>
                <a:gd name="connsiteY3" fmla="*/ 0 h 257442"/>
                <a:gd name="connsiteX0" fmla="*/ 986067 w 986067"/>
                <a:gd name="connsiteY0" fmla="*/ 0 h 257442"/>
                <a:gd name="connsiteX1" fmla="*/ 931346 w 986067"/>
                <a:gd name="connsiteY1" fmla="*/ 257442 h 257442"/>
                <a:gd name="connsiteX2" fmla="*/ 0 w 986067"/>
                <a:gd name="connsiteY2" fmla="*/ 257442 h 257442"/>
                <a:gd name="connsiteX3" fmla="*/ 0 w 986067"/>
                <a:gd name="connsiteY3" fmla="*/ 0 h 257442"/>
                <a:gd name="connsiteX0" fmla="*/ 986067 w 986067"/>
                <a:gd name="connsiteY0" fmla="*/ 0 h 257442"/>
                <a:gd name="connsiteX1" fmla="*/ 931346 w 986067"/>
                <a:gd name="connsiteY1" fmla="*/ 257442 h 257442"/>
                <a:gd name="connsiteX2" fmla="*/ 0 w 986067"/>
                <a:gd name="connsiteY2" fmla="*/ 257442 h 257442"/>
                <a:gd name="connsiteX3" fmla="*/ 0 w 986067"/>
                <a:gd name="connsiteY3" fmla="*/ 0 h 257442"/>
                <a:gd name="connsiteX0" fmla="*/ 986067 w 986067"/>
                <a:gd name="connsiteY0" fmla="*/ 0 h 257442"/>
                <a:gd name="connsiteX1" fmla="*/ 931346 w 986067"/>
                <a:gd name="connsiteY1" fmla="*/ 257442 h 257442"/>
                <a:gd name="connsiteX2" fmla="*/ 0 w 986067"/>
                <a:gd name="connsiteY2" fmla="*/ 257442 h 257442"/>
                <a:gd name="connsiteX3" fmla="*/ 0 w 986067"/>
                <a:gd name="connsiteY3" fmla="*/ 0 h 257442"/>
                <a:gd name="connsiteX0" fmla="*/ 1164000 w 1164000"/>
                <a:gd name="connsiteY0" fmla="*/ 0 h 257442"/>
                <a:gd name="connsiteX1" fmla="*/ 931346 w 1164000"/>
                <a:gd name="connsiteY1" fmla="*/ 257442 h 257442"/>
                <a:gd name="connsiteX2" fmla="*/ 0 w 1164000"/>
                <a:gd name="connsiteY2" fmla="*/ 257442 h 257442"/>
                <a:gd name="connsiteX3" fmla="*/ 0 w 1164000"/>
                <a:gd name="connsiteY3" fmla="*/ 0 h 257442"/>
                <a:gd name="connsiteX0" fmla="*/ 1164000 w 1164000"/>
                <a:gd name="connsiteY0" fmla="*/ 0 h 257442"/>
                <a:gd name="connsiteX1" fmla="*/ 1109278 w 1164000"/>
                <a:gd name="connsiteY1" fmla="*/ 257442 h 257442"/>
                <a:gd name="connsiteX2" fmla="*/ 0 w 1164000"/>
                <a:gd name="connsiteY2" fmla="*/ 257442 h 257442"/>
                <a:gd name="connsiteX3" fmla="*/ 0 w 1164000"/>
                <a:gd name="connsiteY3" fmla="*/ 0 h 257442"/>
                <a:gd name="connsiteX0" fmla="*/ 1164001 w 1164001"/>
                <a:gd name="connsiteY0" fmla="*/ 0 h 257442"/>
                <a:gd name="connsiteX1" fmla="*/ 1109279 w 1164001"/>
                <a:gd name="connsiteY1" fmla="*/ 257442 h 257442"/>
                <a:gd name="connsiteX2" fmla="*/ 0 w 1164001"/>
                <a:gd name="connsiteY2" fmla="*/ 257442 h 257442"/>
                <a:gd name="connsiteX3" fmla="*/ 1 w 1164001"/>
                <a:gd name="connsiteY3" fmla="*/ 0 h 257442"/>
                <a:gd name="connsiteX0" fmla="*/ 1164001 w 1164001"/>
                <a:gd name="connsiteY0" fmla="*/ 0 h 257442"/>
                <a:gd name="connsiteX1" fmla="*/ 1109279 w 1164001"/>
                <a:gd name="connsiteY1" fmla="*/ 257442 h 257442"/>
                <a:gd name="connsiteX2" fmla="*/ 0 w 1164001"/>
                <a:gd name="connsiteY2" fmla="*/ 257442 h 257442"/>
                <a:gd name="connsiteX3" fmla="*/ 1 w 1164001"/>
                <a:gd name="connsiteY3" fmla="*/ 0 h 257442"/>
                <a:gd name="connsiteX0" fmla="*/ 1332317 w 1332317"/>
                <a:gd name="connsiteY0" fmla="*/ 0 h 257442"/>
                <a:gd name="connsiteX1" fmla="*/ 1109279 w 1332317"/>
                <a:gd name="connsiteY1" fmla="*/ 257442 h 257442"/>
                <a:gd name="connsiteX2" fmla="*/ 0 w 1332317"/>
                <a:gd name="connsiteY2" fmla="*/ 257442 h 257442"/>
                <a:gd name="connsiteX3" fmla="*/ 1 w 1332317"/>
                <a:gd name="connsiteY3" fmla="*/ 0 h 257442"/>
                <a:gd name="connsiteX0" fmla="*/ 1332317 w 1332317"/>
                <a:gd name="connsiteY0" fmla="*/ 0 h 257442"/>
                <a:gd name="connsiteX1" fmla="*/ 1277596 w 1332317"/>
                <a:gd name="connsiteY1" fmla="*/ 257442 h 257442"/>
                <a:gd name="connsiteX2" fmla="*/ 0 w 1332317"/>
                <a:gd name="connsiteY2" fmla="*/ 257442 h 257442"/>
                <a:gd name="connsiteX3" fmla="*/ 1 w 1332317"/>
                <a:gd name="connsiteY3" fmla="*/ 0 h 257442"/>
                <a:gd name="connsiteX0" fmla="*/ 1332316 w 1332316"/>
                <a:gd name="connsiteY0" fmla="*/ 0 h 257442"/>
                <a:gd name="connsiteX1" fmla="*/ 1277595 w 1332316"/>
                <a:gd name="connsiteY1" fmla="*/ 257442 h 257442"/>
                <a:gd name="connsiteX2" fmla="*/ 0 w 1332316"/>
                <a:gd name="connsiteY2" fmla="*/ 257442 h 257442"/>
                <a:gd name="connsiteX3" fmla="*/ 0 w 1332316"/>
                <a:gd name="connsiteY3" fmla="*/ 0 h 257442"/>
                <a:gd name="connsiteX0" fmla="*/ 1332317 w 1332317"/>
                <a:gd name="connsiteY0" fmla="*/ 0 h 257442"/>
                <a:gd name="connsiteX1" fmla="*/ 1277596 w 1332317"/>
                <a:gd name="connsiteY1" fmla="*/ 257442 h 257442"/>
                <a:gd name="connsiteX2" fmla="*/ 1 w 1332317"/>
                <a:gd name="connsiteY2" fmla="*/ 257442 h 257442"/>
                <a:gd name="connsiteX3" fmla="*/ 0 w 1332317"/>
                <a:gd name="connsiteY3" fmla="*/ 0 h 257442"/>
                <a:gd name="connsiteX0" fmla="*/ 1500632 w 1500632"/>
                <a:gd name="connsiteY0" fmla="*/ 0 h 257442"/>
                <a:gd name="connsiteX1" fmla="*/ 1277596 w 1500632"/>
                <a:gd name="connsiteY1" fmla="*/ 257442 h 257442"/>
                <a:gd name="connsiteX2" fmla="*/ 1 w 1500632"/>
                <a:gd name="connsiteY2" fmla="*/ 257442 h 257442"/>
                <a:gd name="connsiteX3" fmla="*/ 0 w 1500632"/>
                <a:gd name="connsiteY3" fmla="*/ 0 h 257442"/>
                <a:gd name="connsiteX0" fmla="*/ 1500632 w 1500632"/>
                <a:gd name="connsiteY0" fmla="*/ 0 h 257442"/>
                <a:gd name="connsiteX1" fmla="*/ 1445910 w 1500632"/>
                <a:gd name="connsiteY1" fmla="*/ 257442 h 257442"/>
                <a:gd name="connsiteX2" fmla="*/ 1 w 1500632"/>
                <a:gd name="connsiteY2" fmla="*/ 257442 h 257442"/>
                <a:gd name="connsiteX3" fmla="*/ 0 w 1500632"/>
                <a:gd name="connsiteY3" fmla="*/ 0 h 257442"/>
                <a:gd name="connsiteX0" fmla="*/ 1500632 w 1500632"/>
                <a:gd name="connsiteY0" fmla="*/ 0 h 257442"/>
                <a:gd name="connsiteX1" fmla="*/ 1445910 w 1500632"/>
                <a:gd name="connsiteY1" fmla="*/ 257442 h 257442"/>
                <a:gd name="connsiteX2" fmla="*/ 0 w 1500632"/>
                <a:gd name="connsiteY2" fmla="*/ 257442 h 257442"/>
                <a:gd name="connsiteX3" fmla="*/ 0 w 1500632"/>
                <a:gd name="connsiteY3" fmla="*/ 0 h 257442"/>
                <a:gd name="connsiteX0" fmla="*/ 1500632 w 1500632"/>
                <a:gd name="connsiteY0" fmla="*/ 0 h 257442"/>
                <a:gd name="connsiteX1" fmla="*/ 1445910 w 1500632"/>
                <a:gd name="connsiteY1" fmla="*/ 257442 h 257442"/>
                <a:gd name="connsiteX2" fmla="*/ 0 w 1500632"/>
                <a:gd name="connsiteY2" fmla="*/ 257442 h 257442"/>
                <a:gd name="connsiteX3" fmla="*/ 0 w 1500632"/>
                <a:gd name="connsiteY3" fmla="*/ 0 h 257442"/>
                <a:gd name="connsiteX0" fmla="*/ 1652916 w 1652916"/>
                <a:gd name="connsiteY0" fmla="*/ 0 h 257442"/>
                <a:gd name="connsiteX1" fmla="*/ 1445910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652916 w 1652916"/>
                <a:gd name="connsiteY0" fmla="*/ 0 h 257442"/>
                <a:gd name="connsiteX1" fmla="*/ 1598195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652916 w 1652916"/>
                <a:gd name="connsiteY0" fmla="*/ 0 h 257442"/>
                <a:gd name="connsiteX1" fmla="*/ 1598195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652916 w 1652916"/>
                <a:gd name="connsiteY0" fmla="*/ 0 h 257442"/>
                <a:gd name="connsiteX1" fmla="*/ 1598195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830849 w 1830849"/>
                <a:gd name="connsiteY0" fmla="*/ 0 h 257442"/>
                <a:gd name="connsiteX1" fmla="*/ 1598195 w 1830849"/>
                <a:gd name="connsiteY1" fmla="*/ 257442 h 257442"/>
                <a:gd name="connsiteX2" fmla="*/ 0 w 1830849"/>
                <a:gd name="connsiteY2" fmla="*/ 257442 h 257442"/>
                <a:gd name="connsiteX3" fmla="*/ 0 w 1830849"/>
                <a:gd name="connsiteY3" fmla="*/ 0 h 257442"/>
                <a:gd name="connsiteX0" fmla="*/ 1830849 w 1830849"/>
                <a:gd name="connsiteY0" fmla="*/ 0 h 257442"/>
                <a:gd name="connsiteX1" fmla="*/ 1776128 w 1830849"/>
                <a:gd name="connsiteY1" fmla="*/ 257442 h 257442"/>
                <a:gd name="connsiteX2" fmla="*/ 0 w 1830849"/>
                <a:gd name="connsiteY2" fmla="*/ 257442 h 257442"/>
                <a:gd name="connsiteX3" fmla="*/ 0 w 1830849"/>
                <a:gd name="connsiteY3" fmla="*/ 0 h 257442"/>
                <a:gd name="connsiteX0" fmla="*/ 1830849 w 1830849"/>
                <a:gd name="connsiteY0" fmla="*/ 0 h 257442"/>
                <a:gd name="connsiteX1" fmla="*/ 1776128 w 1830849"/>
                <a:gd name="connsiteY1" fmla="*/ 257442 h 257442"/>
                <a:gd name="connsiteX2" fmla="*/ 0 w 1830849"/>
                <a:gd name="connsiteY2" fmla="*/ 257442 h 257442"/>
                <a:gd name="connsiteX3" fmla="*/ 0 w 1830849"/>
                <a:gd name="connsiteY3" fmla="*/ 0 h 257442"/>
                <a:gd name="connsiteX0" fmla="*/ 1830849 w 1830849"/>
                <a:gd name="connsiteY0" fmla="*/ 0 h 257442"/>
                <a:gd name="connsiteX1" fmla="*/ 1776128 w 1830849"/>
                <a:gd name="connsiteY1" fmla="*/ 257442 h 257442"/>
                <a:gd name="connsiteX2" fmla="*/ 0 w 1830849"/>
                <a:gd name="connsiteY2" fmla="*/ 257442 h 257442"/>
                <a:gd name="connsiteX3" fmla="*/ 0 w 1830849"/>
                <a:gd name="connsiteY3" fmla="*/ 0 h 257442"/>
                <a:gd name="connsiteX0" fmla="*/ 1999165 w 1999165"/>
                <a:gd name="connsiteY0" fmla="*/ 0 h 257442"/>
                <a:gd name="connsiteX1" fmla="*/ 1776128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2167480 w 2167480"/>
                <a:gd name="connsiteY0" fmla="*/ 0 h 257442"/>
                <a:gd name="connsiteX1" fmla="*/ 1944444 w 2167480"/>
                <a:gd name="connsiteY1" fmla="*/ 257442 h 257442"/>
                <a:gd name="connsiteX2" fmla="*/ 0 w 2167480"/>
                <a:gd name="connsiteY2" fmla="*/ 257442 h 257442"/>
                <a:gd name="connsiteX3" fmla="*/ 0 w 2167480"/>
                <a:gd name="connsiteY3" fmla="*/ 0 h 257442"/>
                <a:gd name="connsiteX0" fmla="*/ 2167480 w 2167480"/>
                <a:gd name="connsiteY0" fmla="*/ 0 h 257442"/>
                <a:gd name="connsiteX1" fmla="*/ 2112758 w 2167480"/>
                <a:gd name="connsiteY1" fmla="*/ 257442 h 257442"/>
                <a:gd name="connsiteX2" fmla="*/ 0 w 2167480"/>
                <a:gd name="connsiteY2" fmla="*/ 257442 h 257442"/>
                <a:gd name="connsiteX3" fmla="*/ 0 w 2167480"/>
                <a:gd name="connsiteY3" fmla="*/ 0 h 257442"/>
                <a:gd name="connsiteX0" fmla="*/ 2167481 w 2167481"/>
                <a:gd name="connsiteY0" fmla="*/ 0 h 257442"/>
                <a:gd name="connsiteX1" fmla="*/ 2112759 w 2167481"/>
                <a:gd name="connsiteY1" fmla="*/ 257442 h 257442"/>
                <a:gd name="connsiteX2" fmla="*/ 0 w 2167481"/>
                <a:gd name="connsiteY2" fmla="*/ 257442 h 257442"/>
                <a:gd name="connsiteX3" fmla="*/ 1 w 2167481"/>
                <a:gd name="connsiteY3" fmla="*/ 0 h 257442"/>
                <a:gd name="connsiteX0" fmla="*/ 2167481 w 2167481"/>
                <a:gd name="connsiteY0" fmla="*/ 0 h 257442"/>
                <a:gd name="connsiteX1" fmla="*/ 2112759 w 2167481"/>
                <a:gd name="connsiteY1" fmla="*/ 257442 h 257442"/>
                <a:gd name="connsiteX2" fmla="*/ 0 w 2167481"/>
                <a:gd name="connsiteY2" fmla="*/ 257442 h 257442"/>
                <a:gd name="connsiteX3" fmla="*/ 1 w 2167481"/>
                <a:gd name="connsiteY3" fmla="*/ 0 h 257442"/>
                <a:gd name="connsiteX0" fmla="*/ 2327781 w 2327781"/>
                <a:gd name="connsiteY0" fmla="*/ 0 h 257442"/>
                <a:gd name="connsiteX1" fmla="*/ 2112759 w 2327781"/>
                <a:gd name="connsiteY1" fmla="*/ 257442 h 257442"/>
                <a:gd name="connsiteX2" fmla="*/ 0 w 2327781"/>
                <a:gd name="connsiteY2" fmla="*/ 257442 h 257442"/>
                <a:gd name="connsiteX3" fmla="*/ 1 w 2327781"/>
                <a:gd name="connsiteY3" fmla="*/ 0 h 257442"/>
                <a:gd name="connsiteX0" fmla="*/ 2327781 w 2327781"/>
                <a:gd name="connsiteY0" fmla="*/ 0 h 257442"/>
                <a:gd name="connsiteX1" fmla="*/ 2273060 w 2327781"/>
                <a:gd name="connsiteY1" fmla="*/ 257442 h 257442"/>
                <a:gd name="connsiteX2" fmla="*/ 0 w 2327781"/>
                <a:gd name="connsiteY2" fmla="*/ 257442 h 257442"/>
                <a:gd name="connsiteX3" fmla="*/ 1 w 2327781"/>
                <a:gd name="connsiteY3" fmla="*/ 0 h 257442"/>
                <a:gd name="connsiteX0" fmla="*/ 2327780 w 2327780"/>
                <a:gd name="connsiteY0" fmla="*/ 0 h 257442"/>
                <a:gd name="connsiteX1" fmla="*/ 2273059 w 2327780"/>
                <a:gd name="connsiteY1" fmla="*/ 257442 h 257442"/>
                <a:gd name="connsiteX2" fmla="*/ 0 w 2327780"/>
                <a:gd name="connsiteY2" fmla="*/ 257442 h 257442"/>
                <a:gd name="connsiteX3" fmla="*/ 0 w 2327780"/>
                <a:gd name="connsiteY3" fmla="*/ 0 h 257442"/>
                <a:gd name="connsiteX0" fmla="*/ 2327781 w 2327781"/>
                <a:gd name="connsiteY0" fmla="*/ 0 h 257442"/>
                <a:gd name="connsiteX1" fmla="*/ 2273060 w 2327781"/>
                <a:gd name="connsiteY1" fmla="*/ 257442 h 257442"/>
                <a:gd name="connsiteX2" fmla="*/ 1 w 2327781"/>
                <a:gd name="connsiteY2" fmla="*/ 257442 h 257442"/>
                <a:gd name="connsiteX3" fmla="*/ 0 w 2327781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27781" h="257442">
                  <a:moveTo>
                    <a:pt x="2327781" y="0"/>
                  </a:moveTo>
                  <a:lnTo>
                    <a:pt x="2273060" y="257442"/>
                  </a:lnTo>
                  <a:lnTo>
                    <a:pt x="1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43" name="btfpRunningAgenda2LevelTextLeft167877">
              <a:extLst>
                <a:ext uri="{FF2B5EF4-FFF2-40B4-BE49-F238E27FC236}">
                  <a16:creationId xmlns:a16="http://schemas.microsoft.com/office/drawing/2014/main" id="{816E836D-62FE-AAB8-64BE-558384887F4C}"/>
                </a:ext>
              </a:extLst>
            </p:cNvPr>
            <p:cNvSpPr txBox="1"/>
            <p:nvPr/>
          </p:nvSpPr>
          <p:spPr bwMode="gray">
            <a:xfrm>
              <a:off x="0" y="876300"/>
              <a:ext cx="2273059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IN" sz="1200" b="1" cap="all" spc="450">
                  <a:solidFill>
                    <a:srgbClr val="FFFFFF"/>
                  </a:solidFill>
                </a:rPr>
                <a:t>W</a:t>
              </a:r>
              <a:r>
                <a:rPr lang="en-US" sz="1200" b="1" cap="all" spc="450">
                  <a:solidFill>
                    <a:srgbClr val="FFFFFF"/>
                  </a:solidFill>
                </a:rPr>
                <a:t>ORKFORCE</a:t>
              </a:r>
            </a:p>
          </p:txBody>
        </p:sp>
        <p:sp>
          <p:nvSpPr>
            <p:cNvPr id="44" name="btfpRunningAgenda2LevelBarRight167877">
              <a:extLst>
                <a:ext uri="{FF2B5EF4-FFF2-40B4-BE49-F238E27FC236}">
                  <a16:creationId xmlns:a16="http://schemas.microsoft.com/office/drawing/2014/main" id="{EB0AFF73-0A08-EE49-5633-A0951C5CC933}"/>
                </a:ext>
              </a:extLst>
            </p:cNvPr>
            <p:cNvSpPr/>
            <p:nvPr/>
          </p:nvSpPr>
          <p:spPr bwMode="gray">
            <a:xfrm>
              <a:off x="2192938" y="876300"/>
              <a:ext cx="1830849" cy="257442"/>
            </a:xfrm>
            <a:custGeom>
              <a:avLst/>
              <a:gdLst>
                <a:gd name="connsiteX0" fmla="*/ 960419 w 2367856"/>
                <a:gd name="connsiteY0" fmla="*/ 0 h 257442"/>
                <a:gd name="connsiteX1" fmla="*/ 2367856 w 2367856"/>
                <a:gd name="connsiteY1" fmla="*/ 0 h 257442"/>
                <a:gd name="connsiteX2" fmla="*/ 2313135 w 2367856"/>
                <a:gd name="connsiteY2" fmla="*/ 257442 h 257442"/>
                <a:gd name="connsiteX3" fmla="*/ 0 w 2367856"/>
                <a:gd name="connsiteY3" fmla="*/ 257442 h 257442"/>
                <a:gd name="connsiteX0" fmla="*/ 960419 w 2313135"/>
                <a:gd name="connsiteY0" fmla="*/ 0 h 257442"/>
                <a:gd name="connsiteX1" fmla="*/ 905698 w 2313135"/>
                <a:gd name="connsiteY1" fmla="*/ 257442 h 257442"/>
                <a:gd name="connsiteX2" fmla="*/ 2313135 w 2313135"/>
                <a:gd name="connsiteY2" fmla="*/ 257442 h 257442"/>
                <a:gd name="connsiteX3" fmla="*/ 0 w 2313135"/>
                <a:gd name="connsiteY3" fmla="*/ 257442 h 257442"/>
                <a:gd name="connsiteX0" fmla="*/ 960419 w 960419"/>
                <a:gd name="connsiteY0" fmla="*/ 0 h 257442"/>
                <a:gd name="connsiteX1" fmla="*/ 905698 w 960419"/>
                <a:gd name="connsiteY1" fmla="*/ 257442 h 257442"/>
                <a:gd name="connsiteX2" fmla="*/ 1 w 960419"/>
                <a:gd name="connsiteY2" fmla="*/ 257442 h 257442"/>
                <a:gd name="connsiteX3" fmla="*/ 0 w 960419"/>
                <a:gd name="connsiteY3" fmla="*/ 257442 h 257442"/>
                <a:gd name="connsiteX0" fmla="*/ 960418 w 960418"/>
                <a:gd name="connsiteY0" fmla="*/ 0 h 257442"/>
                <a:gd name="connsiteX1" fmla="*/ 905697 w 960418"/>
                <a:gd name="connsiteY1" fmla="*/ 257442 h 257442"/>
                <a:gd name="connsiteX2" fmla="*/ 0 w 960418"/>
                <a:gd name="connsiteY2" fmla="*/ 257442 h 257442"/>
                <a:gd name="connsiteX3" fmla="*/ 54721 w 960418"/>
                <a:gd name="connsiteY3" fmla="*/ 0 h 257442"/>
                <a:gd name="connsiteX0" fmla="*/ 1128733 w 1128733"/>
                <a:gd name="connsiteY0" fmla="*/ 0 h 257442"/>
                <a:gd name="connsiteX1" fmla="*/ 905697 w 1128733"/>
                <a:gd name="connsiteY1" fmla="*/ 257442 h 257442"/>
                <a:gd name="connsiteX2" fmla="*/ 0 w 1128733"/>
                <a:gd name="connsiteY2" fmla="*/ 257442 h 257442"/>
                <a:gd name="connsiteX3" fmla="*/ 54721 w 1128733"/>
                <a:gd name="connsiteY3" fmla="*/ 0 h 257442"/>
                <a:gd name="connsiteX0" fmla="*/ 1128733 w 1128733"/>
                <a:gd name="connsiteY0" fmla="*/ 0 h 257442"/>
                <a:gd name="connsiteX1" fmla="*/ 1074012 w 1128733"/>
                <a:gd name="connsiteY1" fmla="*/ 257442 h 257442"/>
                <a:gd name="connsiteX2" fmla="*/ 0 w 1128733"/>
                <a:gd name="connsiteY2" fmla="*/ 257442 h 257442"/>
                <a:gd name="connsiteX3" fmla="*/ 54721 w 1128733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54722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54721 w 1128734"/>
                <a:gd name="connsiteY3" fmla="*/ 0 h 257442"/>
                <a:gd name="connsiteX0" fmla="*/ 1306668 w 1306668"/>
                <a:gd name="connsiteY0" fmla="*/ 0 h 257442"/>
                <a:gd name="connsiteX1" fmla="*/ 1074013 w 1306668"/>
                <a:gd name="connsiteY1" fmla="*/ 257442 h 257442"/>
                <a:gd name="connsiteX2" fmla="*/ 0 w 1306668"/>
                <a:gd name="connsiteY2" fmla="*/ 257442 h 257442"/>
                <a:gd name="connsiteX3" fmla="*/ 54721 w 1306668"/>
                <a:gd name="connsiteY3" fmla="*/ 0 h 257442"/>
                <a:gd name="connsiteX0" fmla="*/ 1306668 w 1306668"/>
                <a:gd name="connsiteY0" fmla="*/ 0 h 257442"/>
                <a:gd name="connsiteX1" fmla="*/ 1251947 w 1306668"/>
                <a:gd name="connsiteY1" fmla="*/ 257442 h 257442"/>
                <a:gd name="connsiteX2" fmla="*/ 0 w 1306668"/>
                <a:gd name="connsiteY2" fmla="*/ 257442 h 257442"/>
                <a:gd name="connsiteX3" fmla="*/ 54721 w 1306668"/>
                <a:gd name="connsiteY3" fmla="*/ 0 h 257442"/>
                <a:gd name="connsiteX0" fmla="*/ 1306668 w 1306668"/>
                <a:gd name="connsiteY0" fmla="*/ 0 h 257442"/>
                <a:gd name="connsiteX1" fmla="*/ 1251947 w 1306668"/>
                <a:gd name="connsiteY1" fmla="*/ 257442 h 257442"/>
                <a:gd name="connsiteX2" fmla="*/ 0 w 1306668"/>
                <a:gd name="connsiteY2" fmla="*/ 257442 h 257442"/>
                <a:gd name="connsiteX3" fmla="*/ 54721 w 1306668"/>
                <a:gd name="connsiteY3" fmla="*/ 0 h 257442"/>
                <a:gd name="connsiteX0" fmla="*/ 1306668 w 1306668"/>
                <a:gd name="connsiteY0" fmla="*/ 0 h 257442"/>
                <a:gd name="connsiteX1" fmla="*/ 1251947 w 1306668"/>
                <a:gd name="connsiteY1" fmla="*/ 257442 h 257442"/>
                <a:gd name="connsiteX2" fmla="*/ 0 w 1306668"/>
                <a:gd name="connsiteY2" fmla="*/ 257442 h 257442"/>
                <a:gd name="connsiteX3" fmla="*/ 54721 w 1306668"/>
                <a:gd name="connsiteY3" fmla="*/ 0 h 257442"/>
                <a:gd name="connsiteX0" fmla="*/ 1510249 w 1510249"/>
                <a:gd name="connsiteY0" fmla="*/ 0 h 257442"/>
                <a:gd name="connsiteX1" fmla="*/ 1251947 w 1510249"/>
                <a:gd name="connsiteY1" fmla="*/ 257442 h 257442"/>
                <a:gd name="connsiteX2" fmla="*/ 0 w 1510249"/>
                <a:gd name="connsiteY2" fmla="*/ 257442 h 257442"/>
                <a:gd name="connsiteX3" fmla="*/ 54721 w 1510249"/>
                <a:gd name="connsiteY3" fmla="*/ 0 h 257442"/>
                <a:gd name="connsiteX0" fmla="*/ 1510249 w 1510249"/>
                <a:gd name="connsiteY0" fmla="*/ 0 h 257442"/>
                <a:gd name="connsiteX1" fmla="*/ 1455528 w 1510249"/>
                <a:gd name="connsiteY1" fmla="*/ 257442 h 257442"/>
                <a:gd name="connsiteX2" fmla="*/ 0 w 1510249"/>
                <a:gd name="connsiteY2" fmla="*/ 257442 h 257442"/>
                <a:gd name="connsiteX3" fmla="*/ 54721 w 1510249"/>
                <a:gd name="connsiteY3" fmla="*/ 0 h 257442"/>
                <a:gd name="connsiteX0" fmla="*/ 1510249 w 1510249"/>
                <a:gd name="connsiteY0" fmla="*/ 0 h 257442"/>
                <a:gd name="connsiteX1" fmla="*/ 1455528 w 1510249"/>
                <a:gd name="connsiteY1" fmla="*/ 257442 h 257442"/>
                <a:gd name="connsiteX2" fmla="*/ 0 w 1510249"/>
                <a:gd name="connsiteY2" fmla="*/ 257442 h 257442"/>
                <a:gd name="connsiteX3" fmla="*/ 54721 w 1510249"/>
                <a:gd name="connsiteY3" fmla="*/ 0 h 257442"/>
                <a:gd name="connsiteX0" fmla="*/ 1510249 w 1510249"/>
                <a:gd name="connsiteY0" fmla="*/ 0 h 257442"/>
                <a:gd name="connsiteX1" fmla="*/ 1455528 w 1510249"/>
                <a:gd name="connsiteY1" fmla="*/ 257442 h 257442"/>
                <a:gd name="connsiteX2" fmla="*/ 0 w 1510249"/>
                <a:gd name="connsiteY2" fmla="*/ 257442 h 257442"/>
                <a:gd name="connsiteX3" fmla="*/ 54721 w 1510249"/>
                <a:gd name="connsiteY3" fmla="*/ 0 h 257442"/>
                <a:gd name="connsiteX0" fmla="*/ 1830849 w 1830849"/>
                <a:gd name="connsiteY0" fmla="*/ 0 h 257442"/>
                <a:gd name="connsiteX1" fmla="*/ 1455528 w 1830849"/>
                <a:gd name="connsiteY1" fmla="*/ 257442 h 257442"/>
                <a:gd name="connsiteX2" fmla="*/ 0 w 1830849"/>
                <a:gd name="connsiteY2" fmla="*/ 257442 h 257442"/>
                <a:gd name="connsiteX3" fmla="*/ 54721 w 1830849"/>
                <a:gd name="connsiteY3" fmla="*/ 0 h 257442"/>
                <a:gd name="connsiteX0" fmla="*/ 1830849 w 1830849"/>
                <a:gd name="connsiteY0" fmla="*/ 0 h 257442"/>
                <a:gd name="connsiteX1" fmla="*/ 1776128 w 1830849"/>
                <a:gd name="connsiteY1" fmla="*/ 257442 h 257442"/>
                <a:gd name="connsiteX2" fmla="*/ 0 w 1830849"/>
                <a:gd name="connsiteY2" fmla="*/ 257442 h 257442"/>
                <a:gd name="connsiteX3" fmla="*/ 54721 w 1830849"/>
                <a:gd name="connsiteY3" fmla="*/ 0 h 257442"/>
                <a:gd name="connsiteX0" fmla="*/ 1830849 w 1830849"/>
                <a:gd name="connsiteY0" fmla="*/ 0 h 257442"/>
                <a:gd name="connsiteX1" fmla="*/ 1776128 w 1830849"/>
                <a:gd name="connsiteY1" fmla="*/ 257442 h 257442"/>
                <a:gd name="connsiteX2" fmla="*/ 0 w 1830849"/>
                <a:gd name="connsiteY2" fmla="*/ 257442 h 257442"/>
                <a:gd name="connsiteX3" fmla="*/ 54721 w 1830849"/>
                <a:gd name="connsiteY3" fmla="*/ 0 h 257442"/>
                <a:gd name="connsiteX0" fmla="*/ 1830849 w 1830849"/>
                <a:gd name="connsiteY0" fmla="*/ 0 h 257442"/>
                <a:gd name="connsiteX1" fmla="*/ 1776128 w 1830849"/>
                <a:gd name="connsiteY1" fmla="*/ 257442 h 257442"/>
                <a:gd name="connsiteX2" fmla="*/ 0 w 1830849"/>
                <a:gd name="connsiteY2" fmla="*/ 257442 h 257442"/>
                <a:gd name="connsiteX3" fmla="*/ 54721 w 1830849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30849" h="257442">
                  <a:moveTo>
                    <a:pt x="1830849" y="0"/>
                  </a:moveTo>
                  <a:lnTo>
                    <a:pt x="1776128" y="257442"/>
                  </a:lnTo>
                  <a:lnTo>
                    <a:pt x="0" y="257442"/>
                  </a:lnTo>
                  <a:lnTo>
                    <a:pt x="54721" y="0"/>
                  </a:lnTo>
                  <a:close/>
                </a:path>
              </a:pathLst>
            </a:custGeom>
            <a:solidFill>
              <a:srgbClr val="B4B4B4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45" name="btfpRunningAgenda2LevelTextRight167877">
              <a:extLst>
                <a:ext uri="{FF2B5EF4-FFF2-40B4-BE49-F238E27FC236}">
                  <a16:creationId xmlns:a16="http://schemas.microsoft.com/office/drawing/2014/main" id="{93CA0D29-76BD-B501-335E-5E31D42CB928}"/>
                </a:ext>
              </a:extLst>
            </p:cNvPr>
            <p:cNvSpPr txBox="1"/>
            <p:nvPr/>
          </p:nvSpPr>
          <p:spPr bwMode="gray">
            <a:xfrm>
              <a:off x="2192938" y="876300"/>
              <a:ext cx="1776128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growth</a:t>
              </a:r>
            </a:p>
          </p:txBody>
        </p:sp>
      </p:grpSp>
      <p:grpSp>
        <p:nvGrpSpPr>
          <p:cNvPr id="51" name="btfpStatusSticker834244">
            <a:extLst>
              <a:ext uri="{FF2B5EF4-FFF2-40B4-BE49-F238E27FC236}">
                <a16:creationId xmlns:a16="http://schemas.microsoft.com/office/drawing/2014/main" id="{FA121C0B-5685-CBB5-71AE-E344E3A9EBB1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8763152" y="955344"/>
            <a:ext cx="1212512" cy="235611"/>
            <a:chOff x="-1713611" y="876300"/>
            <a:chExt cx="1212512" cy="235611"/>
          </a:xfrm>
        </p:grpSpPr>
        <p:sp>
          <p:nvSpPr>
            <p:cNvPr id="49" name="btfpStatusStickerText834244">
              <a:extLst>
                <a:ext uri="{FF2B5EF4-FFF2-40B4-BE49-F238E27FC236}">
                  <a16:creationId xmlns:a16="http://schemas.microsoft.com/office/drawing/2014/main" id="{EC0C656C-B576-8D6E-D342-D98ABB37550C}"/>
                </a:ext>
              </a:extLst>
            </p:cNvPr>
            <p:cNvSpPr txBox="1"/>
            <p:nvPr/>
          </p:nvSpPr>
          <p:spPr bwMode="gray">
            <a:xfrm>
              <a:off x="-1713611" y="876300"/>
              <a:ext cx="1212512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000000"/>
                  </a:solidFill>
                </a:rPr>
                <a:t>Overall</a:t>
              </a:r>
            </a:p>
          </p:txBody>
        </p:sp>
        <p:cxnSp>
          <p:nvCxnSpPr>
            <p:cNvPr id="50" name="btfpStatusStickerLine834244">
              <a:extLst>
                <a:ext uri="{FF2B5EF4-FFF2-40B4-BE49-F238E27FC236}">
                  <a16:creationId xmlns:a16="http://schemas.microsoft.com/office/drawing/2014/main" id="{D0C39EC8-AE12-B9A3-0120-48226B3B7CE9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1713611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7" name="Rectangle 46">
            <a:extLst>
              <a:ext uri="{FF2B5EF4-FFF2-40B4-BE49-F238E27FC236}">
                <a16:creationId xmlns:a16="http://schemas.microsoft.com/office/drawing/2014/main" id="{3C74569E-89B9-25CB-CE1C-AF11B88C7F69}"/>
              </a:ext>
            </a:extLst>
          </p:cNvPr>
          <p:cNvSpPr/>
          <p:nvPr/>
        </p:nvSpPr>
        <p:spPr bwMode="gray">
          <a:xfrm>
            <a:off x="5300420" y="1906320"/>
            <a:ext cx="1929971" cy="4227809"/>
          </a:xfrm>
          <a:prstGeom prst="rect">
            <a:avLst/>
          </a:prstGeom>
          <a:noFill/>
          <a:ln w="12700">
            <a:solidFill>
              <a:schemeClr val="accent3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chemeClr val="tx1"/>
              </a:solidFill>
            </a:endParaRPr>
          </a:p>
        </p:txBody>
      </p:sp>
      <p:sp>
        <p:nvSpPr>
          <p:cNvPr id="48" name="btfpCallout389611">
            <a:extLst>
              <a:ext uri="{FF2B5EF4-FFF2-40B4-BE49-F238E27FC236}">
                <a16:creationId xmlns:a16="http://schemas.microsoft.com/office/drawing/2014/main" id="{9A947424-5915-AD6D-F709-80C446F0CCF8}"/>
              </a:ext>
            </a:extLst>
          </p:cNvPr>
          <p:cNvSpPr/>
          <p:nvPr/>
        </p:nvSpPr>
        <p:spPr bwMode="gray">
          <a:xfrm>
            <a:off x="10259240" y="3541111"/>
            <a:ext cx="1056768" cy="479113"/>
          </a:xfrm>
          <a:prstGeom prst="wedgeRectCallout">
            <a:avLst>
              <a:gd name="adj1" fmla="val -34185"/>
              <a:gd name="adj2" fmla="val 81601"/>
            </a:avLst>
          </a:prstGeom>
          <a:solidFill>
            <a:srgbClr val="FFFFFF"/>
          </a:solidFill>
          <a:ln w="19050">
            <a:solidFill>
              <a:srgbClr val="5C5C5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5C5C5C"/>
                </a:solidFill>
              </a:rPr>
              <a:t>XYZ’s acquisition of Peer 4 in 2020</a:t>
            </a:r>
          </a:p>
        </p:txBody>
      </p:sp>
      <p:sp>
        <p:nvSpPr>
          <p:cNvPr id="4" name="btfpCallout712021">
            <a:extLst>
              <a:ext uri="{FF2B5EF4-FFF2-40B4-BE49-F238E27FC236}">
                <a16:creationId xmlns:a16="http://schemas.microsoft.com/office/drawing/2014/main" id="{4967A364-82FE-954A-417B-53D666B3973A}"/>
              </a:ext>
            </a:extLst>
          </p:cNvPr>
          <p:cNvSpPr/>
          <p:nvPr/>
        </p:nvSpPr>
        <p:spPr bwMode="gray">
          <a:xfrm>
            <a:off x="804226" y="2506414"/>
            <a:ext cx="1662929" cy="592464"/>
          </a:xfrm>
          <a:prstGeom prst="wedgeRectCallout">
            <a:avLst>
              <a:gd name="adj1" fmla="val 25336"/>
              <a:gd name="adj2" fmla="val 71236"/>
            </a:avLst>
          </a:prstGeom>
          <a:solidFill>
            <a:srgbClr val="FFFFFF"/>
          </a:solidFill>
          <a:ln w="19050">
            <a:solidFill>
              <a:srgbClr val="5C5C5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5C5C5C"/>
                </a:solidFill>
              </a:rPr>
              <a:t>Strong Y-o-Y revenue growth of ~40% in 2023 driving headcount growth; Company targets to recruit ~xx employees in 2024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B4994C96-8D69-52E0-CC00-DA28791B5B8D}"/>
              </a:ext>
            </a:extLst>
          </p:cNvPr>
          <p:cNvSpPr/>
          <p:nvPr/>
        </p:nvSpPr>
        <p:spPr bwMode="gray">
          <a:xfrm>
            <a:off x="10621426" y="808996"/>
            <a:ext cx="1144677" cy="504045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200" dirty="0">
                <a:solidFill>
                  <a:schemeClr val="tx1"/>
                </a:solidFill>
              </a:rPr>
              <a:t>BCN updated 09/13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1653708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3" name="think-cell data - do not delete" hidden="1">
            <a:extLst>
              <a:ext uri="{FF2B5EF4-FFF2-40B4-BE49-F238E27FC236}">
                <a16:creationId xmlns:a16="http://schemas.microsoft.com/office/drawing/2014/main" id="{8C882579-3D22-C274-8C8C-55150391FEE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294541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04" imgH="405" progId="TCLayout.ActiveDocument.1">
                  <p:embed/>
                </p:oleObj>
              </mc:Choice>
              <mc:Fallback>
                <p:oleObj name="think-cell Slide" r:id="rId10" imgW="404" imgH="405" progId="TCLayout.ActiveDocument.1">
                  <p:embed/>
                  <p:pic>
                    <p:nvPicPr>
                      <p:cNvPr id="6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882579-3D22-C274-8C8C-55150391FE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" name="Rectangle 51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aYhHdubK/b9WYMbiqTQFZNRdTaHJ1Coz+gznC5J29/l+uni9WCTqRMIgVGBy5FSCqTCP+Vdrf4pg20L7fH6DBLCUQPEirnQtbpBHNoYBczTAjyI+Q8sdgREG8v3HKj7eJNBIgJSMWMn0emcwEVHj1u6frAMlnit+99IngQn8QIep/Qhr8jUi1LO+/o87oAKNdTM6HxTKJKukgEon8U9FN9MjiMGwBafZuJU+WqCFQVdev7ARK70uXYwiD9qBOT2xEJ53xs00Tf/E5haV1DY5Jejc+G8rXeT0UMHAoqTZdF5PTimqNMQ/u4r2K2rZiVAy65rGTsAipTXkzOj+LqzfpFyxzuHfdAgpd5blrULJEbY3qpdIUzvO77uPOqZui+8jtTgZe4IS47Ri21L2g7TT6sJpk/YVRDme54h+605XBqc8cz57PbcMBWh/2knpKTKXdttuWQJ2pUBSXflVsHOnMIqZptFdEqCwF2J7//p08W6ME6KbYQARZlzmgT6uFh6DAslsSVLYAsyeM+3ZgR3rtHaDxKksQhgu8BpHJJxc6jtLk/2FW57WwpK+/I9UjLDoq3cH0PlM35CGFndb8D197YWO5qviar7nVGs5Y4PtHedqOyDpBwYrrAYxAeQ6dzU4TDDgbKgfYWWFmjgkuIzfxucjm3LtO/EOOV0qFF1ZodbpkPovYZ7509og1rgQ7BnXDBAh4rfGOFKMOxWACblAyAFrMh5+Oba6GcBESzzKonIKh2zwZK+n/Oq+wQ8oISlev+BraLrvN3/QdAfNWneLtMQ64+6PF20L0p3u3nXkkO2ML8UJOjZd5xGZBQyJwbHfMcJoxbG18rmS7bFaYUXvZO/b8Dhv2kLT4nXOyMJrgsvuORGiCcReVZ3o/8AyAqLlKg1eUcizXo5aBmAFQQxy49xGXVKZOA21o6KS096MfEbzGYmESNwD43ZxFZ/P/ekdm+FPdiEFRS6tODFOgGqTsiwnSnkDW7J7CidcSnOnFqI9eUbZhl7MZ7YcfSvnZGBRsY6+p0UrW7EROE7eT2VIa/QCV9pMY+l00/nLD/AfXWpbnkeOghXcUuaQLGFvWZFu5CItNRBS62hxXjpdcT/05sOc2yMDMH/MEjvZ9uoW9xQnteRtkj9CKkLclLj7ZVbvMdsMfAvVjbP7yqL+ZPP3FTmBaoeZbnJoMyHdH8pcwhUwrvPigZs9KXYf6R6vpuKR0ojATgq8zkPgy+5SVI0tuU8tRk9aHKUQ13Oj5Vhxynmi0J3dglQ1IJA8KMRY9qc5nwegVYdqixS8Rf6xTc9u9BJ55sPeMyB0ikYH6XR7SWSD/JGkpV7gmECgRTeAOLJkDdwwlU8L92N2TKNf/Uf6/ptsT44wX9tfMxmevGuu2uzKKb1HRIVsGhsOKiw+YOy1IdQWbpt0uw4SnL6MuQnQbAEet7fiDeRH8Tf6GCDdFSlwtybaXVLeH9eajZA+JZ27j2YG3aoWKhnlpYRPdJenpcQFqKvS3hSZwxKgu1haoRJvZsa+sa3/H3SiM6YcHyJvKzjd2LEMF6F9ybEKNcbb9UU3/XmzUD1lIFzYSgr679kq7goifd9q2/txFLjkWA4c1TXJScnPhG9GuTaPZOQv0hFsUNw0tq4lCek+i1OtfdDZ4l44zpca8CgpZyRzlkbdL0pAyOIpRxcNgcEpI3TZrDU6FvI1sVsqwbGYovLSdrCaORidaa4doI3uZRApsEzQTJsk0uFH51hfWNh1LCKLdRIYN5xSisgwrv57JMQWvOMQzbrec2MBg+BxoiVD8mc22zxcBj2hNztQs7vmeyb9xvHb9sBw9W30qf0UPihsgie2drrTjAJ+etX3W2dR+nB0ECcr6fOJXI+k6vkM1Yp2/IJ9T8tgwQRs5HCzdihEWlta3iwHi78S30sQV7BaVkbyvRiJqB7k63SK1GCu94ePhhr3nDWnzwYfqKYYn89Mihd3bV8i0V6PChce25uxMWv+zMkY0CGQn9IjVoFskO2bej3fAPrUAROzewmSICSXwwfuvvAAvnS5Ohi/VFdx461CRX0sicPZoNyAUg0/R2r4Qf52EYYwwSmHparY2GbGDMaxflK+BhKQ02rHMXO+MxDLmqpRK3s9xvPQSl1CEers1/Xy1hoCcmv4BLvieL5zspMG9lKTAa4rsCm7di4oQpn9RL7tiKEiA+xRAAv2CC56nN/P2bm3cpyw6BHF7iQaW7oWlc8OBkv9DT3UMtIRsOsrWg3YKqIN3fw3sw2aulEsvRnk0NEJVQEbaEvbP3k8CTXPztT9MSsMWZhSLOx3OGtbxOAU6h1LdflDGS+rRycEcWsrjM5dceZL3yYcHwxB/gzrYvXOmWdaP4BKI4aTlpgXqs0R6NetH/xLbz4YBHgHAqA/pTVC4XYrQtc2mVOzBY2ZZBP0IRTIzZTHfYzJSiLCTVdK6olt1/2odcBICSlFuIaUdHyG1pH3UEvhdwcz6mJbI0uQhIt6LYlM4WtcyXw/Eohl+LyZDJKsiEsYjUVICENi7+ACtVP1J0gmQPUDfvGhg9ksNwMVQVmMLCTpmHNeYKTTeZAvgyLgthe7EYbUNEko3HmK7mSecNoZxDsHg3W06YIWiEJql79Y9NyPq5cE5TBF2kHRREKnOHGo6QGf1ud7wFOoJ0Brerf8ylPOplMtxjwBm6vLZdT97Fv1Byqqu73/9vf+v0WlwqMubX6kqwuxiDvhZAbndmgl6cn19TclN2CNtKC/koIscf6oNii7P2KXdegqc06HpM+c62Bpdfk+s8IEor9i9evTtaQpLY3sbzxvuJCwXG0H0hLbTaAjCL7T5n7ducQ4TE0zbojWhlK16xqnZdWXmtjAsSPjUkuDmJCfdoLX2sYqiXdw1VEEMCmPrqvAj3+drGT4kFn76199i5DUs9G1VpObBqi6uDY2ip2zlnSt2n/jDwRVYKipEIilCOAKp4FBpUZ8JMKENlDUE6HfR+6GZyqeuNskcSbTQadsx2t1Ky1On8JuyfYkMNVUNaTbi7f7qiECflYRaozorB9KaOaxL433qY7E4s1QWA/LQYVU0HDReECCXvmCHFTVtn3I09x3Kvv3g3cGEvsujjBXI8swyt+ZgzvrW1R+S3sRefdsauXBIiXfHSweoMUmompvL+atRuPtPqY3ZWvqQh2NMLYT+Ywio//PpMpprz7AbB50Tvm7RNa0+Wv502YveQGJReYw4PSyo+QRj0FMHBsw9XOdQK4sXW31LTq3VRlr85JV7Z0ph2FqoL0RQ5wca+Nbmfojki4u0p3pn+XVSiIExbaEKOYGjKeTESEmtvJqkBE7npAKA3Grn4g9hAs+YamPEqgpjqR4jr0pNXvd1YioWldTYcAd6vfJ2A4m/4Aqdz3g90jPrsGOpRFawAdCs9tor9/ByG2UJYyxwMVO5m/OyeOopQsyY5wlpAZ9S9rmZvkmnScWrPKLqe5Yq/eebzm224pBPs2bNWfHx1RIGi8jTxPCvRMZXkPJdOU07bs2JMCMWKhWCRdCs8aItrmXFupFuC+AX9qkGGoLkwXQoUpV8i2jSU8x4bpjjYfb4WtTcsPPBBJ8wj0jgzoSHpr3fzsCIpDjrfWwZxBnWF8KjOCFE/d2UV7DPXZ9Zwb23g62mGQZnfZSAsYR8Qd+pwjJ3wdSO5kC0i7UH3ou10tMhgoJT9iuhUI8NEBn3CHp4fvDWFS/PQnJpHsI2lqZqiD0IvT4wooZrg13Uhy04URY7+vCKEcUbstecfIsOGUMI2pzmDLABSCT5lRGOg21aSiNTD+qwZKoRAnqgYP0yQj/9XPa3ST2v5MOVJKqzvG3FqlMyrXszZ4VmyEFaf8i02Dwqx7GMtuboQ7YsPa6NpUMWoAHGa1GWfE7MYhvXUky2KF+milvvfTyc8LDiuIyzHwcIEH6O05pfrakTAIyvPOd6cozmY86Ak2iHiav+0v5DJDHPKMbV1zovxRimhUuSgDBo2itOuHQyIbNMNQePKBqR/kq6DeAdP5bDk3FIvNnIKn2Y37vOMA4SGlgfYWI3rfqS3XZGdHAVb46eYYADESKgxMI2pNd64CuphHZGB5zvzyJyWVSFpB5TZLq4DzBK8a7+e4IceLU5ZpkN0qT0kfPIy+wvp30IPq4sNLWRgyjQ7//YMkxPkG7Wjoy+wn7t44o5t5fMi9e8WAH5BPlFZNW8eSmQKo0bxUjgdA7jkrMHJVBzqQAtjQ0qfjRYdsTl6g8rYtQGRmqw4exPzWhMYjoc/Gm7FdJv6UQf5PyjIOeFF0qPBsHf6n6FKJYQYqvI/kcyQ4hrN77dQAJWTAodNPX/FVms2gTRwhqPd4oh0dm9QjCfv3c/LTtDZbtmt2tJfezinKG1nJpZk30hciRbv82rG7sBrzmLMDOMRtEjr8HT6IeirDcsMyb5gxZ/hW4oNNaQ/UxRLBeemkmd6P0KFNKy1Ss/G58XHacuLwzMkcVNmZ5Owd6owkjVTYJysPBIQY1fhJKD8yp41pdSHHBiRVbg6tUx6ECPp2tduE3og9nMbMZnYNEibU0hy4XHJ0GHi62ThE2wpRzdsyymFYdWOf8P5rUTGa0dZgRWURpya2cJusxdFHqdvsRIQItdmE5XQz45YIn5Hwra/4keQ1cJ+WId4Z/0/TdEt32N0fNI9gaPwjbXD3l0+Selyj2tZGM5rawXKplsUXZ74JQq/vlaD8Ebm4eYU0X0qPm8GgP+GqhEk9xIn2CMdhRdjkahNJOMCZdLLLFgt4UZydFxa0cjFpO4n6y0mvhe/vvibDcb4PLzKPsbJWAu2lcsU4CYpd8+wsHuQzBTP1BOm9cnGZSqf3OwCO1LfyRIXTCADdJEwucsfA8VzTIUlDI5365IpncfyTXruNHeBUXSlRSyx+Oh0a5AGPIq6+UW+k7Xm0sAXIuQY7F+PcZ8hsW3rpHEWwbvDnKRDhq5OkC4LOujLtMN7DNUd00HhFLWXt1IQhDSIOIZP46+525NI0zN4wZdMKMwiIiMKK2dfTubuO79fdtUo7+18vvmUrlcnc3GxsHyHwYqPAKxWE/EnCtWFiUqXZUUGpqtrgQsriyAkJ3BFEYBiBKQvCcZWTDlZAiPfop9uUaMyTAc08jn8YFiSy2kiYK/g0K+oflCRe3Jq5OehiuBb8dXudmsFMC7M04ojiD+KmCxsYP3c7TdPEy5yQJxCujssomyDnixf0xZcHsCqmtq5G46DpZI9c6SA6CHL3H/d1STI4/62fekJce/BrzWVoiAfD51wn2h0krEZY3kgOFGU4TebOyM7kawLH/W1/Bpw2U2kC9s4RQuRVEulq32xQtC/uejBgaRvplj25p62TE1x8TrajFXKEAN8ZD1glw+vCy0y697hO5YbinLGBS93SF5z2B1qrUW7WRRYEyqKwmJh+7iw1aX550EqnwT/4Xy7IsxIN76GbqCsTfOR/QC6K10lcq3Z1iJpDtxavdcNNhsEsuGcLysaHa/iGCOG0FAdzY1VY4Lfw/R5ysrLM5AAVx2Eo685Ny8CPj5B0UJTW/nFeidUUas9Wm4qQZuI7IVv5VNt8Wx5Ik/nTZfQlCddI22NKrXxHDQm+vjNB0TkGtOpUcdfKjoCfuzrjpwYmeTL2IAEPI8camr84ixDR/KIvWW6LW1UoIwYu5JGZck02o8OCsQ7P2kjFYHOr9NYIeO/PvDJYCdMMQOpfF6HKAzOGfs8st3a8hBDiX0888p31GULnw1xUvqt4flbjYhR4g/v4z82TYvfyUNARv8YxplUSq3Eu12OSO0qcDgW55Qc904zZqAIyfLsQqc6q7ik01T6k2ikNcofvUFlB3oljx9yk0sjwmWDSne92dRoSYOBM9ZEeBkm6TEIMZAOuik3n+BFmMfC8YLo9MbwLurPYYuDOP85zfF4Vo0mQSSM/Jr5pl4sC/ZhR3s54ysusJHL7jOVfQXyoeYErnqs0w3Egj8zaNIdMJGtWH5Z5HK3ZN8/GNITUjvH7A1nT21/Zx8OWTY/VD1t4gNk8aMBRfzhLA9i/+f63cbgASujPnfm6gAjhtDnl/ge6gBsvCG+QYy2novbDlNUiOpXab+KhMRIgRcAMbJeBDYV4qORAqy4wF3fZaKctO0kXA98z5b8DR084+5c8qE337SI/YkNMaaDSAfgI3i2YciO3NHJ1YYqBt+qlE4QY/+ycWCLLoT4gkO7h7hCLuUlA2VxHWfS02bZiuZjoO0DasteMUXUUtcM0h6+6OclZIUSdLFXYytRYm8zzqjUdUGdy+d/H1XmHCi93JHaUVu0ZhVTNuJBDCx059jPkXqNjiO5RKYRPVqbYJvAerhJ0o7UaiB5YHxO4kX7foR8+Cnzyyo1nVupp9EZSdHkW+p5PpWoZ9SI+ra3dV5Q5gLO+iDmT2IJ98jFDkHecFSt9HsUrG3chaPfgQE4lfldqk/xO5N5vn15/IwrtD6pu8OqtkESqlpb1rTPDq2u5BlvgSraj3V6uq1qtT8Zg8e9l21xCVM89LRgDehYSR1pZWOyOrcmeqrM7EmonFM0qR0VPwYnLnJzhdAR2Y+cpj6ZSg3QnVvPsJm5e3Se1rryFJuzzu3cXmsgDQczCNw4I9AekPSVfb3Ff6hRz0JqQ6gyEaJcPowHia9nbD+6FxKqbmrRaGneghz0x993/7SVmdZYF+VEajNJe5EOF0bR3kS6j+9HqSIpwdgBwPBklccryQL9MNj2pCeHoUiavSqtwfQhzwswgmK76LM4PvJIjaSzW2Za+87jblnnDnxygiTCZCNNZdRiOHQ6cE1SViRSkAAdkYNk066uar664W6WJBysP5kO0lfnpSEo8X/Pt5epz976WzvxXGaTsq3lkfiTb+Z3ain50bnc338t6xsB5RYouGuRkXknvia67EijmVhi55bXKdaV5jfIwsXKbRfax0e345o6ODjvOEDbghm7RvRyoLYVb/kfUf84RIM6IKRJREeENTz+NCAkn5JkVKbZp9FU05TPT9r8hRlkCLIFeq0yYUjX/dTaXRe+XAAX/A2lMtNVHEuZtZfHGCIgOELOgu9VOaKRaiPMFp1mR37IuOjuWLw+3GTg6u6CgoBMMApCnWEpUTrIU4PIkv0biAPAUwOOsG9Vh9dF9yNSG4Xuie90K7RvsQx4WOjAz7ReuhDphyXG5gY/2CY49wjO0c/D0flarl0U3LAUUSnZmqcEwRTYHdjPJMeB49zOE68ftw0Apoh8XrupMhdYTt98Xk/n9gnzEFxWFcIg81DOsw59B6czskN3zuvqYVQa2eVUYp8M+1QZuW6xWAo6rTYmQUGcVVvhTriYw9GE9bhXockGc/aE8OteZwFo4beZ0HxTWJpFbTsV6tEi2Mv2F31y1y6C1S5M8VTP6sjJ4EaGEWhDYvdLQgmHv7fSHw/8JBTnNQws05osvNPk8EsBAXYEfK0uyBqFYyps+UTCGhJXpG6xxpwCwonQo25ItJAxg0I39NWSYEYdPn6jpKnxio5SQZgBaqrGnjnQ2Y7NocPUJmrKtgp0ndCgGUkaQxSiMGWSo2cJwDKnfg/FdYAk3Y5oEm8xAiLmMEZTwJgRw7Bol6EAc1L2fAWPRfBbBkP62zMRbtZmnqAFmOyFhq3yNw+/kmtgocnFMkPUhx/81VP4dEJao/TjQhJoyclcWVkxqs8Lw0nPH1r6IbR545H8Tr33iH8h0B3kpXllu/p848t5IK62SbDWSveazjAIXgKEjUZnRVJlAO2Y66JbD50C17pT25s4s9kK/XfpPOimZhMzWeXKNwXDJfxdljW1uC2GbisOEpxxoLh0mUZr/r/VfRkN6UEQhKTlLmMp47mLyDa3Q62ulHdBkDWkOEzbmpQ9oVAHBLbp9aap9tU5rdHzDrtNYjABYWATbuw6TJeRMxBLkMVeksYqq7ELf7sYZLjPRjoLgpP0oMn/tEq6kYCYih4Al4etZ8U5lbqw3dgieEV2hLu7WCVReWke774iHSWfBK98vfzcb7pcTe1zxQ2kjYd4lCAoqvvbEtSrMB2f7WQZGAbNEfzPbMLaxo5+RVGAY22qS3V9mHhZh2ZXkJ7Fa36/y1oNmwOa2msIdRd9msRzCZdsws27sJsRLf5e20hZvgvdJmmLSDltCQQkPOrkK/bL+3iF7cByWu1DuR1XEfqiNSDLF+xgxmmDQbn5mybGDALLnAnxb4x5SUggwn2JlwAohUkPBako3jj7whxkUTI6Cf7X1j1YXgXMF9Y28z7CZh46dKix3ZUWWYG0DRmI+OvfCFJFAOYogCpzZr6STNpfwEppuDg6pUlZBVcPsMTgefqkCQ5VwPIEjYaJwHl9dwbEKhYu1QKv+KJrWDgO1aam88GETMIXcC3BQ9iOMfQeNkUia+jWoC95aTJnzJBrrjIfOJf6Ax2kxpbAiyXi2pMOTpFUVSoL19ZLa6lb9F6msW9TnN0LWMHlSDqnCp8x8JqCN9FcawWFAIzswr8P3pd+uqPKCEh5T3yGSf+KluBtnEoaptMquhPpbIFsUgbvmfngbCLalQFbbeiMlARcAUvOtAblr+oMzysYHCs/3LZw1mrnf1lMLGR35lgnamX1+kLoxknYZzzr+s0lNpsseqhxuasLhVIRNwhfInDoWMrux3iN2IORzrCs6gQoAJeRtElk3w1iXAow4lvlUvRmqPtvQpV3fqtdBdRPCYB4y10i9V1AI+dUokF+GyBTLPl/0r5Xa4vAPe4SXOTUwLS+MvTRScL3VU2VPue/Oh7G5anhgA7jrd6Et9fAkAMRNHS8AAHv+zMj1WnghUYBUe9jOS7M4XYHCO8QP0kb0IzohPOudQU6vznK6y2Zz9QwasrlvcK8+pj7pQDK/PsDVE52NyOiGQZqIcR5O+59TZOJuOhIUCLYqQv/Clu2y2vrtS9NHIqj32pebvtu22/Jtc5BkXGdTahCh/fDajccACWVz/cordetR0FV0fVg76u0eLd7kY89DTZBhC7mrLqhzO/3sU9IqOPY5opnxAhRh/lugpMzHdrFSiC/42D5LNlj10Mk8Ecus/PN+9Ejqw4XEcjF9Vwmi48npnzbBDnqxOjBAzquRPy3jtE/hk44rIV/0Q1Edt6zqSbPAkxBpkFF6AfbH/ZUfjIEZh+IHrJ1v5YOqdiOpPMmzowv1JB5tqJqpmEeVulDDA7vU3Ylq1mpkBWoXLUd+iz+4/BlpUAVcJqPYBd10ty7ZH0o95jvjf939WBS6v05K6bMi6dYunkN5NOlbuuECV2/5zDizXcOLbocsg1V8EJtRK2C3jkz/wUf6NtVQummWdTefjhQAmlp++ZlXoGOJHd5WsGdGtErWKII740MSuWWFa3SCpdwGR/UA6HXLjlzSgaQ87ZOMURA3L9qQjoMQ8M0PmhcVCEAYSp/1vcx086a5emX3u4V7Fjhe6z8Uq4mApTY00jmMKxdDy32yY5Fug+Kx8lhBXstA+jwt7tcxFULHLX1uen2372FIU6xGmFjbFwRRrlz6azEnLZgZReSTkEJGhka0y99Q2ksrE+ol610YXzl2eXoBKPpypic2BaiqSuK3CR34ZP67epgKkWYCuBlJeLOp1LleJXU8zUUmQpUtYS+P7WEgyxK7bWVyjQ3/Tfip2fRiDlj2RCqoWgegHJUHmUaJI1wNNrYTpz77CqcELkKKL4/EWi/KvED7uvlXtgCbP2+n/e6GSf6ERIqqiQ3SG2belYv4/ITEwjOUIvYfPQKroj5yLdoU2Yb6yohsd5rRRNu7qZdaF7sznd02/LlmMeqNKnbj61UngbNXPdtiLXVwA/yiFEo8fEKRYBZUjUKHO2MFE8j1kN6SZhdg34OJlP6S6FxwPoKSJx+XGlFa/S2rMuZZ7ajjZQuqJFj/jRvpY4nCoX1b2a4sGhwNdkD9sVQ1YiyYy5l2xNREmXdH1AzYwhEwEJ2q3TmkGFzZimUc+jKRNmgcQ0kI2itNnr5tAZY5oz5Qh8q4p5w7i5kHGKdTJQ7l9fqKqiCl7oqVHBK3M+eokRv4BWfuBn6P9vsibwJVJJGa4CV0gsG/jmEKpI5pd+EMy8TfMoxmvOGRSy9KR9rH4tajGYBgGt+yxfssEPXSTA7MxBVDDMkGT0lQn8wawdNU3/IOCOp6ykWiEQhRJkzbqMx6De2LHdq1Q8YYEPKJB+flRhsV153yQA5ZA/DdJsCIik3RX5rfCdc6Svn1dvDWXBMRwGbJv71eNajLhLDS68u78BoJFDwe8/4eMQNJjyhwiD8sVOW/TvVFBiRroYUD3i2Xug8UaI6UDXKppXREt6Jwi4kb/G+Mp6E47Ta9iWyYYVjDm+tZV+n7rtEsiH3qicrc0sZtGt+/ZAtrsp0nqRwPrc/GZU7AYx23wDYGu3AuPZj4a3hqVHLfUiBI7kEcHTjkqRpRET6uQiZX88GzWqBLtPXyu1KWnKgZJ5hmJ6GMeOo9zB3o4IKeXIYk0bUNAtokCDw+JL1fTgpkEGg+ASbny2/s1EPZ7VKIlPmcisrUnIgAdjoG53e6bcIIPNLMpD1fQTBt9irpRAzfDXmSxYr7sEwK8aUeAcNybta1ce/tw4YPmdgfL8/VfGenx/h85zgG1aos0qy2VvY5dXjeSV5aQPNF6jZ1L2zwqpmJGlrVsKqnVgXtahpgN9x9NKyPuHU6l66qtCP/iHpdXd3glmm4kgPTN5YU2WWBOFRN4kuWocQs+xRJZIR0ncqiitmqLsWoNwTWf95ezZuvPGQDdVoH8U4Ti+zEx9AfXfVhKyhWbnqrykjJL6uORZ/1X/H0Hsf8RS70WbYZX7OnhEmH0NQrs7YBaWOJRpN3c4eDbITgy5Fk3a3NrfhFHTL/SZycptHStKhKowQyODTOLBuF7NQ3bF+GE3x8Oz7LOC7VD5c4Qi/Xdlei9teTfWGvLoDJZycCzTwsWWqY16f7+VH6BR67O6tNU9ie/EFtFc6EGi6layBuz2vxYpeuVpos/UVYZxz7MXeTRAX0n16sq3r0cOJCojrY2O/OmvXXqDJ8gmDBVXHceI/ccstuflb/J3XRwxRwXpxrqygcAdj/fQqwNbN8QyHKHP5f9kTfruCo8Pz0fPfVYBmymvDQqPshA7DyXNjAMUm2SQoCWpD8tE9KkvyKuaGFM3lxLejv/+lorAl2X7h5u751wGHr62fi2LJaVn6QKjTJB0KQw9SyACop0NMihkNSL/uaVz2rJyg3wl+0AhVNlfTM6E4/9WGn1/GsoI1lq6ZeWp2VrT4Ns5CfpeWHQ9IgGWhIlhlBamN38iWaCg4+MP0xcnmEITL2rvqTS2uQBvXFLg7hHgm9UGMSxEBDazGTMM96HwB7Bz/UOxZRIP5KuWEEMnKBDut0FXbLJwzocxnRR1p9R9UWfv7lMdszrbH/Y5CC5zNX2wEaR95p9kOGkNW5hzHoXB/Zy+TG1pX60ORFbOzu3Zypx74KXvfnff3s7D0I/rhdFKAZ+0gaEVqvIv+XTNv7rPjews3JazkgizRbqBqCD3MC0RDQBnM6oidoTDqC7zLyoV4mSFEKoYlVZBApWk02vsc1YGsqo7Tej6PYyiigHSivdFfVMyGewthehLbZ9MRoGfrrROdLq9VrS1tYMcVxdXnoB4J4/h+eq6xnFrSBEvnEiLyG0MI59G6wsyNUgVBCueRzMiHDE/951StwCQZ3gl6I+AgBL5vSfJJoLQoO0+DkWx70Z7J4Vkea1+Bd+yxORxHKjVZITNspzrp0lKVS4dK75iZUitIlG5NfCe6CiCn8PSQFpnqNZR09t09WqPrxsvo046Wukvxmqm8r+Iz+f2aCAdBzVqzqbdAtuV8myXOHiz9eiy13TX31TO7wL1o6ySZb7+WQ/UxvG6stOzZ5HaKNPfXGH/kcUMOpcGmyO79DTUUCvWhGZecrDJg3CPDwntcg6ZeTwoyq58HXN5pqa9/NaWF58Lw4WLyOIht3rh7A2D0Nz7c6+nNz+dPVyRXQgvivZ0fibMGyEYi9ezUUTPZ7FeE12xvJockN+9YOuB9sjXGzvc+a73JNLqLqrawbk/4G6ptV5HmVNuEdmftOiTCNIc+P6chLdmVB08BeZ7bw2bkAe29K6GvMgrD0QcZ6TentbP1/IJBHTZ8XNwMGfaVB1srw8Lle9T/+6NT1K/I95H8APzFGdVMUprLJ1YBkccpHWMk88KrNsBJteJr4cZlFwGF147R5ZfwLRTOq31Bp6GncFADnGkVPPvf7iuaxjSnaoLfRlszH8nU56V/e5rczT1+lkU8J5T8stfZchSvHR5PuTc/SQ66WxCA7iYTu/fNi3PyESH8gR2qdqOWSi87meOyvM/JtEqo5idPbjAWJHCwkyvlWklED0iIhuixh+CA9IbkysMBDsGgdL01CTBKtznupBGvdIFWT+67ofVI1PVshiw4wafySHnL+Fd4U9Oosekzyim+fD1DH3DVY3YPFiL9AEC6AiiGnN4rJ+bP9IxbKoElgdqqT0+Mf3wbL+1bBB5KzBUq1SH62nn/V0EmoQT2lz+aVJpFLMTEIW6DXebgNnwAqnylXuHmkR35GY1Nw5lVIuPhHYEqFVO0fkeSYn8wFbSxMm7u00sMJX6XtnivPLOteKWmSP0ePSY+nrVoFEFzHHe9S14WexHCX9fay5NxEuZL88lvdbQ1TCqXrQd3MINyaxGrjXcD8SCDUwfUJZTI3q+KiwfCAS7rvi9lg+q/JvISLgTneu4RfBrgKpafZfmeskvz2c1ygPvN1tGT4h5yiHUnl7JNmuvFq21KTZqRtwx8ZXdZp199OPL76Ht13fxL+zOmJEH95jUFjTEh8n18kvgaFFjysL2Is0pgi3DwKHMQ1mNV+2HFIt9j88g6PDyqVBk37+WAq8srV40k2UtuAtCnpRFLGJe6L183FVTReYhLWB02I8KA5pPkm933nhYPCkmE9H1oCck4UkvHQu9qq8MPhknRu6NtUn2LhoTxwYdmvSOvcnu5iIRQPVDjh6JjxTeCAsMtQETUvlhrWd9TDmuaL78tLiZIWinrGLJECMJyBlE7b+9f1Y4UfV1fM3nzefhuD457QRBHMq2kkgPXpGa0YL+vTNlp1oaaROl0tVvyTjBnIt03+gR3At4+OaGUtLq1MKJBSHvKUu27+CBTggoUDUiceQSILxKBlqsL88/f2OTas+W02H0uhxpBtMa7ceYCjTl0/0jJS4yFUZa/gmKuE7gLjBjjXlZed/+eqMN+h9yYxLGWEK5zxYf4mwn8QPF7EkooSxJacdSVEPZpSG9S5sJME5qbN7cvBvJig39sOXfN9JTjacUwiuvkUIuFFxfflmqZoc8IuMUTaVjcgKu0VjlnXJhiM0aypbj14emWm93Qxa8cPGj2Kd4Y7pIzIHSeeHYtg34hwzXe9Yl459q3g3lYn1SAscQcme3l14s/WEJtZ28l84JgYmBnyLirBLSSwPS9+dHEN+DzCPlA7tbRhfFHGbqEYpcREYA/cf/m+sSYUEMstjoeuWXLyl1t83xrTXFw9p1TM7dQemkJOOtwZ4Ysego3Og9TFgyE8Ph6Mu+osnVF0QEURnTY57VK6OD2Q+MkiDwpi1QUQ7uQqi4p4QvAQIHvuB1S5WWvbFVyI8gPfp0wrB2X7igm72snaESGsnKI82qRyK2ZWMxsjhwDmgX4NADbEhFhnFyw+Bd5isA+bJ0IlRb4KoZy0fLjGlaSmSBSpA8GFPmniQA0JxzuQIXKeqtSdXNOtjteeX1Kbmoa2sMXXPHg6AjGILSwQpExkXh+Ed3lDg83gFvG8Wf8S55kSEkj4mjBVbrkeUwY5eDWE/NiIcWDBOkpBI08nSVjLD5HX1FZBNqrRfNuaXrnDlLyMWXQcOjaIFUCi5m0uX3F7ufcm/DBqYy1cRbNmGzrq891uCVn6wVXNaNP/Dj/wmHbad9MeCjJzIit3FSvjAHXGT6GejrNZ/gUBdmVrFCA+JMfvH6Qof5KJSB8GPCB7B1syNJFr36HQ7sE+um7oG2sj9H8/oJTKTnTlpUGFwUKlZqIqAg2Jax2aKRbZQpRPAncpsJ5/0jIOUqeyrPW8C2LE+VyjegdPS0MJVqXc7Oo48+nOygLHi0SQWYSpypvB1+SiDtiMPIlE3KMHhULnHM/DhoU81qg8uqew2DsrH7rU3aVAW/Vzr5TgvGwVBVpVyHWGFXQ+0MPoLD+5+xVpIy4bUIzp8fAhBaIptkw/nKuiKGr7ge3QAK3/i0HWe1s2f+nh7CVJigL72jeJbuCGbPbsc4pdXqVwnO8JrrBpP2QM+5x9Jp7zYhl7azo8MPqX8uYPX+Si8GWqYmmlJ9CpUX604Fdx9BVxbs+YGO+9uTcKB0Pvx7YOP2wwe80+rCxDM3Dn0mHrgWhTbdWtn/aE0mbbUjvGRLSi7/FjoZYIzaVCT8gG7lptqFIVy4OfHrbfC9n7i8I7ZoNvY8wsI00nAba83D5b0G87aPyyyDFjS0dbeRAGYzAvfoL+W5fjoQF9LJc9pMI0U+nAcGTa2QX9Xj6CEkLHSg5yo1+peJPutU777SZnXvZ5tnTDJ/msS+9sucz+qC/2HU7j9nE4IoOWFghlPZyzNdfGyr8zZMmLD1cfbJ8frMZIwvv4e8pGgHRIjAf0bSNEu5hwaHZPNA+OAyv6oaV8TXAzZ+sFA0i1jbBQy4/b7ceKvD8RAQF4eepLp7oEW8oYFI7+XK7b20qIIiwWGkj6z7BkwhTGgUFxw8EMswLV6OimBn5Qm9tKlaLOC3i8lCaedoTjYuwlRZ2n9Q7w0y1CzuiyBuHNWTf9uCsRAsSl+QR/3aay9CT+9zxbhnvmrZBnJSREHiL2qwN0JkdNFNNzuFEvxR3QbMi62YlNMN8p1M2/0UYswkD1jpXihmACojbvxn5xm6woUCqxhrIiYvFuWI16Yci+gNYnQar78kQfUeuYqY4ecKHrFst8YvWHlq/T+1Qd1AfdfpTmUrSh3H90tlR7pFTyqSXwJNJZeBbXeiALGh5PSCdCvDQ27V3T3TA2rGtYOGV1/tfoObowgtAlor97YUVsRN13eZNmoNmPgKlayDR9rjNDZnCEcfH45IhdNE/QW73/Z5+d3ctQ8i0/HBwy/eiJBfjhLT4F5cR6vAQUS/ho7i3fmCnIuBUM2N8tfE/NmmDODJBhdn7uSnATy6BFx9QQpLLNS8PGhZuVl/Anwgv6LL3jHusV+8e5Q+9zi0odmthoN5hgBDcMg2/5zC1u1GCDybXH6yEmf1bBxFwWe1/bNIGRcQvcjWqS5HyWozQ0cnZRn2eQ6kREjtPLeU9X6ERPX1ANw5B4YYtSKlJ0a1RpCU1UMgc5iuKRgmPdANDfrhpSGqyu3/lxlCKhTossshjSdO+PNQjE49ZG4bKklfcj63s24oUlGWySGDgMGoJQe9mPYCd3b1iYjmV4wwvbQ0PWNsKdS7KS+l+BkhzzJ/mMNugDwOLmcnWov38c1qNQmaKnXpjPUC6kDedRC5aMPwNSSd3cEcWMixBy3EP1MJCEeaosB/DqYVc8kFNavZ+woVrNwP5U488a1fk5p51eA23feDPNMAW/imMpdDs24yxWVC9iXbvmvTeKH6dRDeEmx9Go3m47+UkhWNOcAAfGY/0LdZI8G6WMxxt3BwrSo2Sh1bzivtu7NozWuFYOXFkXhUl76kiY1D+YDL/5c8R7mqpZWWmTYnEvgbXE5AGQOK2QMJAyKkM3a21HwO1MA6OvOPGbgpDINUaJJrTEirMZYsjyHhFWzX7pmlPFg2VYrXZYWl/lf3umB9/XjBe5Xd/V6aBTkZ/1Thvr4mF7lzNkwcGVIDXR9M+Wmg0Pt6KSzu6uyEMYHQDUXdJItfM1vyA/VDyt6t8p0wGe8jDjQtGiwHmUMK1ajJIdZV1xWYOlaOJ4gjsfiQBgZqMgEJwo/padUYGWp0A7VaA98TrvSJSUuIVq1oSAJDct0aUqdFc+lXMKmM1i52Dn6w2O81IIJ01F4q1gAdY4V13VhS1w5zXcUubZ1z4BWXcOyWY9lxlR5pYqV7BrU4xqGB1uyP+Yei7ZsLlLXj1OZ4NNCZ9P95KsmUc4pk+gK+NjdupM9Z8jj2M90L5QefftLFy1kk2kT2HslpIO5ZTOYTP1rjxXh0wcJ8JEwQzWMVWPBVe0Zmc0wTvmUjHl93TfVt9OK1oPME58jsuZJ8IdGH8Jr02rTkCAen89pgbkfDeTPbwisd+tC7nmGZ5RGRFkTHNpORdoFRSPB3ItL31SK9rmbzXJtpSVJwG/WVZSTJ2/RmUSgQU404JHKNrR8hmb/BOkrBnrCyGHCi4q1IppYWUcodyjKjlu7oDQw03esfiUNX87KTH71RC15K2Ngg+saZJv8soWqFHiXzIdMoIXpgFrIbhPLaF8iDnvhyVp4NjJLUDTucpvVjIKUeWK6/HOqC9kPfPnbdZC12G76wv9pbMXXTEZ2bBm16ijJWwhF4JdKKon0iG+WswCUvWyU1dGlz+Rbc8LCyGEu91LHrG9dxepb7GtZToip0DYb3LjrMh03buuMfi+0r3L1XS882jyzSaG/7ubKE/WUudpZedmThKhCbq8U6rIdv4wqty/ojjydrej64bhm6N2qdWjZCoPo4XiirqaaLsdLGLSSHarldt1tYLe+tM3/WL13Z5QH+u8luOnxph4i8kT5J0jGqyEZtH0BQBFHKKZsZbtDzg/1n/ncAYqDkqcbPYhfQhpzI7ewcpRVIv8OfmsxcW2UAiZubke2NGRf3Vaic0p3nCkBEQs9L2rwH5ANofKenlqyGGqGumEQDdg9Mx/HFw59z6OfxM6xCkecCN+I3Dr/r+leqHbdP+n14zdf6i5HkQzdwrZE0wm33SgF4VakmdloU1BsCOe7gvv0TizZPhCrSyju8OVD+LiLThzOodYvWUnviYADFby5OMV1O604LNjf6REUz/jS9fbuIQSS8NRHf4IhCIQzn8RLTKV/OCnEHiIgp4JVsapH/StFWyszaiPet212Yeu2IIBC3FhPSSvYTYpky+CGWF1Exa3gaCwZe5nQiSc9DLpHAYmVVSMF5rUaphe1uptoXJWBI5owsZIPgKcDaiVS7ot57DfeeP4Xsdajyae5W+LRR1fPNSKKRmChO0S9heHi50RXXQ2CklJRk5bnSVY/BkB/2uRt8wtBy+J5ogGPYlPe+v+dbZV6eaVxrrKD9NFMNnEnR3o1dWkbl7O0qTx9qD8zdBideMnSFjXrgmF7QVsNAOPQuGcgpE+MX2uLor43V3Jd5krQ7N8LWog3wwTMTJR0q7itYU5VB0lmu2C3+4xrKHFCHchqMtthLSfFQAi7CiD6KpoTUCq8u7mY5XjXutwBBWlNZ5dkrY2NsoyHMVxLt0RH496WAP3EhS1ukkJD43UwWAUwSfiul4J5bC8HLGbBAtcZDY7T30/02mtgJRlKKDBt2fKmgaXUyLt+ARyeq/fsaZ/74SE+GE+qiqY9nbejKdLf9TO2KCzswCWA0avMEfS40OTZdizdK5yacCMsk8vqY4D1YRUj3sGaUsS0vLpsFjJG7MSYrNGWYqNBOygh83azjzjO1BbqVEH3QvhiMClRQfro1fJejmwkPBFUYLZ2PfJ2hKBfSdLzXN5sFi8RvQ0Vh62YkvIWuAMyGh7GpdZzfC3xTd5QSPneq0Jk4ELt6E+BnxmQyeTZZsvqvU9f9gEG4bpXADiEi5F6g/xdqDEzrBa2ta84AdrDy8Ua5FKrJuYW6+/CVdnQvg+88IqLti7ZrT7s5Kd/SzM/pt8syPoBYVqRuCzYSKB/PER6VbOrSE9FH2k+1n4I+g99JXfk9Y3AuimaOJiEiwYi+Kk7jX89melYBg+tzmzqj/AUpavd9r/cU/VjdRAEHEVmeEUKRq5D0nnqqjxBx2TTQyAk2cxPlGtU5C708A63wegs9veeABiAAg0zaEMGGiXGhesl/4hM9Jdn0wjZtAlt/LquTsaxdW7HemCsjZT41WfaPaV/sjCEQrgdP9gDUdm2KBR3waE6ZW8dg50T2u92s1fsXXRfHft4g43CrtOOo5mnm1thfK1IwAcomoOcajo3s5qYi9P3Se+FNo832f2ZkyRzM+ehPCIYlfThWzB05u4XTuYuRIhwe8mZ9/VB62AHYycMiPNi1M9P2yuek6kU8CTSvkVaDaV1K/47QNPj4GKdeRraEVJZyqKw9/fw9F6n2uKb9udqHS0Umc1wh/B8hDAXYcYu4ZLVxKUxT1WK1YZloBE4fNa90qwpmsaeJvMQmcoDrgsN1H3E/inez0phhXBcHgbMHK1ZD+mNr3ZNj5PvJC6ya446m58bXwgWRjJHzmT4NjxgZUfgPExT/mY7FfBy4XQJd6xfIEVW3eNlPhaSGzfBF9O/0D7kWBvjHP8Bo0pAaLJ2+MGPkL3s5+VivF/a+WaO5Bvm7y5Zb+NlOXOunousHRJA+16iRwItfnIIzSxr+FIbTs6XYdnHemtjA38A4VsCErUklF75mUb6kPysQgdMceoSMjxUoXB4oyi/7CKfdIECtRCkUkVcpF9g8wNXyJBX8kyY3ZJasoCOl2j3u+lNrLJRu/I0s7IzeibYHVv6UE826o3w49OeXtnKjz+v1RVwnS+OWPxHtuSVBsZTBYNSKPz75zRdgjXuTDx2RKDb5+IBlSW4bV9au+dtR6HQoFUbY4VcuytYvQX0ZIpLS0sDcaExy/0x666+zzRFdfyY1nuvoIWrQaeoUvzLYOJ1AhUtKbOLF8xY8GrggOPjPjvdePOhZBxVXOTBTomHgJXTsSbVXriqKRy84DD7zNLIWO/0SVrYGleE1QPmo7NZuNqhqQV8tcdnT77239zsv06Ja2I8l7Zp174tsl0hEUxVU0HL5MIFeXTAOr68gShXX5TbQ8s5jGRWzoOGPb6ZDINP2UGBPHPucth6ZTNaT/iI5Il9R5PUyzfpocJGntGmV1c2kJ9VBIFB0EHgKK9MZ/+zH46dtSrEhFXFpsg2Lyv+Ij/lpPc4enku/UgIkT+KJFbWubxOuIfxec/qnnlCL8WYp4lHkGxfEAE6Mls+/BoMI9aTuXFjejwc5pqz+gC7ua0uQVo8W2leHIJavHxZ5gVcuAKELwrKnDxDmIvmWd4FwHcJXGuz22HEkkh6swQx5cTNvmC6z63Ds/RsWW6G5IYgN/tTtJzj6xVuAzWDL+cVLeBUbzQT+fQoHP2YSqwZnppI5L/s/zPdiMTRlXEHoK2mDYup7SRSrT09Sk21qU6ME8DbGgI5zPOSNV4srHosXQAt5rsB6wnTa5Pe9ZNPHCwX4c892fnur6NSuMGrMe/81x0j9Pijr6gC+XLwEN73mgoJxLIqVwPzrSdyTrmGuCmdAc4KmPnQuE3GwqbOQDNXdi23KyM9ApVZ4eFy7Y4U6B8ibL1+XPBRIXTykaSy/ncOMhwuyurC5yuyHWkrUB53N94IQCDeW75ypXKz26x/9aDpKcUuFV1FezmyI8dYlMfbIo2rDhMkVLLutqDutwoqJjNgeEIN8oUCApHsMPjXBjyJUQguicaOREqWrugM2bvmLN3nrOmB0bil5L0ea9RT2nqPhmWj8BywuhcbkYxCV/YHvgmrwgYgMl7T9I/V40l4DROXIeEEoW7x7WDTGjeihYK1WS1SQ52UFQWvtq5/dowrNs87M49+L1mfdGBSc/UpA4s74cZ3Ig7TieR01w8BeKBLyPjqLaw8kierPnFihdAGlYn2B6yeypd6dpr+cEOW5uOCO96jsTHjSyJlY4DCJhPvecvd4fVQsvKlgh224xB5idULui/cfam+W5ULNwJmLs2W4iDY0uIAPkV0aB92IrOmBUUVG6Xze8s9BvxAgOocd2V9q5XOEu3gAUfplDm7KY62hDV0/mRaWzuTX36ppJ99tOllN+FGVOPht4An46uUQx4WLlboTcrJ3NX1j164stkVs+lDSem2OJYNBPFgf+n2do0sSNQ56eQ6Hc7UIjfMAAOcAVkplqCdM+JlLMwQQo5GGoZVVXl6SEzaLt2hr9ERDGVZL1XZyw4Xd2JVqeDwB5WIMQzlKmQn4pTYvjIVWgGkhC9fKe7KRAjFjDT8oS25j6PUwUhC8s7c03ZuLEfPM83X4RBTq3aFi3U8GxLRtifa+eJekVuR6zzK6x/vuP8YWflXarkBGTF4i+Nq1EdOO55gHtGIIkCpNj5pJzKw/6pEYN4zxs5/O9zcEDCEYm7j/UpWl0zH7sIeisqOizWVmEPXXF3U+Vpny4oGk197f2QC0erGlfNDSS30/38aF1FCge6t73CClT8kjRLngsjyYihX/kEyqkl9a6Q645alzM/O6Inc1Lh7sjFzWnvXkD6vaOpbuDQ781OOC6cqgEb1aWhZpk4L9ZHvw67NWowIsK7PfR92AdPKSmUYox8iyIMnzaDy0LBgq7z408M8iKCZytDBQvglAu69yWOjFUY8zwYKJYX+LgGZ55rokGhB04MfR29+NgS0WD4DInXYx9FvvWtCyCmUHQN6gxj72uWKJJTniu9UHK+dKKZ8fX4+DleGRwL6czNf3dzTbBA0P7fsqjZcLhKds9X9fsKW04FNSlphJhPTn9au/sOvLnxA1V9H+OqVPx0lShiNgnRK48x3KhMwNb9GH2MY63W4ZDD8/Y3LeMpK94PluPHzFzlzpspx7/J5BLclkdRyyxty3RdQpwuJoeWYJgO1Nf2Qp12jnljlxcRoFA1AdPgAR9/XVZfEdQqaigzFkO7cQbc4GegamJhXghI4Rb3/Cz06qkfxW73qVv1pDVBefGNkVp9omLOpj/wj/9OZ7zG24BSy48eBU670Oc1syszkAzDdxh1DVTfgTtorMMQeoZPaS5Af+V4htk4FVAgB5bHtjarWqK4wkXnOu4I5XJrzXiC1zue3JCC0wLWx8VUdJFEWm5gibcxwm3acEUjAan7VV2B8+fefV/jd090wWAXTsfTLSgihM4rcEHAc2ZzrKbxQG53KbHrZincSjaCGoB+Wiecct94b7WaXhcbHB2rc85m/0t5+yUo63Am9zgUTdsRhryt5a4a7xa9HWlCTyPtJQZjmwLkwqsS6N3rn4bxnAAL2uxu0g1c2kWqsH8uK4BGvCv3LUGwRviKlrABX3ayl8BaK/I55FeRccLOzbatEdtIDGnHsdugzz0GxG2oVMeddOXEwMt9tGbcqeNRIHW0CJPZHPway9wWjQt0LxpyCI0J8wPvs1cRLOnwG8//Tx2i3BrV2VNdb5drV6mRmrz9qLvQSfc+ncoKvpDW3OyZ7AzpDJPqi3OJjPVNhhx11JDjfTiCYj25gizg/enGObMg042V1///pCbGCSfQ5MhormB8Jb9QUbFr3HgdffgRctEYRvJDSl2LaRiZwh62IKGgjDIddBU928Enck/kQsks6RX0UuFreOmLahmErLj8i4p6gjrxrjr8wRCbEsfGemzlmz1uIiT7JR7wPM8FBApu2HnkcbEoANHBYcpYj4v4utL1dbyLnvdC9cbsE88knsgwmF0WKMD/2NiMBKj33S/worMOOd2zsGosrvssAiXBAhl0OX42aUygT6O4tsfV/mpzSJj1zyesoILPTpGprf5UvKHtESXXQGe6i2PysuJLtQF8l/NWZyXRuaSkHVbIKlYBcUB1lzLuyjpt+4tW6ZcgQ+O1WQZ4rK7eqeeDJTArsP538vAX8yiASFRtMNRKNmW5gw00ozSfnKQXeTB1i1VoBsY4/5/C/Iux39YfHKZJilBu1UTosB0GXNMX2ODikuxnaB28hAXGP6ScnxhdwuqLiGQtmjapNYFTzuW9rgGx3NKdUxlpDv9Xuy/oH9gdzYeWafsjYt+5ILDs51joOAmaP8LSNWKu6NcA695zMFHz1jZDbzkRyesGaoY+Sv8cOjG4d9nW1FNwpk3jp/DhwhA/CRXNqehsBbjuF7luTb+bWCEs3K1pVZ5mIHp3Yhms4dZ9PikLPs0YVYP6uN4yVgi6Whs2EmNK1FTm5ghonnkXCEZjLuhPjbl0R0jC3DRzH3FO3ahF+5IB6FHuyjNS8gSl5zU2gouXUtzG9FPFUOIhx4GQNt/IqnMbJ3aUXLZIIT0024ZZDR1vH3+EPM7Th1uLncRpzFtSA/s52EohrJO0EZfKMZacgAc4YjEcgzW7ErWzF0pciGhYmP5cbhzqJAdcDRmBUycLtxi6Y1lwBIjAlNlyBBv70RfAPx4UePgnWUw2nywBlApu7Awb1aSoGC38z25h6q1YlXY99Sba2pwI1gFzHNti+SxKILWoDx95uQ8Bv6Z2ibhnvItHNWBLPaSZJSnVCAuA2pvFs4mLXDeoMenDTiZsUDCuXV/2sEAeQmpijUs2UOgbvAf6C6EK+bX7WV15MaGe6XrzDoUxWGbkqEH1fgPHU2DNqruUazeK91pUp03SM75LpXcuDddGODMLBlg+/vu72DGbXzvjx35b7BLOM76Nq2kR+QUwji8INh8//zWD6Orex8rfy/VrVrWjIlVicjSkuxDm16dNv/+k18wBgC6LAHMdDHvPPVm7YCUFY59bf21P31QhiC5dt4mzg9OELD4TOjWIbE1/gA8pLj3e6H3Sas58u6X+v66McccDlMJBsPBI25iJPbtA4nIL9bQurE97wZ/npqFsCVk1cWCYBm4uQumyh2HwBYhBgKrRz0hg+E7pUk0ZhME9NRWVmzEvxzt1c0dvvIlBUGUV0XzHjUX5y0hwsaqXKIeEC55zvISrkAfRiqmI5MTLJ0xw563hfqayjeViHX+T2Hb9R+o4tWLeepA6AI8Go5CXk+pJ/U/Toi7cWcp5GVeAfgzuUYHYJBewidC2C8e0MCsjNIG16vH9fgZRvP4SeIrNrKkd36ftnEmK/tdJVsVVB9ENvzMmTooSLK4QgqROCWGeq/zqdPRtwZUta36FWIEFW0ASJJc8uVXneJSzVoRovkPjkEjFPyn5duTG1hzOF//Ar3LXfIfKc5E2b9ppNSXOIs/zqikwZf1Y5ycnnGVP+jExZmkHjaDuAnpelIVfeO6mIzcijWg48sDnrn9Iy82SHw2YPwZ3hMbjXhlG6NqzuFdhFcF6EKAXaJFF76y7v1xLrz6kwElawEb3bX9f42QcbtPKE1WYR37difomm/BTCCOSkIY1o+z8K+pMOLxwCS3iHD4XxlUC6h8Be2vG1wNbcaY1Ef49fb7GUmOlHclCB9BQWxn0HfsBHtFfZvSzwdfOJDHvp1dP4hOw5slRWnRCLdFpmiOMEfpIuI1P9wv2fGEfaU/pXKTqDR6MDwlk1c30KNUPHr9r9smEP73Eecw8/UVNSfKdvsX8SMSPrN9d2taZ9B0m6SomimAJ9v7bhUoI6Nc6BXqMCy/9t/BiLIrNTx2RGPDu+n4wxNnGFduHyHE8vl2PrXzkm+Y7kDldAGPutP8weAZ5E4VQyguhi0ez0orbfeVfMKzktX1YtWQ/dSr3tpKKTAXrbLE/fFWe0ScSDHGVNicGuXhc4H86y382K+aafr80KS5McMr1Fy7vm1mgzXEhPd7t/i5eRaxN9js9hf4thTHwSheUlfrKqrM8dp4vpMZVWwMPZtTMDA/xaTEzB6EWibrlf/WGEvemYLjJnHA2j59J1+My75H9y2nE91SI8JokqtXzg5bJv/vP7FU1WRvb8PwmizMQbJ1C5SeHszsLtUxz5LF7k7xJCuPT0sjR0G6pEM1iHCe1sX+ndkEFuGrZMKMNqZewSZp/ycqOHXv0R/51yDeMa8MuIQz8XicBAmkqs5YAAGpgmw/Ae7xd8hEOYvBV4JZjfhL+syzrjxokc5nF2broW9FWsZi8kCjL3Yxp3tQoe8ozBpRsZkkUQkwl3NVaHwvz9o0DUqTpaHoZXzJiS42foOV3gMK2Reac1K0EllmPLBPHbReesyjCiG9sWGnJ4GnIl20qWvPAmZCKy7Z4jezhqGw4lNw3MK4i36pTE3fNnDL1e+tN3Jb3gaWm8UEADwsEAwZcPzvMYKdAX2twHCc2q+4typ4a3clRSIxbKF0wovw+F2TNMW3Kt+mLx+SziwshIA+HbFg0GTFGJmckSga0MQKZqpxcHn7FQyXMPdxswFFtEmhYiW+2vLBlw59cHKnIM3bkvsbdhM5GWDdoHyfTvdDUDZT3MiZzOe3EGLDh77fQW1ylAdTH2vrueFOVOabCqY6OHNZ6/gpVuRt/q7IqWtU/wyQCMW4JOmTD3EHCaUha2pP/pliV4OjlUQpW3M3kTgNFTHBKVfJunK2FqhdW4SNvzkmvFA4QuHYYL8oOBGTJ4W8QDpU2Qb2yN5QqdBVWmSx7Qrvk9JRrZP43KP7cr03B/EO8fKQFT77q9BicdS/h8cnvg4dyd0ZKvQbC+jN+MfJRM9rUo8SQ3wt5i2pjPFCwAZv/Q35FOWqClS+Q/Roszyz3QrahAiTAlUQJDKvC6YDRSaZjPTGqCR9kvxscGvc7wIkKrjRrJL4Y68qL3i6SdkrP/yQiSU0ymbk4PaZUecn2/T4nVqbVtkbyR0za5pGKHYW6Sb7wOQadUOgWRft+1J0FdnIZusahecbePoS3i7OgmGdQxDQNtNwMXw4ZhiWNOrsDM8Llcdw/LU2XlkimDdnWZXIWZs2viiCMKTEDiKLQKRtdCbZNBFRzStsws57WbGVbPuYiG/hzQ5IiQz2BrsGAhPcHg2xTqpxwLEXzKlSEeM3T/JxGgkEaKCDHqSodmwD3lho5MeHj/Sn6idoImY1JWoFUCYhkgE1eX4OdrAzojjZSr/F7kRnKSxnFioan4BZ3+CFQfFLC/s63GkCSViWpX8rVwtIrh6pZsjBqxKQ41XPLkCvc3xxblL2Kq8fE6ZI6+Ui5SdVVrvKnN6JDMTnmj0DGpMovrhI639VG7TUzmMKLIFlgMoNuAlT7Bl5Aa8CEuuEgCG+Mmht1GDpZ3w9mjNxgvVukPzBcYCDtFB9cj3xNfJGu6GR/vWsvkNUASZ7qoZTLti2RjWlir1JsHMp6pHY1p7Lmifzn3IZNpzBhv6jXgbU3wUfrr28nW6MPyh0nmNPC0lefJlmqvopvJnfHc5fy2qypGV8ltD7vcGWc+sGsqDCDqzH+2uIZz3W2q4R3OBP4tansT0vzJZQBMokYWb3o2OfLb4/rb7bo73pNaGLh9Usk4Bq3pfIjXhJO0TEKjwGBFlzTw2g8ASiIQbZ1LIo9FFCoQ5t6JCaxnzVd0X14axK39EQen8Q1qCEe08wrYtASSgtvu+ZXVjJYTPRlicydDjRfPBs2z95xHMd+FI50I4whvMtN0mNHGpkui4F8AIMjUbYRyU/yBETuhHR71sj4HiSA4RyOLjDfWXkCQ1wEuDzlCqo1njQluY8kEemmgiilxDT3vWoTJWwq4l7+mB37Bqd2+V6sW/pPorNaC0zvdkUuAkVP3Zlt7WZwQSvAeEfbIa6Piyf6Vk5jQDgMHuVhMQP/LOIOyBIbfjjIG7Dk9vD5LAAmxe4ITv03SCy1VwRd2cp3NLARDsOK+i5s71pxtyZ0tQ1J9UOaxfsn6BZa/ZAyVBCwgndXwjfllVUdVT25ZvsnfpnCX+lCRNfa3lx79NYLG+i9P7yJ4Q78CZbyTmp/XbvXlf4ya2+gKJIGLgvyBKqEfXt58VkKLERaWvuWR7rY8rpZMNnE3cUEhsI6ufNfeekYT83KiH3mWrc8DNQehD8SWfTs1WbrlSA3h8o22k15q3sD6NQ3Qu+QG00lANA1k7oZ0nPWu5XGFkKNXwVarFp/y4qtOJYA9OwvM2NBqQyd/El/+nBCEdBYA5wqaVuRjNUuZcWyVJNkGFr1aMn7rcXtrIuVjhLl2K+j7sXvPr+Cn7y1//uCq+L0myvl6rfJOKTiNETkDVJICKMhm03YBjgbm8nIqJHU/40JyCX97lSlpxrtL/LOPeZ7JqYKR3gYd2XFWpwFb97nKdDtT5h+af233lc5NwCSvFPLdxL00syikRhK8z+VgrbxxsTUTvyeFQ3/4z/K/lMNpAgv5oEz0LUKb3pRInNxauKqjf28ztsCoFoBECHfECCnSBQh8F9DyUdGI/nbkFvSz/7IA0kA4SAs/Qn6ehLqFl87J67BFJmZoVB1TF0lNf/HesqRxXL4Vun/750Yq12mPM/Cq4nb2UsgQ7u08v04ax59bKBecRYTa5IGw2hh349TfSD6Xdoaw7fd1I5uLHEkc6sQfwhOh/yw1gQyGn3SVncfOlGQkfEFUa0KDBQEtm7salfBmj0QyUM2O3XKDpiXffnYxWplOoeJ5hq8BQYhnqMCk0J2Vzjo+/uPRxVynBy76VC2rEGdX5uAnmWb2w67YhAmW5uKK4dP/f4fqeZk22N94XtA6+/inYbFPIwWut+SpVkD16PP/fVDwtQxHfAxZZHiHbXcTawB76ctbpaY+/90dekCeAg7Tme1252ZtTgT5sQSu8fvxcpiCWZ7U8Qrr0veYsQKR0UBsSkYjuAjFZ5glulUTSwh8WhFlA9eMkcDuX241N32zlXKmXUCmcu5UH7f3pY38I7JaUVGzyDBrkWItJmtUv3YadiDM0PSZqJ1kW11sQqxE7lUp8ueXSQsmCdWukT1yzUXtfTCWMIrxjmhayWSZBF+XV8u9rzLk3nhb3IRUimFS0la+HvVjMgb6YLPQSZMtmdT6cAtXO1at9nc1vv/d6Qqi4OXb4Y6yPgiFk2KYTbQ3kDqtMr30av1kr5MX0XBW2hDXhtryQWx4MQZYlJRHOfhT9MDPt9fGD9r2YQUb8KUMuyXRowuGXnRN3umTfYIZPUWngkATDzgwedYsaUkEcnsoo311SEVDZL2x8qMy6ivU5P7HtYm6X6tBHW2n52CVXjDkYRueWVNh6YorpyjR64KV5AXXqnFLhQ+ZdxG57PKlSwZizQ4iKLlWNmQ7SGvfzNR2e8E2d6jgi3QZGqa288xbK7OrU6ToJ23a2oDdXq7W19ZEkjRvS9FC1ZHDrG3qwyhLwWEYHJli/zhAddp53ru+qhyEUNbjLt1uFOwenchrqR++ZBByV1W6C/OKO4oJCKSBOSLYRmiL0SgPx9URAAlIdHb1dG5EGricDco4lg7dG4Jh89usJBkaxIsuRgLu5+8g7msBKLb8JWDhsaQIQtjwiYXlfVcb4Bcv98MVEq8GvHTJ//qbko6K+3D0PqlWO0RGhEPM9fckSPfPqVMAVZpLO7OvxwLkwiVNB0Ha4EfHnelBpV3x3jvP+4HzYrqQg4ULREwnhClTP/RnhTskj6Q6TNerZRB15FGIv5XE/5eE+V38CyBYaHjulQO2PbEe74UIzx6qZdwxI1/8A63GZtK7Stqa6819Rq6Xp7Rc15ckifewHfqWYPwRx+nz0XFZOSSR6qlSxAhKnjM9qFGqBW2hYWHoyUMg+rZZwC22XOg5fi33qAYFHS51ZpZ2PCixu4iTGceFSM3m5yKAjQVnigcjbxFsUOj3lZyiM5NDqmaCsbxTXKB8FAzXl6L9/mc4qGqaGrIhVTN7KluPJdrPSrer9jV3uRL/mYp55hEwaxKoTWTMKNw0rkYcpvw/FYhQGN5g0b+CIp7zoSoHgFaXnHvV5zjDb24CvLq3OEXf+ArARt2NLaKAtuiUZbZL8xftHQUnIWeZyMKdwH8tZYh93TGplZV66256M3aIoYp5+wYhSI3P9/P1uWSyyZKjVmozeAuNCm2R5086y2gdmUQNMpiiUllFnUOdZoXO4/CBB+zuTJybEaFi9gpNjJ3Fio9rq+ThQynHw2vZoqp2uB/mocY6JuauPtDfQky9Fe9lzTogq/9ygXFJqa4b/O65jlaCAqsgfIucqFEmOz9Bjx5b9lTgM7SipymIO7lAKQGx9nPe09eenCKRmbFXjg8OIhTXYsUIwBB9bYN+fj7R8UkcrMzCk4rznGCdMJrzZUKqAgmHn7azyJ1/59olWCg57iFYkR0k4fMo6e9JJgdkQfZv1m9ZtiLUODqJTVG9navK+bgch3Cg2Np9AW5LbmcDmWH027CHJX3ptpJtPe5BeL3m3oFdwxq9xTN/40rp6fl4F3x2eXRm1eIsB2E0n539WdKd/vDVZ9SfMzYCsH3XfWlq4EwQHRrJS5Bnn8gqvNS9/nqKHsnySlljC2w025DHkDG182lAOXZIwR9BGe29+sRwHVHz/cosA9YMGICSLyOUnRcpA5CYd2DyTaickl61t8hi6I4NVCo7HIwVd5CS2tEb5fHwDvMMSw1tbRML9FC00OkeRB/2d4IbVSbOhYnhoOoeHhgC8fd+Ek92NnXtlZca8LFesSv43cpVtLrxIwXZBZrYNQPO6ULhY3gRXOZOz5KtAsWZsfXM/KoIBiXq3Yys8uwVjZ7IJftv2VPswy7vVerH+F5HivOtf/R8f6eTW+vmRZ99xwuYuBwFA/R1udjuAq1V3NSiGmIA287Sr4BQVROgVY1VKm8owi/RtHng6jh7xfv+7h2ceRz/aSu6FvvXwHClUhNOnL+1MvPX8+7Xb6YQYHCw8vNgyDzsLot6SNKNKFB0XpQ7y36no8X9nRltx2Fft+Vl+GzABn2f7d410Ntin4U/cOqt/2pHwXi3qwnQVgxnFf6pEl/V4ea5lQkFdRAxR+DDRXmPVtK5qRpBlpbgf8K0rWGLg46mF8bZdFejwsFGgMIhyr9zmasLM7sk45kdWX6NXgXvd8T6xi4Lb5yBkBnWF0AN544VUWvv7z5ddXbyu15E4Q4W3OSAk5q8/bBACEPCRyX+xHgLEX5uQTH7LUBO7dr32ZTlothoe6A++doNzR7ekg8ZqaFnPw/gkSRg5dMqzgMwNW1wI9cKaWIxCfABfGhiTdqmrXL1kTNQ+xWF6LzwQiz+2HTNAGKmpdLjqEZqARJyjN1YjC50ToXjHkiLKzVcBklnvflDrI/Y/IlmPhN+uEQEhjA/t7uT1ZLVt//EAjLGi5HVUazJVw5TH3jilAIi7PwCQN86/MEE4APaFmhfFh/jdPRaDH9EoJdfZXsjBmLX/CYf46FVfaoGAQrPA94bjQnc9YCPr2isx0Q23lHMuHNnzTnDmWhoZUH3/JNWmQUdKh1wjh9pd+nszV/vP/P8TZDPPn9r6pL83e1LttGPq9pRRMFrIgATjL2ZpkmjmDRVRB1TyrWaifN/nV5nCUjj5AQUgaotOafca1kmUU5sL0M3l9tKs6c6XPtn92OBnoQFMdhBaKBbJR7v1U3a84kKbAilq1mkorHON0Z+UDJ4o5KNQPF/URHmJzetgDsccbgcFHcnXq2jgaO9uDD6Qpr6CQKcFeav6aMaAALbf0IZJoIZk8KmXr3SEYNL2rRpf4fxEiMTHjtsoiZugAlZ9bW4F7ZIqvnPTCpfKi6JkF1k8n2gnQ/mIuabAG8Y8Bvsf1lipVJ5Yj0ETtHL1/LkDvD1oxU6rOt1ykDW/taifHT/OytO16mMe6W7ySc49uqHV0mgAPNRR3kkcC/vfOw7fv+0bcIFbRqkLo3VLqDtFVEmihQ+3xhQBkxHNW2uk6+P0aSYM/J3w8XXaN5DBs6mbkb+3qjzoFptWZza33D/NzGlZVlF1cJ7i1f9flLznzJ6O5KvKRqZvpz21CQ5iHkTKFrCnBMyIYmKdOyjytzSrCDHJn4IvcZ6okhjFwAFrY0R4BLthoVFu8i141eJwohRRon/EBxbxH+deTWi+LHnUXqqedI0m9CTnUVmFaQj4oi85Lj0pUxQD891KzxDYmIuFd/M8cyc5LIdIf3VbeuW4Y1vdGuLBCwkl9u3x4UHoiNEZTWOJ0qnuAuIlK5gVDrbp/gNZPI6AlTgi6Q/0vPbztMQEg714w0xSQsEX8Xrhwd8gJvprfyvqCGm9l30jwcjlb0xwAPgTFooGy4KmLQ3kyRa+Nemezq3GJD5vRUgPRxT+EwCt/mZIBX36wQeRxXYCzbTeskWQeHcCJkqO6y0A42t1h8DDD72zhGqMizaKDxKx468Ifgf16K24qUHcBVTyB4dnQGgnjTRb2wYTG3QTPQVsKxt6LlgFg1qNfUoNkfwjSwGAqNvy24I8rLZzSTbj5Wa2wnQXnVvIHPS5Pd2zOscr0c8zcwdTo0htpOiG4dDpVq9XfuJXc/pjUIc5VqasTu09JXBB1W4bUdEyr5AOo7xcFg3AjtXNoIiGQQiRhBg9Axeb59HPL3RWwqutCfewZ4LcJ3ZYSf9rYDa/QJXnakfNsuAYUnPH1shgy3I8uTpgL1GEWexcVuMYbfKx+LibQFvmE2OcL6RL0Fd4jjrXUM3zgyCa33Em6Ybk42DeVZQ+SL/zBwu9exeqYzMKHZWaZv3yYtTwAeISDeUPa2cVBfIG2HNge/1zDjD1BJMifH+V6A4X62t66asaNF5TZSP1iegd0QreRL+04r/7npok2H7btVuib0NR6gVdrJDm3jJuV9C5yqRvxLpPVCRPxW4sqppEK6eIoc1/lq+s8JONbdm8mIIYJY7itFHnKjRV1eIzRHLFKwhgMFONdNBGOazSiro9umUWDBUfz0fiHFYiIezQf1sP9yNxT+oD9s9RD2b03GGHh6ADCcW89FSL4DWafFILduXWBZZDNoVToiU+i2cOYyUyw0SY2vPHZUz0vLa5N4bt2Z6sh8LAGnviYHaTw8C7MuTiWFsnupuexQ4RB2HO+pnv3Dwna34SO20vVwYOIKeMb+wc3sRJfNblUFzEYrE0cifbTB15Z/ZTejkGtH8vyELw6yrNR/nYjLXPKlQ4VaDt+qF0OYg6Rf+3Z1l0titqQSmz0GGwo7xiAYirimg0WlnYB2VmAHepRYp/a03dPE0kuSLkgYgpx9lK4LEeZGUzA5omRJXAgJDnbvDw+GsnGiU4L9POHHSgrG/uDCLjUMupoAcqdAjqOe0dQJjTfKcpu9dG0dd4S+Xec0KmK15hpqCWfKcFV2S4TWZU/FSQd8cRKT/DEjJupAmxgxdXYu/uTaYoJSo1wne3p40HVKM3AR2eDCMEYiWU53q21/vDXweviFIdPRJbUDYoPzMtWM+gyP2vE6bsrDclvYmjmWkoKNDFR0E/TknhXkFgwLv66U3Em3jAHDI0uFbfY/H9lwFJVgXbKwDottpaqXV8a6MXSqlN77kGBKSkAkO5dWndC1v9M3bqa2+ugh7ukHLOYJkl3CF/9F75WW8U4AdXk2aEwUSLNm+M777mQtKoqG3ioxp8SofmJn3kv0XLvc/BNLDZ9bvbUDyOHonU7a3GJc5XYZfDlFDKJHKFVBzvE1Gpq0U9trNWRcWmDsUVcjX9cv3CxxlZvrYNxK/foVEtZluBp3IiuLpFatbMcm3j1k1g3mOS6+51fy1FW7iuV1JAHPOrKLbhKmmYexRT+xz3aN/S3e0UcbA8diSDiXhQnwrWaniI7pqIHf8V5/GlzzBrN8ucKaP4P4o3gGK5Yx+UTEYdUotRYYKQTLeCqpU64CnvJv/CByN5WjLVUsp47pjSBtgCVMyA8WKPHLE1ssHlnGiEAAROfV9DkiC+pMeCDI1jZG3yYLgopZ+TLBR4d0Ah0se4LVTM8ZMHOmwaggrGFneohSarJecBuNjKWKsZJ9U+YYjcdzcAH0+XlKpG6nse7DsM38MbaAD/RKaAjUD836Gm/Q6xoiyUDvoVgdV+1E0jQgBTVM73Eb/MewOiSUMSQqxc9e7iZkrk6rWL/09Y4QV7Gmex/5oCxjOkKBf7oXI6QJFkHIT3+9xcvFO3BKTmrXq8yjPqnmvuXgrgcZi7QzrBhCVhAbYfi5vccfLFeo76VaPKk/46wORtvRgmrxHqszaqIxfbGSyTdZDTpsya56FpCD1q3OR+47NE3Q2w9S8t82oUjancIg5SaMCSFfqxmze/u7kGRM8l3Cbb15RnqXIwjAOsbTqKZ3YZY3df4XQNY501lMvpuTnDBpfYPYPYadnCYn9RNV0pxMw0k5800HLtR1tc71bYvS0Y+wRmgbXY6rtcxRlZM/iGy05O3S8hqLzRqNvzM7nfZGVdhtmZh6GvMlo1P/zoUMemVNpKH03fMobemT96jftCY9EfYJG+emUTvFyp0dp2OGEh7DVto10BkjkR/I2x/iuErwAL2Sy2T4wb7MGGoK/An9RiX39IL69GdGGswvKwBD/1qf5P62TIFeAJ7a4uIIUYL9rkGBxmQAVY5iaoYtdbxzCm2fNyH2HH53OBgRAjIxLFwOJDZ+QCqZXfEzLlMh9h1Np7U2LnJ2wpBdcQtmplrQLmdZE/Ma4qQ9ebEm9jAgce1APJXeWYlwR/FVfaJuJ8L4xUFwaRsyK+i9ckCxVvqQADK/lM3qJgf++KI01IY5Ci+FlVq/ek2o0MEXZYvOl1uFzsfb6WpsdG/rzl2a8o4GLxfmJgHuJToL/a+1HL9YeX7ENl4NcRYNDNUvzV+X98Pppd0lgNISFodQeGcFRIhncTyq50H6wMfqFX/uZoXDx5wFuFnKT/hJwiCiDvu24iIBhE5XLlDKD1itpQsf7vhYg+SlQpxYhugLJaYHHaelUcVtQzr7hdKjel/JJHliy2hG++uzX5THCkWpj5sczJuDrr30qFn9N04Pv5Xz/kfEJhwfd/vxjvP/RXoFpohbdpmRyZe0ZgG/KaDpdGha+CnEMgZWekNEmCj3JPxp+Bf3bxZRT8NnsvN61GkPFG16wlt5bThd0xZqt+RmJDfRv2N2bcsk7MKDV5tvuAHh7mEkjShbGYihZmGWXubhFdEpwNGwrKdC/GPiaHBiADAhPFSbfPAr8R9bc2R8mmlK7NYH89fjFzg/6yAE/gKTSVQNACkdkMSlhvzfiExCPPxzgB3iWFo6A35nJNZv8cbPWlG8pvLbW5bc8SLwkAYH2CJFv48cYnSJk38qXqed0hrz/vFANqoK52Hq3rXxOnNphHBYdiAboOfhdjNrnp3Y89XO05SAC67g7nyU7a8STW1ZPmIIDP5MDtJ+AGZq7Do/+zwdUFn0dL1pwKyoW+AbKLc+Q15vTfA14PoO61geQM0mhhvHzQPXBxedh7+GmtHtJhIAnn1pL0EdvqhePXNM3P26wAMXklICkuYkzlq/ilP2/BEGMODg847HuDAEgBZxVG1ljF1FUm29ywWJGpnNOMbapz48gytxh0k8KqSpJt+h3RI9W0qrt8b0tPNC9kg3+Bq68iOFuXTz4j8J+b8nx8LJD+QANwJNMUtvqcJDrTHu1l4QZfjQCOSMVlHL1sQjAb/6h8JdyAKATKcBfjT14OGDLzEH/8lp7ZixkJsp/sIGeBhwvQgV2XcHbneU6ihz9TNYOhkzXrYYnMrq7LXSptehPvl++hd4Ty1Gjun76C/95/R+U0w48yvWavyvrVlNKZXL6aQQaRK6Dt+9eBweQPEedq7g1Rem4429bAw2ALtJ2H5Z9LCCyIT4G1lrC/pCXCipa2RUF0PLP8m2MPbdx/HCccKt2xBEpvWulVISVjyGQiLJxorYH0H1KSTjWQha0F7h2/4hgzDJL9sbwA2sVt6/2Wk8ryd7NEeZdHp+oQaqIeH3Mv3sYVkagyIWNzmaTSLr9trGFk4GU73EeOrH8/IiID2c/k6oNFV5RapDg6XPE+hX4p92VNxB0oeP9Ip1bzM2YxH1WoO/Ou2LEyqUzD+PjAq/y7AgA2ut5DY20NCaHhC7d9C1ZT2PDT+2t5Pwy8G7g6aDB03052uBHkunjKh9zgbH5bxox/cbCTbR7XSkFpyYKTo0nlwZ6whIXOWl8qIOVivvhlOJtq7fA0J8p4aXNm7xaH+FFqAz4mnvElRSCXnCmNNIAgyz6hSX/F1V1DSj8Dh57rUuKuJSwF1+XwUZNgROVkonZeyMgduVu32UVw2oXmvphzzYUXY8+9ZBxCxsR2eliA8jcpRDXqQjsHomfTgaUdhDGjeEnO8l8Dxm/rqrY4lnI9nkCN7gbR4SV1lAY3gO5exrgvn42oZkpzY58ehOR/xFM8OMs/R6PPzz6zSmcEbxucTp7DUbvGpD4DLAZAADY4o0flgGvNcVxEiHagasmxE4EGArmxH7m0g6OnCv9/PLGZTgYfrB+ICNkMXuUbTHoXN/+Hbrp+EHc++QFsfeCfLfyRXrvV31zezxH2jALC8vdtX8trcC1uy4uByHzjiidezzgHXvB0GSay2hgC+MC5vulDzCTxQKRyVlg4PkUHUL9Dwkhh/AQ9CzRsucKcBIZdHWXxFwmbuEPtQpe2dKgCg+bwZZ0E1rLHjCvca6L73pDvwY/oioe3MZjZnpN4AFCbgvrFrYVmmCHpmuwiJUMTSMFZtRbfGrvm8ghwv7p/sZK5iNunnYU5iyOXVBYAlnbGfu8fEed8zq2x2K0nuWTqvykqqdWYciifKC+aADx30QEYCcPp+HjsCQeM/c8rkr98LGgmcT/SWf06dVYZuIklop9UyhKbwYZGC7GiElwahNaXvg3gobaVEpgMdWc8vuy2zY7LtQiZ04DeFd/lDPoSeQMjhK5myocWrUuNjbSEGYY4qmsjPVsfOU8QWkOLqPLS2oE3RXKe01AdH+ivzHuwHgB4jZRnIS+zUcb3XhQLsM1MiIGOb41EE4gAgOulU4FLpJOp4Lp1Mjmq9QoL7Ez8DOmVOTmvy3A1gOh4QrZhnF11cWt5vLwtTOqfl5o5KTYhtQlAw052vbmexmQJNQAciH29ikihTCEj685EwqqLwxcnUauadbhy5VKTLL23u87qRSoVsgscl/SSB3NutSFgbu13Bd3wQVSkuTwXkY3cZfItpXOQO00DdMmRA2bJF5f9ZSJdpyCIaPkVOf6Mdu4kNHI21mMVIdpCreWtzEBLvY9PG0iUhO3w3+6V493vJgByXMmLDEpDRNllnVuL/dDt5syNOp/0+YfpElpDGnfO5aepj7HRSz6eIW13tNsfe/0YwaDCGjn99t8gcpYtG2ZTtsLiOPzTwBshhK6SL0VgKhTOggs3Ryz+nOc2d36LuNBvP/rZa4DsXRgCns0mBGc4VcC1beuAh2nyacHhfpyL4dJAaW5uGeC8AtIPlV74QDp2JxcQYpnXgFDGyY10fYro6Ab44ruthZ/sA48r3o9e1VLjOaJyTROiclOYNVy0bRo7KmeKfy9gEvZdvxllqC8wHP3NAR6NQ7U+RcaIqZTSkHVdlB8zub2pFkW/qpA6rLCvEfIL11t6yFMUGbnspHldXRn86F8WzcY27WI+1E+eSMafR6i/l1sf/e7b3/wy/lA7oHMSM9K+B3HrY6wujkoWdo6BzYkToizrFiWOwmc8upySCTOeI0qmH6hx0pqTa+ZelAlNuB+9aB24M6w8WjMI7frTPkHFprwsEs4HVkMNcOJWvsiBcgXhRPh9hy4oliCgDCIZwOHP63c32TbjaqoW5dkenri3uFpP5UR6kVXgvYzwV1OH8rMtfXquODr6bCBUOJb53D6rm5VSGwfwgvra8y21s/QbZKRfhokAkGpluRGWjWKWXODQhDxPj6Ob2bT29lAVHTGPnZzGtoxy5EiV81STElNcb+RPl2DnukOuj3sOflybHrPg+VlUgFLYeQOmt05kCCPgmJzyq+3mGDbHlgsKI2ICIgAdx0MY4nkN0Ny88nVpNTdwAjiFp5TeuJQr9jysbh04l6Uf+jMqyNLKh1QgZI7ZSQfjIIUSQ5EU4i6Ry+9mjjqOF2mLI/b3n6+RhFKbu+YSGb1ymy2mjVTfyGAMnN9IVDf/YWXBO2srxpQ2Tp+QkG6HjKgUbSLXdiWlsp6Z41lPW/GwPWEb2VdK/o0L9vu7do8O4Nh1o72/1mCd4j4MOBbgYlJo/nLYotHG8HPk8dhxU+vlMo+T2dQPbF7fs9lnhyehEiPzqCNxXugyMmzBfR2RVU+ntkeO1EAAY1lk6TxwgyAwpgbbbsnkLVW9Xkjjl372aYqqZExWuSbv42+UAHLfU5l/fxQA/P4e8I/RA+nomar9PmwVsV603VdTcprYKSo8r2pwdFc77tLyCHLwEe5MIzKriJOt+CJtMV0GBhcAVep/tbtUGp1O/mYi2y+78V5BlnsDFppJ7pCKxqYnDB1ikFFZvjZcFhrHFlai45UmfqBkr3Lwtazj+zOvt3h8ZE6FH2pkqjtOW6cKIypSHzTSyv/T/JYQ8UA6RaITvzkbufJtzg0oUDk1sm03HD7qHwgzvOqOwycFvLuVK12MsSsV1pMzV8tgveyPLmgNV9HvgLTamH0YBuAfT6DZI0x8SzVsiN5oqvXJL2rmgVX3tVs9tZblspjTalPy+rR2qh7kPmd1gcwmOPgjFaM9tcF1DZzPD4kmzDqjLBtpjC3BKfC3WSfPSDW05VoUMzVTcmnVDUC3OYjVlSP1OtmDwafm/OhqVgyiR36ZPPXKAXiEQVQiO/FErbuvpOciwBo5fnJvxP1LOgy4lIKwbl32zRtvLX5Z98lxBye5oJcFSLWogxNITliuaBWBDIpZjwrz6lbHp96Okv58Ve2MdNJKdrEA1HomlQ3/FTNwwRDOdu53uvsDB6IXGOyGCrpRCSanHV7nd43p/cwOCEvtyVPsbbuNXN+jQEuxnvM0suhLY88zSUO4YaLUhjvgqt/1dQbLbsvYqcpr/JAT9mfc8ogV6EqCS+RRqrWb0BA1sJXBN060PRrtJy1L6YTi+9kSYVkCWZJCcep8E/fC1EODDMlrqW/ei7WuOJohi5W0njqg7c7vczOsEkqFHPO+0BtcmVy5bbeZXsQFB7FLgZlkQfyeOTJL+OFW9KWYB8MxaIAK45MjG+l3ZFKHW4ec6q+XtkXHy94JZpbfvAsu/zXLq6DuIque/VNrfZkWOkDaFj+doAkVKTcTOuc5UUXe3MpyMZeaVRKC2obnLFleTh/5EdHkaZhCvy+POFtOU74jPprWfkrvAHFRajSD/zHRu8bOpdGaR0uwEQ+GXvwask6hlspy95Pn7cggngWqG2YL7RgzPxz+acW/D5VCbbOV2TsojDxGipoAEtyujlLHGrAL/gDVXpGpK61UopvSvea/4v05FmD+KrvHylKxZgx1Q+Tjmzee/kv+qbGcSVWN5wjK5wfUYkxGcqRkumYIb1wAAvcz9xP4TaAKgVzGDJ0m/55/EI+GJV/95TrWl9L5PDSOzLN0R4yErK4hj3l4/6E/1WZ66Xg24S64mbaFVdLgdGVNRK7i+6PsR0NOEbVHDnAXnrW2UZi32PPo4bHi6QwWWZQLZKdpGC53KldldwF12h0rfvRyN5mGIKt4JMz9iLEsMbNolpd3LDtTulnO9ctLzvbZuHN4MzdqUYUmHSYM8FWTh1x1YYCTuxT5GoHOdp815v4LZmHfh30lLa3fZ0/o2ezZQHrEw9k/f1/8+zbGEaiaAMgYH96jL//VlQTIesKYyDpa9M4jsbkCe8QERj84gU+2+qH41n9n4GGKv/VDlMRzmbp3sKKsJDdDRIeM80C6GR6bZStmxnmwkLhzm2SIEWfyDojAhVxmFq22Hffnao8gUiwHgjyHeqSa6wCd8EAq2Ir0Pem4aJlizb4iZux2RTpnxiqS0jzhuxgRVy88MYjVORzgkgpS39gzD9x8WIl3fKSggBpqQhggD2j97kEgSQWE56Blko54uFHLdDhr6QcIMcoLGiAkVVGezTstd9ZKYmi5wA16TTlMwL2NhZ1QixtZKX+BQOViMgaQWAO61dnd+wx3ab42LHBe0IN2kehxWMdr9CmondCvcMBljAeopwax3CXYBW4NBCseWeNXzwvlQhFLDOJvF+QI2Nlgj+eXKxiSd0VdFvRNYEP1nGAzLly/yOVbfyrzSlajXSe0PdSAmCT4Z1iv19NkoFQju5/khUH6M743TmxRzgf2IJR38mhH/yW8JL1ScVY5LffnkkjDSOUnTVWlnfyXEcoG+g6fCng51q+wPApYsmZV/HthKvNbZlag6VAF3sGLFqxWRoWpO7jszKB/+m8l7EzIEYdA+FkYB2qco0txYCVuKWrehAyuLMxtool2O+B1BhXfT6/ExD9hhdyMVITnFVt5ylndetiEeYfvVRvA+hqkES4SnDcMUt4B8iiC9XOKb+WfGD3wdoTeBUfETvPSGOwcYq+PARWnGGfG7ecD01Xn9rbFTVGuONbYoV485/rYHOYsgBI2UtRTdQlW+SVkWG0/scqkLE0xjtn5HKur7CfX0LozUq6BToti3JB6BbhC6cb8wF+c/YrxtnMa7TkmeqfZAC/Re4tsh0EbvViA50450XhuR1+8n15TDx2clYx4AbnlvXgosIE2gJ7ai1sgVNN0qP6CKdpEs64WUQ+zzlVIc9UEoKEmKOYo539541/nIQmS+kgFkdM/rDa/MJ8XABxukhBl8QZNk4Ia+igCcwUbl/EtSKAYGCX1x8yhpZOZbXzi1mFKVDjymFigcYpsi/8UxdfdbVXWC/APQFrNuTC/DHVO7/fl0ubCiAV8I7Mc3Yl5jysibwTJlME/dD4px7vmjjQe6+i2bmYcmU1WgIjydPoB88aEy6iXaJIirir784eyMBA9b6OuC8HSG81Lc5lysDpJtwzxDDBkpAGiHBK2gV8Jw/2kJ4gfT4GXPBe6hy8mUgu1s+WCIyxmZeGJSBgvfbR/P4XGfIm5wBwvekXtzlFqCqlc3/UFiNFyR7pHJd3j525e4rCVudXV7fniIDx7DYyFvWrZ0ItOLYMeFV6ljMP3nrfutUpqJmzfj5kwNFse34W3Lu5zdamxJ2q59XaGRdJpd40NYJXBLpqKRmX9tjNHfA+ZdJr2o6IM2hUFdWjrT2dVaTiY8XLsc5DhsqfgVwT4wBq6c1NxaIlZUrrsdh+eMePtnHgrpVizFiIj7g37YZterw2tgQHmnXAvVnHCWxY0zDarh76xCpTsa/buoTXWrYbRwbMB0JTv8UN1EkUpBsTzEbsy+oo2W6AFPCODJHazXHsxAj3RclFJf0RlkGVpID4mKeIhSJddzlY37XASOUVQ7U9enCAlTkcZhjFKDOap4I4pMZLTQrh/W3I5vWJZSOPW/sWEmm7dxnF+NxgD9mp3hxeuzjAvHpPpeHdnMse3vcu8/KOtF0f0QhSIGhOWX5ny+bFDDPfKUvuN3jaCfEkgzCr/EPW4WdCUanx390KiNAvsoeBmN3X/gh7SGsx5XuavVEbmMHxB+HmtCUAVfqT4tx2vs8ijSUXjtUWB8RKoK1phMF0FaShTzPGsx2Cl9YeFUXB17ctAYi9hLKAdAJ22+wof+9qVCvsbqsPfMiZjlcqaZoB6G7VuEecZDsecjlg2nTLrHGABnuHDRuQIRElvty01RNQoGPfLJPp6xGIwQJmlG3kQbcai7C6qBrswJFrdnh1MFu23u7yopDaOTGhdKD3fUYAyptyFi6b+Gt5hCV00YbeSh3zh0UYc1pG7BduQOUVqn5zqkHeXgBPrOKsfEsxKUDnJGp+mYrVHSqx3h/sCnij+6Px/EdGzJsk1W3CrUu3+Eg5/WKTLKl2+7H2kD+9/vrelrVNawHzx05yWf6Xj+q3t/UGk6blwFBFPuazqOlpwQkOpkHrkzLLKHJOYFitxhUzAQXpUnxMbo6zhFnM/T7iSya3yhz4akzgYh5VwFB8WBurb0smc9VKqDOQddceTmIUssSb2bX2tyXpSAAbfhgPNQMu79hjr3CHFy3ecRY1kUzLfB+sKL7OP4jBQSCSlh6lTks33TdXCWzbEO48gy09wJwex1rscjOTiONi8TSPQ3DQ4v0Yn8wI9YBLdfAuXUIYOPBIk57rXnnjvk8gcR7156t16fzuxeW+u6pysIKeVokDKfQykLxv5h5LUlYJBLLCF6dugCspBZab6hMRLJWw8G8EG+x8lBFEt1h2dBjaHAAY1TLHo3Ov/hT/dWTf//aPolOJmX4ts+eSFQ3a8e9ZV46E682xMIYaqP8jjP5e9er7Vpm6Bgg41vu2KYlbVme1I0USYfRoVk1Z/meR7VQh/1Jgoh0LSqDb1FsRoTi8c+XhHzz1atFMk3xu2pQJHVkx/dad8J3QG3PCyFbHqwVEG53V4HwsFXSAhwjtYkDnVIy3z4BzEW9BCBaOheBotiPTenYci7qOGdnQ9cxtd6bxbeCZKfAeHM0tzQZHC/k6W5l0VzELYsz2NexxW4rRkwm9zS0MGBNy0kjw3FvhqmiOha9RdEQOOEWEUVmC49TEQZPLv/QmEvStcdSLGDonPlcvoqcI6bRQ7Za1HSvmaWwRQOMu2VTnGovsFXtNTgkWdv1L+OGboCFAtIyhojMr358XTvVoRmz45t7npwRS4NMUmEKkbfy2BrWmZQdhkFvXPS4Vr8GY5qYVnM+O3ieo5LVB6ndPmqNFX3LIuASwovGWJ/uU5RDbWUZVrxUM20lVCBEC6+EmtaM8qaqEukyPNmfsGNp9TRzqOKodo/of2bQL9tj244+LmRr+uQFrNM0EWVal0wNAwhXTnzYjlfQxw1TlAqVV3ocXcDgvs9JMfewZb3Ter8NykMHMNcMLUPbn6t7CuPeRNhHntIkcH5KV4p3z4j6LEVlTqrIQcubGK7WTBpUyalI1ty5JqeHf5ePUfDeELr8E0zc/9bjk3v349qI9JLxuGt8mPlagtRvqdJXWU0YG/pQUi45Zz00xi91Y/V/c+0gbUKcB/yhnYDwi/6VuU7YCzbUP7sv5e/BWILOz4pfKcoZOhImpwG3kyhkNJw4NNNTEvBJWSC7f/QdLYw/t5ZoQSQqUxVO+pAtcM5ChtVKp+paWX6m6MXRV2U2wiGtxUxRpBMTiBdADeFqUXAp0QK5nc6iO8hqVFjtM3cSoYm2g2QTbOaEmZlaNqvtZAksj3/GohpCHXD4I4TldZdpmEH4Gg0IthW7gfWqodsygGQtPJMdVQ7GoEIIrc41dmkVy7hCvxe5+0uUrm3R/icgJbkL5c1GU1/DuoPBoijzg1YNvEwgoKSwrq572PkHRQPXC5pdG7ot1P/5PnHX+HpUYEIG/NLedhwQCb1upaWBSRmOIiZ37+PsPuHMA6znlHbNkrVIIhMOgfL7wYgyDOkhGfxiuFo3aJ9iqojpFhxkUvdnMWp5SBNS+KlHhDAOqCQQBePVLg+xzF8Rzb8CAVMVSN8EMh4aoE3rZm3PFOiv0me+eYXTd+g825T6p2ozksY361lPDMRGRKIEKyCQpRugCjgnt12TRZ9BuLTB+IYtIIT3Yl3uqwgweBMKslNDznjkfD9lNSgVfHk0NNyUdDSNIrwFcLUWEqhrgptdoK/3PUgtP6yZzS5r5MJr0Fz+EYcHQsS/kqndqdhGrB1iatji727O+q/qdXqjX38YO1eQZ06gh41HuYyuGw+Vf9vOReLqYR3IXdZVMDeinih4KvLVSD+HcDtYnIxt0fu21d5iyc9fKA9o9jEwHT0z3CtekXGrbRmlr2ESFt5NyLzVLPL41MG7CRotG+WQYuZY8YwqeFHGMJ4P0FJsylaPPP31cN3pP3VzH3sB6C2FRO3xYXTeyI2MhbLTjciY2goHyGgPUIdCbtVm/7iM9qxekpQkbOgYKHaAIfhAgxnz1uOnwONer27Fd5tUoUSmNiUUl0ftjECqGlMASpJJyFOeA71OLZL4Lpf/0DK1oW4k19TXQQujfKZwwbN1bSFIly9jiatyHUbbYb8xIMBANzO10RRSdDlgCX3y/c1OcuuUxLZvCoQYz9uSbk17mC4zOoq8kcxnFEKDByMPrcUiU9cHVodhVUw03vc4k0bHRnw+8Hs27ho9wksaTdKglJCjUnj5hlC9m/Xmexgeu68XMYSvU4SPeky4lVCs2vF72VWuDolAECewV6GHp6qCxDjVttyD4XZs6DcfmFWK/SFxSl2UrHBImGNsrCG8ahcOqY4qqQZ74SlyzIbTWZbPq/tfkptlanazkW6goguvQd+zJZWWkqT4vVCOYnb2SR/3xT6J3j4BjaSofSAGz65DvjA4YGnmYsJJSyC36GAcvHJ2f5DC7H7OmwoVr/BuwUkoEhZAjuJ9Lj97myxLpc0HoFAhK+Dp1fXFcDzH16NpegRJMjc5zokPweyiNDmBvJ7SWhH1BqvDkdgOv0WERPBdWUrj9EwiHSgtG8Lfs5qcQoNkQndLEiyX/SgWEn/cnXlmu3mbHKM2Sc8Hxk67+TaWsXJwKmBkNVb395z8g59C7t1ap5A0R99KEGAOKxnuLnZ3fKnCp82IlGi4jcnsAsUzN7ni6+AWI3yxV8pZ1+HV3cHjRQmTFPtZGfag6x91MfAXlhAVSjRgENLGvT+K2Y7Md6jov7C930UOAdTcvwIpnPmdjHeZ9WLoLlUY/FjP9cliQ/AiZnLEHU0Sjlp5HPaqg5eJ4BtdwlvyzeURQfUkoplQAEjUJKY1JLcH3xrmJDOuCwGvwrFfH5MAlH5Sgrc9DSeNiNcQNOcKnwOo9rtnJLrrSuD3Xct/BxvVlhQ/RUCM8d0UvA+gcZKuYUMp/U0xHFmdmk8dFHgmus95+WbkbCrQzSnqsnte7PM78QKca7/qRf3HOlmqlPrmim4UzsDWe9nlVT+SD5JIbZcHjrQyH2Ai4UWaM0gwBXOALwz7Ld6cGr8cKUZOqZZPzL6ma0s23IVLE9VmPPT3t2fvmqKMFPNq7T6ivtInvpEWB9FlK2FnqvUuUnTidAuroD0h+QEFVmduj9AKsKpU41J9f+zjXbSMCstXX2TXU/j7f4dG220oxbEWcMzDLPIzcLcC3ez+UbLwCsGIXqF8slpZ4swUVOnEQgDbmrSJdo5tugoOYftXhszsVVcP7CkkezLfVw1IT9dtF0ZUSe1y8Slc0tkVSvQ9P0I97zswod1/UO6ZL0wfIocb/Ajw2LgJsx+zhu1nhomhpZRR9qbmMr7kk6bL1+wqKGsijGu2f0Xq5GlF8ZHFA9WN4/vpNsQ8X+QciSnjwIRcw4RXn9nWg06xv7wm35tCJCr6ire+YVavui7otLVS7CzBBXMi1qBw9ozRz03dUQU7RmKa5SDG5JFN4IxZRxdiLK1v8h2bHj/fDBfqApX0PvnkKoAQK3PsSug9mxeL6sqy86MiHSQsYL78nG35uYT8tO4RTSYjOZ8S/pnWnw5hOT2yP3LQVvqeAGymB0K/7GwWcpRWlwmnUMBAkM7jXA4twzsE76mo4gB3rFWX7+xFVsD7682tmTvTEyl60z67wik5wiakvM4DSY4CdrSejciCCBu8aBVyYLpp/RG68Q5QM7zerXa/ZaiNsOw5OXSv8YQJCbLxIjd5OdWz0G/354cP4RYjzpfXu9/NE0GIskRPprGA/aPe+/TcBcw19f6Xf4zH8X+pCB+s1O7KJ2TLk/tsEE7KuTgd2uU9o6Ov3YM08MJ9mV5isua/yviAQunLX8e9GBVxKVWd0fzThp/CXntpKGY+GbuM7SAvs1w50CE9it4gDzumNs344zLooiVzyk6rkUAUOSOuNhyQXPi1CwZugogh48dkRUWuQe9ZEzc1FTNa/8EplUGt1agJCJggSwfDMf8C9sm4l6oLbywe0UYe670QoFKpS8/TJzz2+SylvkkToaHobp+daFrobFJas5ynBr8NyNCvUMYQ0poSrzAXmj1b5HtoYH+bJnBC9icXa6dLqaUk1gVWNnK6qD1G6D4nYI1m2t7YWf73FXrNzRe5CYq8xGPQwBNZckqyQu2vVcz7rE+NvyceDE+QCt/bwj+7G/4DS3HWJ4Mtra5m5l2g1dBg3jqJu0UweSAq4QC0pbWhPOdvUxlHkHr+3fL5LVUPHuJq1y99r/ijaTOamps5MkNQiwICRJBTsRIjACSs46JREuQ5+r3SdKtj/79SS0tL9Q8U/4e862v5jMxE8QjrjFQR6XsTv4J3u9K6i3u8F2Yo8M0OFPMtM216L86/DbAQR5oaIB/iIbz9RU1igXmChRXcjIpSSEd3RZCC/JbM8fd6MTI6FPcq3PA7d1BPAchzO7Y4/8lGEkjik1FAuK0It2KeXV9OzvgHg0mVS+zKQmyY849N2GVLGaMsWe3BUsWf+Eqx4vaLEUJwanrNjLJHLkObyZQMbeOIAWNG6YZCv49tSQONpLV443SBzYEEeMeTYf+gE5DpXHjtmsFUKRXruZi1yfv42pwabwrw9j62KeqOfB2szpNwFbwcjY9LtanB7bR6FAQEAK2iNgIh8IytYjqrjABie7A8ZdclvtyXvO19UG6YtVfYT1HUyrd37xQf3XUZkvZytpOWPVLatxWaNJkKCFWrHriTrD07fOv8raJYVmY6lt/uKFeNdYdzDCJt53wj9hJ02OA7v3mAJHXfWeafmKhz/BQ8LxXwk1MVs8zj4yAlRogXSIEokT8UqgVoS8apteYaVASH190WhTmIzVSIPQVVh8m+bS1zNV6usEjg0HjT3HMzUII9HrVGtrNDWgQwoxDVzQpWQ4iQhIngC8gFCRa2WU+WwYxXIWhXm/6e/toLZSHnRIIbqR2iWex+dta6muZbFN7X6aR/W8LVl2jFqp1IBL0qUiBqHn6ahmskfV/Y5RkUya5zQqjFEF5wf4adA0L2djSyWPaBoEAN8uGsWjngq2w8zi4AqxrPzk0nIwjgJyCNSKGaom9io1bWqpI9eku5vJcsXTNU6ePLctqforqyestfygwt9UkBQwicjgdgZggOTmwDg+FCtV76UR2A6lZLGTB+pSZ4Uhd9zX19hU+TQ/XzQz4kr6tUavKgkdZr1sIGBj3TiBNwdxqLTMHlUk/RF+o3uuYsGa7Enr2fnr0hpGWLTJCKY1wSBof9TkKYdTgN4A6xMdYmBof6IrXKKLG7o6aehMar956yne3UM2NHTmYNE7Cu1TqLn/CzidiJpiTVz9WXOOMhrzaoz/orWulZXf3NXsx8JiNRJTknJ6Vgoor0X9Ue0gBYvfXpIByjp1C2pPfmJh66FRVZ8A49bUrzWj6vMyrs3/0B/vaRGMXPeMSwdUDRaIqj0Gxywx5UlmrwKEhFGjO4PxeVcQNZVHKJeeI9l6pQViEsBthuweD6gcgLqQLc4c3X3DFZ5EJ+pbklzry4mXO9LNk7j/fzZ6euJiHEmo3Eny01TEWC6vQUDUEIs9DT8PsJyUHWmeb8W1+dTuWOL1S41iXKnMz24sE5WdWT7c165RikMFPDfJJvuGGPAVSkM09MHirHgiTz2/ZGo2vYqIuRYK5BQ1H9bKK4JOrzGtYRhPZRFez0bL+lXWAoB27OBzDG+lK6DbETnGJzHgOtXmdMwPY8YISd5DcBOIWWPuAC9RUbJOAfJRNv4ErLipO8CidV+pW76GPcgCvdWyfRpqybh02zoXInk/3l2yJD0/NL4l1WRHTCIR5UqAYqxh7tXg2gOEnqW1P7QDSlWU4bkeziReTIdJXBCvjiY7HlzwPME/5RcUSIzb3BEF8MXlXlhMnDxy+om+1OiwXzanXfaVEVL4NUi/bX7lDAhTa+npsZ1k8dXo/qleqDyZSHXf1Dh0WbmOsfZwzWp48SGTebSpLISPtODFC//PFvWFYnBCxZyQF//MGsckOrP3nlKozDV1PHlTDfDqZCk7j1BxhMSbwvBxbJPt3VGNAvw/yd4VoQUOR+Bd9j2C7Fl344AtxIWoLJS0ZfL/h1Eu7M3tIKlSSxoxWsM4/4koe5C+qY79MS3gauGoq4Zu4X2u/E318Npt00PTjXqYpUHuKJZ9U9tjAtXCurFTyoRM6l2zaS96jWX0RJp4k6OSt/J/0WkekqO4pnQZlIrnQd6wX0aK/6QyLDrfrawgN5UFIvaF/uOQB+LbEuJ6Zhbbrd7GHg4pHroZw5uFmCnaHO5XhuJ4uOGI+yW//DU0drEf23Yx7pMOVCfihOnBHNPJ5iVkKS85Ezs4KbufXkZd/cCan+nZ2TBLGm39xu2jNctWq80GOpoaYB7OMQu6CqA7XY3d2YFwwwmGGp38UYVRjxJZkgO+S248lUppBKLBDVroXLCM6UEc5Dx73WWJH4ZR0Zmcgec1kz4iOqaZFhYSVbQnO45cgS2x6W6wW401pMAltRfWEUWVM8fcEeVEDqv2B9KRk/GznjyrGVF90VO5AWgVBtI1PoKHs/XGM5YotpUqlU1X1WVxaqvhSbU6XadGw6qM+xG6CcigEoo3u6KUZBx1zz/Gnx2hVhGECsw146VgSlOpRT/uFfQ2ymKGYV7/G+kaot3l8vONJwZzxsuFLlo00gwMqdygc0eNq9U+bbifcwLAeEfUGH706T5MZjrv+La92Jr/Z9xqi87LPvF6lz3v/JCAhmd/Ph9wsxtgr/hFSiGHrOkIXoPx5lUS/5aZrs37ej5oOk+cc2yoEPtstzoX04hy5vRW7yBV0S/V/yMgqGESy414F2NRGwZ7hd+t1TS6DSzF1+2pHxwAOKmR48OqFDqEL/5+125BbH4rUzanfVItPDjoICT5dNI2/JBICOV/VF7DF0MUAK6Iu/8L/4ZkrQ+RuHuamxa3CyPU7xGrWHUpETyZWBA08o7D5x3jnRhKaB9A6FEYkSrpbnhT2F4MWNW5dRbEGPV4hafPCSMD2UgrVKinxYS1SHYFgyjRtm1TwMqm71pntZfw5yUupzuPwU1/3CnwHttG5MFCM8xbUKFt9X1uyqAeEZSngNtL77SNdmUxqyrvq2lJt2akar9ksw/N/SDzGbudkxGgolfCUp2/p8PGLc9ykTltd0rUJf5mpKWouRLGsns2qYwUL6Q7fxOsDKu+oKS6vKHHqZFXGpSGLg+texFA3HGoF4af3RxT3RW4O19M7bZJ334HDW5hIULELUPcDaHfcHSeBfkTmVU6KJ0lladBueoKV4jmidnr/G/YbcTVqvwaX6zKVbOT/Y9EauFKehvTALnXqnuK8nKs+s+YRtbL/qAc0HuhEeA0SGiYIkby8RevOf5spo8k44GjXkZSJllBqlHtD/KcYdXmCNte8zo2n6uo6tkt0zaHDzAb+jzw98SSaUj6YpbKwFEbGiURV/liwkk2xDUmCwwx9RTDLDqpvkFAWBI07VtoY0WHy5M8WZyfvqm/htGww8k0zyof/r9GGzev56n9wzjL7ETVEh6NK7WaO/9F6Sbm2YPuZ4nOVPJoqYpX7wCSEc1uZY2SSEEbrxYIMyMpjGG7uPNV24XWhdeLMzCfUmc3gKzXTvMHDOEwU9N+QJNrrsGKIBofDrgXsDcN92cz+TCrRjqkLWPFdzzIk/migLNpeVRt/7f7TXD34cn6rdjteQ6mzS+HPNwCt92sHhrYYo/qu/ZLzpIyCK87xf452ZDBlkXO2VUEO4BJr24LToBs1xPvmSTYA0rrSZsOfmNyOw2ElSEu5u/QRfgSzqSeavDFLeDLfTWFSOVToy++E/DIjPgje/W75b5SOBVFXVG5xIB0P2gtb8g4RNH/9XD3EtPCJtgGjTVLNcNqD+J8hij7xWs5mNJjnXFghSM1cMo1Yt9mLQGpzXCEQRpe6gnJJp7u4foa6mrVCpcFstxwZNBPUoHkRLB4hNIgUyvuV9MEeEJHHrYgfkVqcmCrjju6ln/1eew8GSN+EN+bDTCTL8mNhl+ScJk+nG86MtbzXaVRq3IhydiEZbP4GCxElaaU6GqYY2V4WEr01CLQcOjUHmUds4dFLxckbCw8lUrBUYtr2gh2vFFh+OwjMlG4ufpdZ+UWp0tdheZYWw1U+HnNPkTw9BLW6TYiTZ9Y6N6NEb/zZ7BSgayYFUYE0xJUc834NDoqxQvHJYOgLsSeRAknEj1GnANDK64kJ60nHOGasA88Av8T2AqkAdpEqYO7R9BlPZTsRTKyZO+1HCKhE9M2IYP1yjrfJ0uNJcL93ZsnBuOcJHffwi7h43utRqDqGMQc7Zi5DUd7euN62QzUpbIPQp13gd5gbRJfdw6tRZxO5Cd50GhdWtoT0PO6o75vW84abwYpaF5CANQSWZu2HsO1J/W+Vr/VshxM76OMp9U4GxJYB/2e8w2E6v8JeV5jMizFrb32z6HumJ1181+QDrk8pfiEnFsdKCHWX+YhnqcCnBuARDZ25iBLXteUhBoYSZkamhqp9UA/VZ3Pv6BHpohnKSvnmjgiq8xHkr2KA1Su3zbkLA2mcTZ672D+fB/92pzvLqw2jPdsq3PdjWEe9RsLtLn6cqNsSdON8qR2psH+Ge4b2tyA0XNMx8BidwSeIgB3FodvTstyWYxg6hYfWonbD/hnccUM96zQKfSHArJ/Mi1Tq75CC45kDIg/YAdVJ0XxU6gIaPsoFXSd1KH02cBEg6pY9XnhNABiiGl9oSukHcnD8AijE3MA0M6gJ3dK587s+7/Npw+Dv62I38UE2HTUBj1IDfM9Q5ULtlc6gkNTKGjoK4ezpe3xRtVGfe9MhFBaQH26CoZ96CtvwP81MCAv5cLdiDSBKVIXGL6owOwCtsUYEIxcMneWrCXzDpqbEbKGumHtk+4NsfFwLVNJoPNws8baHuEZSZRjF/RzJ7Ctl4jm63r1Usp/nEaRx/wpvlNYlfcEBrpR3qXcEdMyENLSjCYdpO9GVbfc7yHMV0/5fbSvtFE0XlhI5dTSlQnlPq430SREDBcDdp9W9WfMEjPSnoAIW0a6cYoli4qa53Iy0nZOF99lYwICFkKi1TCpFNMAfAYgxHV0MYSa8f2CDyj+ek6YTbw7CAPyb64LOUYbyHRNcqLSa/wLbwN3lFNqE2plaT6Js8T1v85heEJGNK6T0ADu1ekNEL+pWbF66s54y0TH1yplXnnhG7zzCSljLQe7RLQHwycfs7zXF4UzCQ2MDES+FBqYz29DM1BMcwtRKZGpWC0S6Y/lORoaG5rKB+J6DNhYekGVv0aAvKw3bq6JMDemvdSPCaRO/ppZ7oh5WXhBiqMz9791lzze1cDx7BJslaJunEizrNhIRYffs0zwtSkUmFsV8W6tNeYFN+rgtjAZJWgOtj3Jb8Obi+KJsSnbbnJ+sNDQ/Svc4ak7BXeaO0OXmnWPzE7JOYHQbJiAZWB4ucNtrXOHqOOtZ/n9M3aOUYZsXyRnBPkuNARHqdQQwPEMGVExXr28dwyPYm5f4rMU6ExHIZapEEnNJg7tk5u7vEW/JIbRRP8+1qpACJ39zYFwcakCCpTF5bvLIWtKly/fSLlsAPRcW0BAICnGXMTjo/a8y27hIdY/xDtx6sGLJ+SAVFODTTKBg53yWuyNcLFOwWu/8gWJ5C+Jbgv3CHwcTanQqXsAViEV5Vo56nLxmuRTmJNmaZYuOMdPSOGp0aWDHuDsXlB5zskq2K8d98GEAxpbqtUAzTOrqqLo9dRoJSA6sn1cDpzFQL06mXdp//zdG2XdsdVKW7PjtP61o+FedpcHRvt0sL47WS+btonYbNnag2yrcw/zDpLyLsSZXeMisTkugaIXvHs3d1WeOEO1Oz4ReSf49lVUr0NSU55v8yybnmGvmGfwgX9LasVTUIotMHgZlRd4ouByh89MYOdm/+pXtLbdTRQa+VlhSJy7DsyOXvLHGIrWJIuJjodgf8BjaN6nqmn7oJXcxwPSZH8Z79bmpKRBEjgRAlQqay6Y17Zhrl5zsejAmwbp4/8o0XDDyx8nCCwoCEv5ZywzfY+ARHKg8bk74uj4xQ+BgT7d5gEq1LR1kvkzZ8egtdYfTL4Ov2wHHpM++vBIdZj3pXNTIaADB8AyLr/DJGz8x+I5Ze+wrooaIFVU3mJY7LeFyJK19ZilOm4UMtPrYtRfZDByyV/cRYPoD9BZqlh28bp06r6/DsRKR2phIbIo0uTScH+FaXbj9JrpIK3icFmvQqqs2b4bRvKG+GrEplbeK5Oa/cqZHqY+etvzSZPbPvr2GKgFdxp6F1YZjgLjqQg71OwDfjK+BCFfM8Bw3gHSRk3bcEH9zPmALmuPNGuurwX840BrHDp9Ad+4pn+ALVWG1/Zh6sOONB0UoFsxqFkoLljeUE2fu7k6NcOkJ2UefkaUbhk5DwG+2EYRiiTKmGqWJOSPBaIo1MGG7dmBReMiuXyIT5+vMJWRPpQRPP8NAQ3w6EWzJ/9s74EdJUkBfJ6DHzBKy+pTtom4RHAXQfzxdnKKnK5Xj3f0vcTbubZ3YlxH6Frqxar78iVhv8OuvsxicwqxulBSYqe/mTljJTErMlWEjIr+7wfvj5l3UXHwhblHDA2OyGzAz5tNj+a9RxTbXBsV9wltKg2alNNlFoRuP1dTYgiEcnf+dl7bgynlZcQe4EEnEDT2dyzlst9Y/9pDwOgBC5dqrlJckI21dA3ZXS4iK0isTMGw7m+7uy6by4aobiwnnEJPGv9F6zYI6WCH2LTmZgZQu2YbX6moik7T5xSm0YuMob52VBRyiY+rmhl7Isr1eZFo8rbaiD/JckTxCA+eZ1sXhTijSnBxFzOqmWjZICw5XdqcoJUhz8QgT9rWDTTSoFMrZYR6Lprn2P+A9BbJ2XdzsC+y3ZB3f756PHXDZ6Z5ffXU8ygcr2Q47uszVEpZdSarN9HUQ2hzAfIHpDNx/x23/bSPoPu/MLCRp8MFXcyjdWTOAWx0M6BZBIQuQxTimzz5UcWExgOAB6yEmMn8+pwytZloKiRWi4E9hFo9cOYWOaUuta45v+cxWILRFYCopc02x42SyD3YjwRt2yl0d11wyPlT+MQVjtV9jclw/QtsB/vnZMZ1rxzkFc3DaJU6SytDo8/qD1MsCi444zYX3tzFfqrnSnids67Ues0eINVuMPBg50HM+MAb+VJNpwS7hz7DxIZCSdn8r+/PiMpBmqR2jNWg7JOkjyy1CI8j5EFv6dQNVBO8yb2Ekmvsg5f6PD6C6tazmFYtUMzspNlcPuOzNB7k0z/brrHnTHSV+DT5NKV54mFtGkDKEuFHlPcj5MSWCc9OfnR4+BWlvwF4GbZgIzngrxvkSrPRe9KYRGuBj8zrfT29/4oIbnbqEcQX0nCUxngeKDYeJ3xvlDCabS1cy3Ydo0EnToCHWkHHb4HxVVQHts55tlXki9SN+rPAVcrfPEY4dGwWKvVllwgFVuwZcl1ZWLEfxZAdT/II+9DnsXOWvr7hO0kIXAYSSJ0/0ayKTJ0cWwYqk9cLtSfZ2fyq4Lhbekg/Mbpj+dCM08jpf5YDGYssx29TLDPWOcMxBCYmKg/gfbKrKA8pD+f16i2anMO5mmaVAxVg0FayM1zOIfd87b2zL1GSht/rv6JB7L5IiKq58tnunp1izU6QSDH0eKO7OcwsH+fWjAb+fRDVh0XpPbbN0E9bWsoErXoj+8l/RbK2ruTCUcEmSAV2ajcbQJfwVekDZ5D6EaIFc/6UjW89ekKHO3v+6p91ytsaHZDu+qOs/mQPdpoiMdYnvBUkkufqcu8wmpLTyopoTE7ElFlFlQ97v6KUaBOpF6C9kmR54n0cgpm6hG419v81KclMzk+j1+HKtfK21QFCv0EMF3ZsQhNmC9GzlZ5K+kPQVCx6bKEESw/NDoJ8fF33AKIwqb/pSfNih0baZhowUyTY64gsdaMK7a/FoXWAXaYQmv0az3O0ZzDaAQ90SUuQEJdGHneC0QFEOTsK6MIMfffPR7Z48tSTAhG2BpHnGpQbdGbDGYUALykHuuTvQ4NgWFTgLcE4X5eLAGh87Dskv82NMiXVX0qXEo4btI3s7Zrj1dJsRtK0duutI426r6Z5nTnYCbFSFzyyAWWl2xZTYkeD+7UykEsjxMxeqiSc1b5g1ti8orwX8JZCQTw65aDuW7hdZEvwz8YZNoA+IFhm9/5c/QLkxXK+uUZVlHIbeOflhiCjg8ruMPnjOS+ZjQIBZitCUg2RFTrKkBdNbPBu8dVJnLOaCwZj+faStzhUvh7cjz1TQ5Sh309vibw/TCJ/EW0a1qZ4XosY313qUbCIcsTA+so/oT0++80IErEp5PF4w070dpx2rsg4jbEMmaelMTar5ot38JGMRWaKBzagCUeXntE0Pjz6k/JyjeIzb6zazXWe8dBgFl5ohj3mVE33hHybWRwhzvuN4t16r5cj1iYk3Vc7zpmbCvROPuIfCIkoz/FxZRO7zGFAKHodMBx3eseglp+eS3PceQLRTLR8M2xryT64qyIoYDPkEjLpvRQIz+ILS72z2Rc4gvL0Ia/+4wJoLXKDf6UySzHGjTn0yYCcPhHPRizNL3IqQyw5M4qhXAxrqJ8/CD9mA956hEVHSNI9vaTIq/qc69JzQV1WAJftJet6s+BhEf18xQXk5nHoSpADl51QuZSn/3mncVB9d7Lk+IVb3NAJl7m+MapvvBtJz6Ot0h8rb3DP3xuenqCFLHOAkKhpBwuEMEQh7ER8Kpy00KqkJHdNjgh1pyN1MR/FbDxIOk7aNI+gfLH8GZvZX96JzZ/Gb/KuRgkU5Sf8F/hMGr8rlHSia+Dj0+7bXbsuUMv7FEkhj0Ggcwc0M76rDm8vKd6xOJ3JodSS0Gp5aXonAzAesvgsdnCDIRdFjAJdbJNrqpApJLbElU65Op2MsjZYJn8KhyCGI1eTJJAJU5SM75vKNOpOtzuIHTsHJdIJVTkX0DNYKpb2h2YlDpIUjkIRWR5bQltxqtObXQlFJo+DetonEVWeMUhKM0mtXaT89t9ACpQNWc8AvWtBaLnrkMoHnc00BmrrVGrDYWNrRvvotrw0TEEhaSLHZD5ZdDoTIr8nxx7h6AlgxeMkm2Jpl8J1awcpvuNYHZ4snlSLap39iS3IIJi8X3HAW3V8iG18oDLERzkx/SlhRQr21mVv2vCqsgUvljILIm2AbXEiiS5EoWNuk1N3B1CFD9B1V7hTjyYdvewsoTqtLaMsGVqZTFS9fGFEI4+SUsTJGCWev+3Gbx9A4M3g++wElkBfVJ5R+5EbsaNChxEFu+Nq1ZuFeFkTm1keuXk8DxrLrYWuEwWcCtOtXxMipFlYdQ6n9j5FPEIyMhUkofQnm5PD7168nHtC7P46ic0Q2ptVLosjaFtEGqkEaj93lVmbaAkcZjiRpdF1CCEpPizuNE3mB15xcdYAUJM6iuRV3Jimp7lMUZyJr25KBTyGXctTU0rvXlFRH5R+M8FS9ZitGwVi7GXK8ZIvmQTAJebhxnXwlLOU5N9TndguJAGnbkQwrC1mtg8uxiwZoxu4rDWLx9Rhfk2seIya+FMISeJ8nNQlj/5B2FhiPR2BdoLnAczv24h83jmXac8aS/yNAiwgTuVR4s80/8phU7RSh8Q7yhNFTOuEvK+G03bHggESGR/QLfyNpUmFQhNFnLxFtnyz50zP7uZww7Np6LQiG0bW0yJLx7OC7YbBUcJDW1uOA/6WZ3YpDAhhS1v05mbiea/30rTlPrFkujUME6MnXJJQop+RHT7A+jjr0wk5c4c9QV4d99XiBU6gZspbZuaz9hgPvizXxHce+n9/MUynh3+bd9byQup5Zu9biRSmSrlQlO+Eheq1Sbb20mJcxqcjD0XUNm58mOM2BXgsEb3E8NPJFpvZhMzD+voZv8En2D5nI1r7htOPNsEkRhvIC124FRK1kMZES69dgvSa8R+Bk35i3VXx9xuHk3M7KVorbPhhFH4/qvx1grW3NK54rJgtIjtBcRkaJOhJqn1XOrAyyAG2rawvwL0yVNXwxOd1dxEPYY3g81ygWsB/MvfjlprpDSj62HfFEizaxz6I68c7yiP4Sly5joForXCkLM/pqbFibEIMSSCs018Jqhr6KDrPCkJC6APhT2RGcTd8Vfz0H+yKzmpIBO8DznfN61tKpj7WARMlt5IEJNV2sEAx1OwRHCK4hiZHTuqW/Z2liJ7RcVaocNYSnmtTa2DS7YbZ35tz+5aia6fzBoaNWOwubWqWcAqwiWB6WTzy+MuUKY8nLM4FlbmerwEA1H61T8MwV992vbWzEJQOlA2aeMwj1As3bBPt0mWp+JVphXBYrdyTTqGlVNTdp5d5G4scojou8zYwlyPI+TPoPGUVZ33xs+Bx1bFt1NcO6UBuntL0poy53EWkAVm88k3Bu2IuiqYy8ZGjIG5canePHd44quNMiQqdEQEOOym7qpFHs2hoWQhgaqwHhptQkI5ulbKJ8E9c15sdSupsLh8WoO+3cdLTaGfb041UxPcdNO6VaFLnUCX5I2LsKoXbYf+5O/2OLbNLpkXU/T5lnpYryVSJbJzaoryAeIPQhDK/JP9rgn0Tyw9Yf/sR7k94gFuqcEPK5psQZ+T5Llo1NAA/o7z2j+/A0LuJcS1eLCfxa73JuSukvzvXUr6cvPkdSCY8fSjWXm7I4nZdtBvd7LOrt/urwccvy8Lnfz8mW+eEWmG33wubeA475raUvEqhRC/tjWDSHW90nDldEXZ34h/ixzORtDp4UIO1bz2dNOfDKZwMSdz0aNErdrpyb6M5KWrmqlCibiMU1n/SRmu8ROuAxjkeW5G+pu16a/bEntkrPKVaFH3P1KNutucO911sFTcl8qXh/d1DQbARJG1PSjbW5pQuqcyNZZ3tpD7oSrIlzx92/j9FdJGiCkBz9OLID/QIwan6OoBzBB/O+bC7t7vnrFAO8bzADGooN3hZdshkK61o0g2wkunwviij1WRUEo72eDW28OAf/quOnuDrrb1XJIznWZZu04iA4r9OierT4M8ekXSC0J9h0B0xT36HT7SfqVCDY3xNDEXCqATaimPCm79qqq6NXtLEkv2i+nE6+ngn6XVRQRbPsWGwuDePPhXzb+iaB0ra5ar221VOqQ80Z5oSwn3WK4VYQps69So2ufMl0mB0gMnVv4QyEKElvBEGHKnUspdHN0TxK7mH/ZO49dCD2kFX8CIaUamMSU5LvYmm41ijTHA/9UNcQ/UoTjj7V5o9VDCNOd5StqSAayX48v7QFeKakssBrvS0PRR4MYlZ8mUAh2/GgZEeOU4wdddGpJJ/EdrH8QpCn/4SAyNZfggwBSbvn5SrTZZo324LqyWA/XszCEYKWSIk6QkprRBSMoWBuzJ0IoCaGdsi4s263E2WVJ17NN0QHVj/sgRwSEHPxIdtaaenmALnn2tVxhN7exHnskrwrX6UCXjiM4MNAatggYaH5IEno3jiyE2KyAZU/vnb+oBGtnmXFulg+JA1SQ/Sknb74EmmSt8sXQwCqR9RPxENgEEHSw4ThdQtHRKN2QAPtmZeSpDbq+j/4BActqn35R4K6c7+CE9+vy1Txhk9C9vDc2v9BqB6EBVaJfKH/8q0130N5fomsGbAffaEVWDCvkwXHLJdQuoFHynpTfxm/acBy4EbjQjW4vC8fiB2gnYHdzkNQYTrzvejLu5pzQ/dAYwfbnftSsS5VgXHdgHYarSuecOikw96rfHMn5rcmGhawR9Knc0gWysoURYTPw0XuqNyJg/DLu976F2n/jQlrjPQW0QlEy4X38P7Ktlen1j+ROATqhvnsL8EJjFcBQA+sUMH/TMMYDuasd5vT92KQN01eKvZbWorX6cZjG3txuqpvoPFgYgS/vCfdAIyYGzhUDTWzj8AJ7Psbaosf6QdiLqAuOnMiAz3elgMMa/sTBoZfXM2/X952h2uzrZTcDt5WDlmOoghQcpZjXT3vKryM3nOjdQP6zX9Acw/UUXt94W933xoOE2pg7HqunbK7EhSVqVwGJLaL37Ceq4ZY34DhUwjMNPIRef1LE91e8Z1TFVI8hx+dZs2dxK3x6PTKI100lp4FZH3hGWaHFfLQtiysbihnU+tp9nknAO/WjPNAkqGvGH5Xmr3foMmLoaaD34ucx0+3vX7prOEOffLzvbmALIJvlcCibpSJnkEalbDVDhimxxabyfiiWMtfNyjVLHjcxDKd0o9kQqlWdYTJecHeymJ0My7VHKqjARKgoZD2U09n3OC3vK2BKmUppoVcILrFimbM9X6plM2YVcTaBcZEzHJAUqGpfvEHKTA/dtaHes20CuiI0AELzXgtdwAbqinzjwgHorTzJSGVffJ4vurXXWYwMB3LOeaeF/iaf19akrT1F9PIU/Wc1gazC07H90iYpZ8OfwO+ankg+RkXPIb8Br8ct2ntDr0G/WeLz6ylsDurLv/GcnVO5DbbWrk3uyc/qVmJfzPJ1WPz1Fco4pQgTXxoxQbPpYhwi3+vPU3O7kH2tlfcsiGgnAIEZjFBtor9fFokx50NXJOBmkqLKVl6clyr7nc0zdFbSPIYargG5WlI6UzNxM5KlKOPyHGTWWFkQX12VEK7jKqmvycXRqRJVQJZjC+ou/fVxxm7G2+1PpLQ28lO7iz44sFfUAF94pmpQcPcUfpTDCa3WVpwzPzC3KQQuu4DmaLJBdB6U2DKHCLGxhTEfcTlcMTDNeLbKNVnF+ywjYc4cQE58+wLw4pQpoZWf1OBNLUzqToiBCZ4vlRxRziFj4wkxyCCG40XRDzfVskUof02ZL22zv2htukvGc0c/VSdQG2T045D3lmfGQ6BR7mI3pS05sehdx8SCK59yEWkkXZSNWbhYrQw3/fIdh7spyR4SHWPEcZgGk+ddnoCaePykbEiyFF8N4+5uEHPCPn6mecNrCLXnYCaVrZKFl9Qcno83vFb6Cwhxk7eglcnOGAcY4oEvM8sAeCJbn5KH6g3OD7HDdijoemq//Fz6IkFYcBg9qY/clwPHP0GJQzcroFo1/eQU1LjNrmtUfe8Yl9+tuy85TQ4CTDfTCwuR4nqaxqKJI7F+TtK0calf0hHf0J8BF4+gyhyABVivKO6wp0zRdMSdOf7jbZDMc1PI1+586pcjCgdIAwKaVIL+13EvsSft1P9kOYH+MK/GDvFcI8smDXyQn6PURY+9PSX5StUsHnn6WwoXZgsODed6ZNJhDDW/wY/YEWjR+MFjR6Ia02k1EbiK1hD7nz66pz3F1s8pQDYOitU4hqcyvlobJt/ckZQuR0EbTHrQ+W/ud4ZkECT8lpJUjXEq4GzBKCr0o7X/8Z59HqUtraLzsk+qJtpoYuoz71f9gjGUHj7kPjp13nKRcBxp4nklAA10dL43PiA2i32Rd0So/eZy5jXdQ145XEFKsOb09xhJJRkkLEySNYoD9" title="Mekko Graphics Chart">
            <a:extLst>
              <a:ext uri="{FF2B5EF4-FFF2-40B4-BE49-F238E27FC236}">
                <a16:creationId xmlns:a16="http://schemas.microsoft.com/office/drawing/2014/main" id="{BC7ADB42-81E0-4988-84C8-45FAFE915AFB}"/>
              </a:ext>
            </a:extLst>
          </p:cNvPr>
          <p:cNvSpPr>
            <a:spLocks noChangeAspect="1"/>
          </p:cNvSpPr>
          <p:nvPr>
            <p:custDataLst>
              <p:tags r:id="rId3"/>
            </p:custDataLst>
          </p:nvPr>
        </p:nvSpPr>
        <p:spPr>
          <a:xfrm>
            <a:off x="335280" y="1275055"/>
            <a:ext cx="11521440" cy="5000343"/>
          </a:xfrm>
          <a:prstGeom prst="rect">
            <a:avLst/>
          </a:prstGeom>
          <a:blipFill>
            <a:blip r:embed="rId12"/>
            <a:stretch>
              <a:fillRect/>
            </a:stretch>
          </a:blipFill>
          <a:ln w="1905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3167" tIns="33167" rIns="33167" bIns="33167" rtlCol="0" anchor="ctr"/>
          <a:lstStyle/>
          <a:p>
            <a:pPr marL="0" indent="0" algn="ctr">
              <a:buNone/>
            </a:pPr>
            <a:endParaRPr lang="en-US" sz="1843">
              <a:solidFill>
                <a:schemeClr val="tx1"/>
              </a:solidFill>
            </a:endParaRPr>
          </a:p>
        </p:txBody>
      </p:sp>
      <p:grpSp>
        <p:nvGrpSpPr>
          <p:cNvPr id="40" name="btfpColumnIndicatorGroup2">
            <a:extLst>
              <a:ext uri="{FF2B5EF4-FFF2-40B4-BE49-F238E27FC236}">
                <a16:creationId xmlns:a16="http://schemas.microsoft.com/office/drawing/2014/main" id="{3CD0DAC7-F658-F506-5EB0-C10D5C375BB0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35" name="btfpColumnGapBlocker862954">
              <a:extLst>
                <a:ext uri="{FF2B5EF4-FFF2-40B4-BE49-F238E27FC236}">
                  <a16:creationId xmlns:a16="http://schemas.microsoft.com/office/drawing/2014/main" id="{9FD71F4B-5A7D-01EF-6789-CE7C596DD60D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26" name="btfpColumnGapBlocker325076">
              <a:extLst>
                <a:ext uri="{FF2B5EF4-FFF2-40B4-BE49-F238E27FC236}">
                  <a16:creationId xmlns:a16="http://schemas.microsoft.com/office/drawing/2014/main" id="{AE6A27B7-46F5-25F5-7CB3-E0DBA42F84DB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3" name="btfpColumnIndicator981972">
              <a:extLst>
                <a:ext uri="{FF2B5EF4-FFF2-40B4-BE49-F238E27FC236}">
                  <a16:creationId xmlns:a16="http://schemas.microsoft.com/office/drawing/2014/main" id="{DBB3DD9A-A1D4-660E-EC26-0B82BAC2A691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btfpColumnIndicator209346">
              <a:extLst>
                <a:ext uri="{FF2B5EF4-FFF2-40B4-BE49-F238E27FC236}">
                  <a16:creationId xmlns:a16="http://schemas.microsoft.com/office/drawing/2014/main" id="{C245389D-D089-1C1F-5F8D-5754D9FA22A2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9" name="btfpColumnIndicatorGroup1">
            <a:extLst>
              <a:ext uri="{FF2B5EF4-FFF2-40B4-BE49-F238E27FC236}">
                <a16:creationId xmlns:a16="http://schemas.microsoft.com/office/drawing/2014/main" id="{6EDEC9D2-980E-2D6B-6580-B51B0DF730A4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31" name="btfpColumnGapBlocker585414">
              <a:extLst>
                <a:ext uri="{FF2B5EF4-FFF2-40B4-BE49-F238E27FC236}">
                  <a16:creationId xmlns:a16="http://schemas.microsoft.com/office/drawing/2014/main" id="{3F0759EC-8D5F-5999-A72D-318C21BBC344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25" name="btfpColumnGapBlocker530421">
              <a:extLst>
                <a:ext uri="{FF2B5EF4-FFF2-40B4-BE49-F238E27FC236}">
                  <a16:creationId xmlns:a16="http://schemas.microsoft.com/office/drawing/2014/main" id="{6CEBB614-4835-A2BE-C8A3-EE2981887EFB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1" name="btfpColumnIndicator410629">
              <a:extLst>
                <a:ext uri="{FF2B5EF4-FFF2-40B4-BE49-F238E27FC236}">
                  <a16:creationId xmlns:a16="http://schemas.microsoft.com/office/drawing/2014/main" id="{5D6DBD9C-A3C7-915C-A8A2-D0E113801630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btfpColumnIndicator997224">
              <a:extLst>
                <a:ext uri="{FF2B5EF4-FFF2-40B4-BE49-F238E27FC236}">
                  <a16:creationId xmlns:a16="http://schemas.microsoft.com/office/drawing/2014/main" id="{1231CD2E-BD3E-28EA-124B-30B99B57CA78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Peer 2 witnessed the highest CAGR of ~55% in its engineering workforce in L5Y while Target grew its </a:t>
            </a:r>
            <a:r>
              <a:rPr lang="en-US" dirty="0" err="1"/>
              <a:t>eng.</a:t>
            </a:r>
            <a:r>
              <a:rPr lang="en-US" dirty="0"/>
              <a:t> workforce at CAGR of ~15% during the same period</a:t>
            </a:r>
          </a:p>
        </p:txBody>
      </p:sp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870999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>
                <a:solidFill>
                  <a:srgbClr val="FFFFFF">
                    <a:alpha val="0"/>
                  </a:srgbClr>
                </a:solidFill>
              </a:rPr>
              <a:t>overall_1_132334223706527884 columns_1_132334223706527884 6_1_132334225502619957 9_1_132334225898980258 16_1_132390894981357400 </a:t>
            </a:r>
          </a:p>
        </p:txBody>
      </p:sp>
      <p:grpSp>
        <p:nvGrpSpPr>
          <p:cNvPr id="16" name="btfpStatusSticker443151"/>
          <p:cNvGrpSpPr/>
          <p:nvPr>
            <p:custDataLst>
              <p:tags r:id="rId4"/>
            </p:custDataLst>
          </p:nvPr>
        </p:nvGrpSpPr>
        <p:grpSpPr>
          <a:xfrm>
            <a:off x="10102664" y="955344"/>
            <a:ext cx="1759136" cy="235611"/>
            <a:chOff x="10102664" y="955344"/>
            <a:chExt cx="1759136" cy="235611"/>
          </a:xfrm>
        </p:grpSpPr>
        <p:sp>
          <p:nvSpPr>
            <p:cNvPr id="5" name="btfpStatusStickerText443151"/>
            <p:cNvSpPr txBox="1"/>
            <p:nvPr/>
          </p:nvSpPr>
          <p:spPr bwMode="gray">
            <a:xfrm>
              <a:off x="10102664" y="955344"/>
              <a:ext cx="1759136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ct val="0"/>
                </a:spcBef>
                <a:buNone/>
              </a:pPr>
              <a:r>
                <a:rPr lang="en-US" sz="1200" b="1" cap="all" spc="450">
                  <a:solidFill>
                    <a:srgbClr val="000000"/>
                  </a:solidFill>
                </a:rPr>
                <a:t>Directional</a:t>
              </a:r>
            </a:p>
          </p:txBody>
        </p:sp>
        <p:cxnSp>
          <p:nvCxnSpPr>
            <p:cNvPr id="15" name="btfpStatusStickerLine443151"/>
            <p:cNvCxnSpPr/>
            <p:nvPr/>
          </p:nvCxnSpPr>
          <p:spPr bwMode="gray">
            <a:xfrm rot="720000" flipH="1">
              <a:off x="10102664" y="955344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btfpNotesBox502257">
            <a:extLst>
              <a:ext uri="{FF2B5EF4-FFF2-40B4-BE49-F238E27FC236}">
                <a16:creationId xmlns:a16="http://schemas.microsoft.com/office/drawing/2014/main" id="{63E3790C-1073-1872-8031-AFB45FDB393F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gray">
          <a:xfrm>
            <a:off x="330200" y="6316559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ct val="0"/>
              </a:spcBef>
              <a:buNone/>
            </a:pPr>
            <a:r>
              <a:rPr lang="en-US" sz="800">
                <a:solidFill>
                  <a:srgbClr val="000000"/>
                </a:solidFill>
              </a:rPr>
              <a:t>Note: Irrelevant profiles (interns, former, retired employees) have been excluded; Bars sorted basis CAGR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800">
                <a:solidFill>
                  <a:srgbClr val="000000"/>
                </a:solidFill>
              </a:rPr>
              <a:t>Source: Aura, Bain analysis</a:t>
            </a: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08BB20AE-A35E-FB51-4EC1-5F6C97DDD7A5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0646654" y="6191366"/>
            <a:ext cx="1261892" cy="353608"/>
          </a:xfrm>
          <a:prstGeom prst="rect">
            <a:avLst/>
          </a:prstGeom>
        </p:spPr>
      </p:pic>
      <p:grpSp>
        <p:nvGrpSpPr>
          <p:cNvPr id="34" name="btfpRunningAgenda2Level167877">
            <a:extLst>
              <a:ext uri="{FF2B5EF4-FFF2-40B4-BE49-F238E27FC236}">
                <a16:creationId xmlns:a16="http://schemas.microsoft.com/office/drawing/2014/main" id="{24785D0C-5B2E-B665-5DBC-DAD6E1C48505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-1" y="944429"/>
            <a:ext cx="4023788" cy="257442"/>
            <a:chOff x="-1" y="876300"/>
            <a:chExt cx="4023788" cy="257442"/>
          </a:xfrm>
        </p:grpSpPr>
        <p:sp>
          <p:nvSpPr>
            <p:cNvPr id="42" name="btfpRunningAgenda2LevelBarLeft167877">
              <a:extLst>
                <a:ext uri="{FF2B5EF4-FFF2-40B4-BE49-F238E27FC236}">
                  <a16:creationId xmlns:a16="http://schemas.microsoft.com/office/drawing/2014/main" id="{9AD17E78-87BD-2BBF-CA4A-183D3A6D3C42}"/>
                </a:ext>
              </a:extLst>
            </p:cNvPr>
            <p:cNvSpPr/>
            <p:nvPr/>
          </p:nvSpPr>
          <p:spPr bwMode="gray">
            <a:xfrm>
              <a:off x="-1" y="876300"/>
              <a:ext cx="2327781" cy="257442"/>
            </a:xfrm>
            <a:custGeom>
              <a:avLst/>
              <a:gdLst>
                <a:gd name="connsiteX0" fmla="*/ 942786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42786 w 1816204"/>
                <a:gd name="connsiteY0" fmla="*/ 0 h 257442"/>
                <a:gd name="connsiteX1" fmla="*/ 888066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42786 w 942786"/>
                <a:gd name="connsiteY0" fmla="*/ 0 h 257442"/>
                <a:gd name="connsiteX1" fmla="*/ 888066 w 942786"/>
                <a:gd name="connsiteY1" fmla="*/ 257442 h 257442"/>
                <a:gd name="connsiteX2" fmla="*/ 1 w 942786"/>
                <a:gd name="connsiteY2" fmla="*/ 257442 h 257442"/>
                <a:gd name="connsiteX3" fmla="*/ 0 w 942786"/>
                <a:gd name="connsiteY3" fmla="*/ 257442 h 257442"/>
                <a:gd name="connsiteX0" fmla="*/ 942785 w 942785"/>
                <a:gd name="connsiteY0" fmla="*/ 0 h 257442"/>
                <a:gd name="connsiteX1" fmla="*/ 888065 w 942785"/>
                <a:gd name="connsiteY1" fmla="*/ 257442 h 257442"/>
                <a:gd name="connsiteX2" fmla="*/ 0 w 942785"/>
                <a:gd name="connsiteY2" fmla="*/ 257442 h 257442"/>
                <a:gd name="connsiteX3" fmla="*/ 0 w 942785"/>
                <a:gd name="connsiteY3" fmla="*/ 0 h 257442"/>
                <a:gd name="connsiteX0" fmla="*/ 1111101 w 1111101"/>
                <a:gd name="connsiteY0" fmla="*/ 0 h 257442"/>
                <a:gd name="connsiteX1" fmla="*/ 888065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263386 w 1263386"/>
                <a:gd name="connsiteY0" fmla="*/ 0 h 257442"/>
                <a:gd name="connsiteX1" fmla="*/ 1056380 w 1263386"/>
                <a:gd name="connsiteY1" fmla="*/ 257442 h 257442"/>
                <a:gd name="connsiteX2" fmla="*/ 0 w 1263386"/>
                <a:gd name="connsiteY2" fmla="*/ 257442 h 257442"/>
                <a:gd name="connsiteX3" fmla="*/ 0 w 1263386"/>
                <a:gd name="connsiteY3" fmla="*/ 0 h 257442"/>
                <a:gd name="connsiteX0" fmla="*/ 1263386 w 1263386"/>
                <a:gd name="connsiteY0" fmla="*/ 0 h 257442"/>
                <a:gd name="connsiteX1" fmla="*/ 1208664 w 1263386"/>
                <a:gd name="connsiteY1" fmla="*/ 257442 h 257442"/>
                <a:gd name="connsiteX2" fmla="*/ 0 w 1263386"/>
                <a:gd name="connsiteY2" fmla="*/ 257442 h 257442"/>
                <a:gd name="connsiteX3" fmla="*/ 0 w 1263386"/>
                <a:gd name="connsiteY3" fmla="*/ 0 h 257442"/>
                <a:gd name="connsiteX0" fmla="*/ 1263387 w 1263387"/>
                <a:gd name="connsiteY0" fmla="*/ 0 h 257442"/>
                <a:gd name="connsiteX1" fmla="*/ 1208665 w 1263387"/>
                <a:gd name="connsiteY1" fmla="*/ 257442 h 257442"/>
                <a:gd name="connsiteX2" fmla="*/ 0 w 1263387"/>
                <a:gd name="connsiteY2" fmla="*/ 257442 h 257442"/>
                <a:gd name="connsiteX3" fmla="*/ 1 w 1263387"/>
                <a:gd name="connsiteY3" fmla="*/ 0 h 257442"/>
                <a:gd name="connsiteX0" fmla="*/ 1263387 w 1263387"/>
                <a:gd name="connsiteY0" fmla="*/ 0 h 257442"/>
                <a:gd name="connsiteX1" fmla="*/ 1208665 w 1263387"/>
                <a:gd name="connsiteY1" fmla="*/ 257442 h 257442"/>
                <a:gd name="connsiteX2" fmla="*/ 0 w 1263387"/>
                <a:gd name="connsiteY2" fmla="*/ 257442 h 257442"/>
                <a:gd name="connsiteX3" fmla="*/ 1 w 1263387"/>
                <a:gd name="connsiteY3" fmla="*/ 0 h 257442"/>
                <a:gd name="connsiteX0" fmla="*/ 1423688 w 1423688"/>
                <a:gd name="connsiteY0" fmla="*/ 0 h 257442"/>
                <a:gd name="connsiteX1" fmla="*/ 1208665 w 1423688"/>
                <a:gd name="connsiteY1" fmla="*/ 257442 h 257442"/>
                <a:gd name="connsiteX2" fmla="*/ 0 w 1423688"/>
                <a:gd name="connsiteY2" fmla="*/ 257442 h 257442"/>
                <a:gd name="connsiteX3" fmla="*/ 1 w 1423688"/>
                <a:gd name="connsiteY3" fmla="*/ 0 h 257442"/>
                <a:gd name="connsiteX0" fmla="*/ 1423688 w 1423688"/>
                <a:gd name="connsiteY0" fmla="*/ 0 h 257442"/>
                <a:gd name="connsiteX1" fmla="*/ 1368966 w 1423688"/>
                <a:gd name="connsiteY1" fmla="*/ 257442 h 257442"/>
                <a:gd name="connsiteX2" fmla="*/ 0 w 1423688"/>
                <a:gd name="connsiteY2" fmla="*/ 257442 h 257442"/>
                <a:gd name="connsiteX3" fmla="*/ 1 w 1423688"/>
                <a:gd name="connsiteY3" fmla="*/ 0 h 257442"/>
                <a:gd name="connsiteX0" fmla="*/ 1423688 w 1423688"/>
                <a:gd name="connsiteY0" fmla="*/ 0 h 257442"/>
                <a:gd name="connsiteX1" fmla="*/ 1368966 w 1423688"/>
                <a:gd name="connsiteY1" fmla="*/ 257442 h 257442"/>
                <a:gd name="connsiteX2" fmla="*/ 0 w 1423688"/>
                <a:gd name="connsiteY2" fmla="*/ 257442 h 257442"/>
                <a:gd name="connsiteX3" fmla="*/ 1 w 1423688"/>
                <a:gd name="connsiteY3" fmla="*/ 0 h 257442"/>
                <a:gd name="connsiteX0" fmla="*/ 1423688 w 1423688"/>
                <a:gd name="connsiteY0" fmla="*/ 0 h 257442"/>
                <a:gd name="connsiteX1" fmla="*/ 1368966 w 1423688"/>
                <a:gd name="connsiteY1" fmla="*/ 257442 h 257442"/>
                <a:gd name="connsiteX2" fmla="*/ 0 w 1423688"/>
                <a:gd name="connsiteY2" fmla="*/ 257442 h 257442"/>
                <a:gd name="connsiteX3" fmla="*/ 0 w 1423688"/>
                <a:gd name="connsiteY3" fmla="*/ 0 h 257442"/>
                <a:gd name="connsiteX0" fmla="*/ 1583987 w 1583987"/>
                <a:gd name="connsiteY0" fmla="*/ 0 h 257442"/>
                <a:gd name="connsiteX1" fmla="*/ 1368966 w 1583987"/>
                <a:gd name="connsiteY1" fmla="*/ 257442 h 257442"/>
                <a:gd name="connsiteX2" fmla="*/ 0 w 1583987"/>
                <a:gd name="connsiteY2" fmla="*/ 257442 h 257442"/>
                <a:gd name="connsiteX3" fmla="*/ 0 w 1583987"/>
                <a:gd name="connsiteY3" fmla="*/ 0 h 257442"/>
                <a:gd name="connsiteX0" fmla="*/ 1583987 w 1583987"/>
                <a:gd name="connsiteY0" fmla="*/ 0 h 257442"/>
                <a:gd name="connsiteX1" fmla="*/ 1529266 w 1583987"/>
                <a:gd name="connsiteY1" fmla="*/ 257442 h 257442"/>
                <a:gd name="connsiteX2" fmla="*/ 0 w 1583987"/>
                <a:gd name="connsiteY2" fmla="*/ 257442 h 257442"/>
                <a:gd name="connsiteX3" fmla="*/ 0 w 1583987"/>
                <a:gd name="connsiteY3" fmla="*/ 0 h 257442"/>
                <a:gd name="connsiteX0" fmla="*/ 1583987 w 1583987"/>
                <a:gd name="connsiteY0" fmla="*/ 0 h 257442"/>
                <a:gd name="connsiteX1" fmla="*/ 1529266 w 1583987"/>
                <a:gd name="connsiteY1" fmla="*/ 257442 h 257442"/>
                <a:gd name="connsiteX2" fmla="*/ 0 w 1583987"/>
                <a:gd name="connsiteY2" fmla="*/ 257442 h 257442"/>
                <a:gd name="connsiteX3" fmla="*/ 0 w 1583987"/>
                <a:gd name="connsiteY3" fmla="*/ 0 h 257442"/>
                <a:gd name="connsiteX0" fmla="*/ 1583987 w 1583987"/>
                <a:gd name="connsiteY0" fmla="*/ 0 h 257442"/>
                <a:gd name="connsiteX1" fmla="*/ 1529266 w 1583987"/>
                <a:gd name="connsiteY1" fmla="*/ 257442 h 257442"/>
                <a:gd name="connsiteX2" fmla="*/ 0 w 1583987"/>
                <a:gd name="connsiteY2" fmla="*/ 257442 h 257442"/>
                <a:gd name="connsiteX3" fmla="*/ 0 w 1583987"/>
                <a:gd name="connsiteY3" fmla="*/ 0 h 257442"/>
                <a:gd name="connsiteX0" fmla="*/ 1736273 w 1736273"/>
                <a:gd name="connsiteY0" fmla="*/ 0 h 257442"/>
                <a:gd name="connsiteX1" fmla="*/ 1529266 w 1736273"/>
                <a:gd name="connsiteY1" fmla="*/ 257442 h 257442"/>
                <a:gd name="connsiteX2" fmla="*/ 0 w 1736273"/>
                <a:gd name="connsiteY2" fmla="*/ 257442 h 257442"/>
                <a:gd name="connsiteX3" fmla="*/ 0 w 1736273"/>
                <a:gd name="connsiteY3" fmla="*/ 0 h 257442"/>
                <a:gd name="connsiteX0" fmla="*/ 1736273 w 1736273"/>
                <a:gd name="connsiteY0" fmla="*/ 0 h 257442"/>
                <a:gd name="connsiteX1" fmla="*/ 1681552 w 1736273"/>
                <a:gd name="connsiteY1" fmla="*/ 257442 h 257442"/>
                <a:gd name="connsiteX2" fmla="*/ 0 w 1736273"/>
                <a:gd name="connsiteY2" fmla="*/ 257442 h 257442"/>
                <a:gd name="connsiteX3" fmla="*/ 0 w 1736273"/>
                <a:gd name="connsiteY3" fmla="*/ 0 h 257442"/>
                <a:gd name="connsiteX0" fmla="*/ 1736273 w 1736273"/>
                <a:gd name="connsiteY0" fmla="*/ 0 h 257442"/>
                <a:gd name="connsiteX1" fmla="*/ 1681552 w 1736273"/>
                <a:gd name="connsiteY1" fmla="*/ 257442 h 257442"/>
                <a:gd name="connsiteX2" fmla="*/ 0 w 1736273"/>
                <a:gd name="connsiteY2" fmla="*/ 257442 h 257442"/>
                <a:gd name="connsiteX3" fmla="*/ 0 w 1736273"/>
                <a:gd name="connsiteY3" fmla="*/ 0 h 257442"/>
                <a:gd name="connsiteX0" fmla="*/ 1736273 w 1736273"/>
                <a:gd name="connsiteY0" fmla="*/ 0 h 257442"/>
                <a:gd name="connsiteX1" fmla="*/ 1681552 w 1736273"/>
                <a:gd name="connsiteY1" fmla="*/ 257442 h 257442"/>
                <a:gd name="connsiteX2" fmla="*/ 0 w 1736273"/>
                <a:gd name="connsiteY2" fmla="*/ 257442 h 257442"/>
                <a:gd name="connsiteX3" fmla="*/ 0 w 1736273"/>
                <a:gd name="connsiteY3" fmla="*/ 0 h 257442"/>
                <a:gd name="connsiteX0" fmla="*/ 1914205 w 1914205"/>
                <a:gd name="connsiteY0" fmla="*/ 0 h 257442"/>
                <a:gd name="connsiteX1" fmla="*/ 1681552 w 1914205"/>
                <a:gd name="connsiteY1" fmla="*/ 257442 h 257442"/>
                <a:gd name="connsiteX2" fmla="*/ 0 w 1914205"/>
                <a:gd name="connsiteY2" fmla="*/ 257442 h 257442"/>
                <a:gd name="connsiteX3" fmla="*/ 0 w 1914205"/>
                <a:gd name="connsiteY3" fmla="*/ 0 h 257442"/>
                <a:gd name="connsiteX0" fmla="*/ 1914205 w 1914205"/>
                <a:gd name="connsiteY0" fmla="*/ 0 h 257442"/>
                <a:gd name="connsiteX1" fmla="*/ 1859484 w 1914205"/>
                <a:gd name="connsiteY1" fmla="*/ 257442 h 257442"/>
                <a:gd name="connsiteX2" fmla="*/ 0 w 1914205"/>
                <a:gd name="connsiteY2" fmla="*/ 257442 h 257442"/>
                <a:gd name="connsiteX3" fmla="*/ 0 w 1914205"/>
                <a:gd name="connsiteY3" fmla="*/ 0 h 257442"/>
                <a:gd name="connsiteX0" fmla="*/ 1914205 w 1914205"/>
                <a:gd name="connsiteY0" fmla="*/ 0 h 257442"/>
                <a:gd name="connsiteX1" fmla="*/ 1859484 w 1914205"/>
                <a:gd name="connsiteY1" fmla="*/ 257442 h 257442"/>
                <a:gd name="connsiteX2" fmla="*/ 0 w 1914205"/>
                <a:gd name="connsiteY2" fmla="*/ 257442 h 257442"/>
                <a:gd name="connsiteX3" fmla="*/ 0 w 1914205"/>
                <a:gd name="connsiteY3" fmla="*/ 0 h 257442"/>
                <a:gd name="connsiteX0" fmla="*/ 1914205 w 1914205"/>
                <a:gd name="connsiteY0" fmla="*/ 0 h 257442"/>
                <a:gd name="connsiteX1" fmla="*/ 1859484 w 1914205"/>
                <a:gd name="connsiteY1" fmla="*/ 257442 h 257442"/>
                <a:gd name="connsiteX2" fmla="*/ 0 w 1914205"/>
                <a:gd name="connsiteY2" fmla="*/ 257442 h 257442"/>
                <a:gd name="connsiteX3" fmla="*/ 0 w 1914205"/>
                <a:gd name="connsiteY3" fmla="*/ 0 h 257442"/>
                <a:gd name="connsiteX0" fmla="*/ 2082521 w 2082521"/>
                <a:gd name="connsiteY0" fmla="*/ 0 h 257442"/>
                <a:gd name="connsiteX1" fmla="*/ 1859484 w 2082521"/>
                <a:gd name="connsiteY1" fmla="*/ 257442 h 257442"/>
                <a:gd name="connsiteX2" fmla="*/ 0 w 2082521"/>
                <a:gd name="connsiteY2" fmla="*/ 257442 h 257442"/>
                <a:gd name="connsiteX3" fmla="*/ 0 w 2082521"/>
                <a:gd name="connsiteY3" fmla="*/ 0 h 257442"/>
                <a:gd name="connsiteX0" fmla="*/ 2082521 w 2082521"/>
                <a:gd name="connsiteY0" fmla="*/ 0 h 257442"/>
                <a:gd name="connsiteX1" fmla="*/ 2027800 w 2082521"/>
                <a:gd name="connsiteY1" fmla="*/ 257442 h 257442"/>
                <a:gd name="connsiteX2" fmla="*/ 0 w 2082521"/>
                <a:gd name="connsiteY2" fmla="*/ 257442 h 257442"/>
                <a:gd name="connsiteX3" fmla="*/ 0 w 2082521"/>
                <a:gd name="connsiteY3" fmla="*/ 0 h 257442"/>
                <a:gd name="connsiteX0" fmla="*/ 2082521 w 2082521"/>
                <a:gd name="connsiteY0" fmla="*/ 0 h 257442"/>
                <a:gd name="connsiteX1" fmla="*/ 2027800 w 2082521"/>
                <a:gd name="connsiteY1" fmla="*/ 257442 h 257442"/>
                <a:gd name="connsiteX2" fmla="*/ 0 w 2082521"/>
                <a:gd name="connsiteY2" fmla="*/ 257442 h 257442"/>
                <a:gd name="connsiteX3" fmla="*/ 0 w 2082521"/>
                <a:gd name="connsiteY3" fmla="*/ 0 h 257442"/>
                <a:gd name="connsiteX0" fmla="*/ 2082521 w 2082521"/>
                <a:gd name="connsiteY0" fmla="*/ 0 h 257442"/>
                <a:gd name="connsiteX1" fmla="*/ 2027800 w 2082521"/>
                <a:gd name="connsiteY1" fmla="*/ 257442 h 257442"/>
                <a:gd name="connsiteX2" fmla="*/ 0 w 2082521"/>
                <a:gd name="connsiteY2" fmla="*/ 257442 h 257442"/>
                <a:gd name="connsiteX3" fmla="*/ 0 w 2082521"/>
                <a:gd name="connsiteY3" fmla="*/ 0 h 257442"/>
                <a:gd name="connsiteX0" fmla="*/ 2250836 w 2250836"/>
                <a:gd name="connsiteY0" fmla="*/ 0 h 257442"/>
                <a:gd name="connsiteX1" fmla="*/ 2027800 w 2250836"/>
                <a:gd name="connsiteY1" fmla="*/ 257442 h 257442"/>
                <a:gd name="connsiteX2" fmla="*/ 0 w 2250836"/>
                <a:gd name="connsiteY2" fmla="*/ 257442 h 257442"/>
                <a:gd name="connsiteX3" fmla="*/ 0 w 2250836"/>
                <a:gd name="connsiteY3" fmla="*/ 0 h 257442"/>
                <a:gd name="connsiteX0" fmla="*/ 2250836 w 2250836"/>
                <a:gd name="connsiteY0" fmla="*/ 0 h 257442"/>
                <a:gd name="connsiteX1" fmla="*/ 2196114 w 2250836"/>
                <a:gd name="connsiteY1" fmla="*/ 257442 h 257442"/>
                <a:gd name="connsiteX2" fmla="*/ 0 w 2250836"/>
                <a:gd name="connsiteY2" fmla="*/ 257442 h 257442"/>
                <a:gd name="connsiteX3" fmla="*/ 0 w 2250836"/>
                <a:gd name="connsiteY3" fmla="*/ 0 h 257442"/>
                <a:gd name="connsiteX0" fmla="*/ 2250837 w 2250837"/>
                <a:gd name="connsiteY0" fmla="*/ 0 h 257442"/>
                <a:gd name="connsiteX1" fmla="*/ 2196115 w 2250837"/>
                <a:gd name="connsiteY1" fmla="*/ 257442 h 257442"/>
                <a:gd name="connsiteX2" fmla="*/ 0 w 2250837"/>
                <a:gd name="connsiteY2" fmla="*/ 257442 h 257442"/>
                <a:gd name="connsiteX3" fmla="*/ 1 w 2250837"/>
                <a:gd name="connsiteY3" fmla="*/ 0 h 257442"/>
                <a:gd name="connsiteX0" fmla="*/ 2250837 w 2250837"/>
                <a:gd name="connsiteY0" fmla="*/ 0 h 257442"/>
                <a:gd name="connsiteX1" fmla="*/ 2196115 w 2250837"/>
                <a:gd name="connsiteY1" fmla="*/ 257442 h 257442"/>
                <a:gd name="connsiteX2" fmla="*/ 0 w 2250837"/>
                <a:gd name="connsiteY2" fmla="*/ 257442 h 257442"/>
                <a:gd name="connsiteX3" fmla="*/ 1 w 2250837"/>
                <a:gd name="connsiteY3" fmla="*/ 0 h 257442"/>
                <a:gd name="connsiteX0" fmla="*/ 2411137 w 2411137"/>
                <a:gd name="connsiteY0" fmla="*/ 0 h 257442"/>
                <a:gd name="connsiteX1" fmla="*/ 2196115 w 2411137"/>
                <a:gd name="connsiteY1" fmla="*/ 257442 h 257442"/>
                <a:gd name="connsiteX2" fmla="*/ 0 w 2411137"/>
                <a:gd name="connsiteY2" fmla="*/ 257442 h 257442"/>
                <a:gd name="connsiteX3" fmla="*/ 1 w 2411137"/>
                <a:gd name="connsiteY3" fmla="*/ 0 h 257442"/>
                <a:gd name="connsiteX0" fmla="*/ 2411137 w 2411137"/>
                <a:gd name="connsiteY0" fmla="*/ 0 h 257442"/>
                <a:gd name="connsiteX1" fmla="*/ 2356416 w 2411137"/>
                <a:gd name="connsiteY1" fmla="*/ 257442 h 257442"/>
                <a:gd name="connsiteX2" fmla="*/ 0 w 2411137"/>
                <a:gd name="connsiteY2" fmla="*/ 257442 h 257442"/>
                <a:gd name="connsiteX3" fmla="*/ 1 w 2411137"/>
                <a:gd name="connsiteY3" fmla="*/ 0 h 257442"/>
                <a:gd name="connsiteX0" fmla="*/ 2411136 w 2411136"/>
                <a:gd name="connsiteY0" fmla="*/ 0 h 257442"/>
                <a:gd name="connsiteX1" fmla="*/ 2356415 w 2411136"/>
                <a:gd name="connsiteY1" fmla="*/ 257442 h 257442"/>
                <a:gd name="connsiteX2" fmla="*/ 0 w 2411136"/>
                <a:gd name="connsiteY2" fmla="*/ 257442 h 257442"/>
                <a:gd name="connsiteX3" fmla="*/ 0 w 2411136"/>
                <a:gd name="connsiteY3" fmla="*/ 0 h 257442"/>
                <a:gd name="connsiteX0" fmla="*/ 2411137 w 2411137"/>
                <a:gd name="connsiteY0" fmla="*/ 0 h 257442"/>
                <a:gd name="connsiteX1" fmla="*/ 2356416 w 2411137"/>
                <a:gd name="connsiteY1" fmla="*/ 257442 h 257442"/>
                <a:gd name="connsiteX2" fmla="*/ 1 w 2411137"/>
                <a:gd name="connsiteY2" fmla="*/ 257442 h 257442"/>
                <a:gd name="connsiteX3" fmla="*/ 0 w 2411137"/>
                <a:gd name="connsiteY3" fmla="*/ 0 h 257442"/>
                <a:gd name="connsiteX0" fmla="*/ 2250837 w 2356416"/>
                <a:gd name="connsiteY0" fmla="*/ 0 h 257442"/>
                <a:gd name="connsiteX1" fmla="*/ 2356416 w 2356416"/>
                <a:gd name="connsiteY1" fmla="*/ 257442 h 257442"/>
                <a:gd name="connsiteX2" fmla="*/ 1 w 2356416"/>
                <a:gd name="connsiteY2" fmla="*/ 257442 h 257442"/>
                <a:gd name="connsiteX3" fmla="*/ 0 w 2356416"/>
                <a:gd name="connsiteY3" fmla="*/ 0 h 257442"/>
                <a:gd name="connsiteX0" fmla="*/ 2250837 w 2250837"/>
                <a:gd name="connsiteY0" fmla="*/ 0 h 257442"/>
                <a:gd name="connsiteX1" fmla="*/ 2196116 w 2250837"/>
                <a:gd name="connsiteY1" fmla="*/ 257442 h 257442"/>
                <a:gd name="connsiteX2" fmla="*/ 1 w 2250837"/>
                <a:gd name="connsiteY2" fmla="*/ 257442 h 257442"/>
                <a:gd name="connsiteX3" fmla="*/ 0 w 2250837"/>
                <a:gd name="connsiteY3" fmla="*/ 0 h 257442"/>
                <a:gd name="connsiteX0" fmla="*/ 2250837 w 2250837"/>
                <a:gd name="connsiteY0" fmla="*/ 0 h 257442"/>
                <a:gd name="connsiteX1" fmla="*/ 2196116 w 2250837"/>
                <a:gd name="connsiteY1" fmla="*/ 257442 h 257442"/>
                <a:gd name="connsiteX2" fmla="*/ 2 w 2250837"/>
                <a:gd name="connsiteY2" fmla="*/ 257442 h 257442"/>
                <a:gd name="connsiteX3" fmla="*/ 0 w 2250837"/>
                <a:gd name="connsiteY3" fmla="*/ 0 h 257442"/>
                <a:gd name="connsiteX0" fmla="*/ 2250835 w 2250835"/>
                <a:gd name="connsiteY0" fmla="*/ 0 h 257442"/>
                <a:gd name="connsiteX1" fmla="*/ 2196114 w 2250835"/>
                <a:gd name="connsiteY1" fmla="*/ 257442 h 257442"/>
                <a:gd name="connsiteX2" fmla="*/ 0 w 2250835"/>
                <a:gd name="connsiteY2" fmla="*/ 257442 h 257442"/>
                <a:gd name="connsiteX3" fmla="*/ 0 w 2250835"/>
                <a:gd name="connsiteY3" fmla="*/ 0 h 257442"/>
                <a:gd name="connsiteX0" fmla="*/ 2090536 w 2196114"/>
                <a:gd name="connsiteY0" fmla="*/ 0 h 257442"/>
                <a:gd name="connsiteX1" fmla="*/ 2196114 w 2196114"/>
                <a:gd name="connsiteY1" fmla="*/ 257442 h 257442"/>
                <a:gd name="connsiteX2" fmla="*/ 0 w 2196114"/>
                <a:gd name="connsiteY2" fmla="*/ 257442 h 257442"/>
                <a:gd name="connsiteX3" fmla="*/ 0 w 2196114"/>
                <a:gd name="connsiteY3" fmla="*/ 0 h 257442"/>
                <a:gd name="connsiteX0" fmla="*/ 2090536 w 2090536"/>
                <a:gd name="connsiteY0" fmla="*/ 0 h 257442"/>
                <a:gd name="connsiteX1" fmla="*/ 2035815 w 2090536"/>
                <a:gd name="connsiteY1" fmla="*/ 257442 h 257442"/>
                <a:gd name="connsiteX2" fmla="*/ 0 w 2090536"/>
                <a:gd name="connsiteY2" fmla="*/ 257442 h 257442"/>
                <a:gd name="connsiteX3" fmla="*/ 0 w 2090536"/>
                <a:gd name="connsiteY3" fmla="*/ 0 h 257442"/>
                <a:gd name="connsiteX0" fmla="*/ 2090536 w 2090536"/>
                <a:gd name="connsiteY0" fmla="*/ 0 h 257442"/>
                <a:gd name="connsiteX1" fmla="*/ 2035815 w 2090536"/>
                <a:gd name="connsiteY1" fmla="*/ 257442 h 257442"/>
                <a:gd name="connsiteX2" fmla="*/ 0 w 2090536"/>
                <a:gd name="connsiteY2" fmla="*/ 257442 h 257442"/>
                <a:gd name="connsiteX3" fmla="*/ 0 w 2090536"/>
                <a:gd name="connsiteY3" fmla="*/ 0 h 257442"/>
                <a:gd name="connsiteX0" fmla="*/ 2090536 w 2090536"/>
                <a:gd name="connsiteY0" fmla="*/ 0 h 257442"/>
                <a:gd name="connsiteX1" fmla="*/ 2035815 w 2090536"/>
                <a:gd name="connsiteY1" fmla="*/ 257442 h 257442"/>
                <a:gd name="connsiteX2" fmla="*/ 0 w 2090536"/>
                <a:gd name="connsiteY2" fmla="*/ 257442 h 257442"/>
                <a:gd name="connsiteX3" fmla="*/ 0 w 2090536"/>
                <a:gd name="connsiteY3" fmla="*/ 0 h 257442"/>
                <a:gd name="connsiteX0" fmla="*/ 1938251 w 2035815"/>
                <a:gd name="connsiteY0" fmla="*/ 0 h 257442"/>
                <a:gd name="connsiteX1" fmla="*/ 2035815 w 2035815"/>
                <a:gd name="connsiteY1" fmla="*/ 257442 h 257442"/>
                <a:gd name="connsiteX2" fmla="*/ 0 w 2035815"/>
                <a:gd name="connsiteY2" fmla="*/ 257442 h 257442"/>
                <a:gd name="connsiteX3" fmla="*/ 0 w 2035815"/>
                <a:gd name="connsiteY3" fmla="*/ 0 h 257442"/>
                <a:gd name="connsiteX0" fmla="*/ 1938251 w 1938251"/>
                <a:gd name="connsiteY0" fmla="*/ 0 h 257442"/>
                <a:gd name="connsiteX1" fmla="*/ 1883531 w 1938251"/>
                <a:gd name="connsiteY1" fmla="*/ 257442 h 257442"/>
                <a:gd name="connsiteX2" fmla="*/ 0 w 1938251"/>
                <a:gd name="connsiteY2" fmla="*/ 257442 h 257442"/>
                <a:gd name="connsiteX3" fmla="*/ 0 w 1938251"/>
                <a:gd name="connsiteY3" fmla="*/ 0 h 257442"/>
                <a:gd name="connsiteX0" fmla="*/ 1938251 w 1938251"/>
                <a:gd name="connsiteY0" fmla="*/ 0 h 257442"/>
                <a:gd name="connsiteX1" fmla="*/ 1883531 w 1938251"/>
                <a:gd name="connsiteY1" fmla="*/ 257442 h 257442"/>
                <a:gd name="connsiteX2" fmla="*/ 1 w 1938251"/>
                <a:gd name="connsiteY2" fmla="*/ 257442 h 257442"/>
                <a:gd name="connsiteX3" fmla="*/ 0 w 1938251"/>
                <a:gd name="connsiteY3" fmla="*/ 0 h 257442"/>
                <a:gd name="connsiteX0" fmla="*/ 1938250 w 1938250"/>
                <a:gd name="connsiteY0" fmla="*/ 0 h 257442"/>
                <a:gd name="connsiteX1" fmla="*/ 1883530 w 1938250"/>
                <a:gd name="connsiteY1" fmla="*/ 257442 h 257442"/>
                <a:gd name="connsiteX2" fmla="*/ 0 w 1938250"/>
                <a:gd name="connsiteY2" fmla="*/ 257442 h 257442"/>
                <a:gd name="connsiteX3" fmla="*/ 0 w 1938250"/>
                <a:gd name="connsiteY3" fmla="*/ 0 h 257442"/>
                <a:gd name="connsiteX0" fmla="*/ 1769934 w 1883530"/>
                <a:gd name="connsiteY0" fmla="*/ 0 h 257442"/>
                <a:gd name="connsiteX1" fmla="*/ 1883530 w 1883530"/>
                <a:gd name="connsiteY1" fmla="*/ 257442 h 257442"/>
                <a:gd name="connsiteX2" fmla="*/ 0 w 1883530"/>
                <a:gd name="connsiteY2" fmla="*/ 257442 h 257442"/>
                <a:gd name="connsiteX3" fmla="*/ 0 w 1883530"/>
                <a:gd name="connsiteY3" fmla="*/ 0 h 257442"/>
                <a:gd name="connsiteX0" fmla="*/ 1769934 w 1769934"/>
                <a:gd name="connsiteY0" fmla="*/ 0 h 257442"/>
                <a:gd name="connsiteX1" fmla="*/ 1715213 w 1769934"/>
                <a:gd name="connsiteY1" fmla="*/ 257442 h 257442"/>
                <a:gd name="connsiteX2" fmla="*/ 0 w 1769934"/>
                <a:gd name="connsiteY2" fmla="*/ 257442 h 257442"/>
                <a:gd name="connsiteX3" fmla="*/ 0 w 1769934"/>
                <a:gd name="connsiteY3" fmla="*/ 0 h 257442"/>
                <a:gd name="connsiteX0" fmla="*/ 1769935 w 1769935"/>
                <a:gd name="connsiteY0" fmla="*/ 0 h 257442"/>
                <a:gd name="connsiteX1" fmla="*/ 1715214 w 1769935"/>
                <a:gd name="connsiteY1" fmla="*/ 257442 h 257442"/>
                <a:gd name="connsiteX2" fmla="*/ 0 w 1769935"/>
                <a:gd name="connsiteY2" fmla="*/ 257442 h 257442"/>
                <a:gd name="connsiteX3" fmla="*/ 1 w 1769935"/>
                <a:gd name="connsiteY3" fmla="*/ 0 h 257442"/>
                <a:gd name="connsiteX0" fmla="*/ 1769935 w 1769935"/>
                <a:gd name="connsiteY0" fmla="*/ 0 h 257442"/>
                <a:gd name="connsiteX1" fmla="*/ 1715214 w 1769935"/>
                <a:gd name="connsiteY1" fmla="*/ 257442 h 257442"/>
                <a:gd name="connsiteX2" fmla="*/ 0 w 1769935"/>
                <a:gd name="connsiteY2" fmla="*/ 257442 h 257442"/>
                <a:gd name="connsiteX3" fmla="*/ 1 w 1769935"/>
                <a:gd name="connsiteY3" fmla="*/ 0 h 257442"/>
                <a:gd name="connsiteX0" fmla="*/ 1609636 w 1715214"/>
                <a:gd name="connsiteY0" fmla="*/ 0 h 257442"/>
                <a:gd name="connsiteX1" fmla="*/ 1715214 w 1715214"/>
                <a:gd name="connsiteY1" fmla="*/ 257442 h 257442"/>
                <a:gd name="connsiteX2" fmla="*/ 0 w 1715214"/>
                <a:gd name="connsiteY2" fmla="*/ 257442 h 257442"/>
                <a:gd name="connsiteX3" fmla="*/ 1 w 1715214"/>
                <a:gd name="connsiteY3" fmla="*/ 0 h 257442"/>
                <a:gd name="connsiteX0" fmla="*/ 1609636 w 1609636"/>
                <a:gd name="connsiteY0" fmla="*/ 0 h 257442"/>
                <a:gd name="connsiteX1" fmla="*/ 1554915 w 1609636"/>
                <a:gd name="connsiteY1" fmla="*/ 257442 h 257442"/>
                <a:gd name="connsiteX2" fmla="*/ 0 w 1609636"/>
                <a:gd name="connsiteY2" fmla="*/ 257442 h 257442"/>
                <a:gd name="connsiteX3" fmla="*/ 1 w 1609636"/>
                <a:gd name="connsiteY3" fmla="*/ 0 h 257442"/>
                <a:gd name="connsiteX0" fmla="*/ 1609635 w 1609635"/>
                <a:gd name="connsiteY0" fmla="*/ 0 h 257442"/>
                <a:gd name="connsiteX1" fmla="*/ 1554914 w 1609635"/>
                <a:gd name="connsiteY1" fmla="*/ 257442 h 257442"/>
                <a:gd name="connsiteX2" fmla="*/ 0 w 1609635"/>
                <a:gd name="connsiteY2" fmla="*/ 257442 h 257442"/>
                <a:gd name="connsiteX3" fmla="*/ 0 w 1609635"/>
                <a:gd name="connsiteY3" fmla="*/ 0 h 257442"/>
                <a:gd name="connsiteX0" fmla="*/ 1609635 w 1609635"/>
                <a:gd name="connsiteY0" fmla="*/ 0 h 257442"/>
                <a:gd name="connsiteX1" fmla="*/ 1554914 w 1609635"/>
                <a:gd name="connsiteY1" fmla="*/ 257442 h 257442"/>
                <a:gd name="connsiteX2" fmla="*/ 0 w 1609635"/>
                <a:gd name="connsiteY2" fmla="*/ 257442 h 257442"/>
                <a:gd name="connsiteX3" fmla="*/ 0 w 1609635"/>
                <a:gd name="connsiteY3" fmla="*/ 0 h 257442"/>
                <a:gd name="connsiteX0" fmla="*/ 1813217 w 1813217"/>
                <a:gd name="connsiteY0" fmla="*/ 0 h 257442"/>
                <a:gd name="connsiteX1" fmla="*/ 1554914 w 1813217"/>
                <a:gd name="connsiteY1" fmla="*/ 257442 h 257442"/>
                <a:gd name="connsiteX2" fmla="*/ 0 w 1813217"/>
                <a:gd name="connsiteY2" fmla="*/ 257442 h 257442"/>
                <a:gd name="connsiteX3" fmla="*/ 0 w 1813217"/>
                <a:gd name="connsiteY3" fmla="*/ 0 h 257442"/>
                <a:gd name="connsiteX0" fmla="*/ 1813217 w 1813217"/>
                <a:gd name="connsiteY0" fmla="*/ 0 h 257442"/>
                <a:gd name="connsiteX1" fmla="*/ 1758496 w 1813217"/>
                <a:gd name="connsiteY1" fmla="*/ 257442 h 257442"/>
                <a:gd name="connsiteX2" fmla="*/ 0 w 1813217"/>
                <a:gd name="connsiteY2" fmla="*/ 257442 h 257442"/>
                <a:gd name="connsiteX3" fmla="*/ 0 w 1813217"/>
                <a:gd name="connsiteY3" fmla="*/ 0 h 257442"/>
                <a:gd name="connsiteX0" fmla="*/ 1813217 w 1813217"/>
                <a:gd name="connsiteY0" fmla="*/ 0 h 257442"/>
                <a:gd name="connsiteX1" fmla="*/ 1758496 w 1813217"/>
                <a:gd name="connsiteY1" fmla="*/ 257442 h 257442"/>
                <a:gd name="connsiteX2" fmla="*/ 0 w 1813217"/>
                <a:gd name="connsiteY2" fmla="*/ 257442 h 257442"/>
                <a:gd name="connsiteX3" fmla="*/ 0 w 1813217"/>
                <a:gd name="connsiteY3" fmla="*/ 0 h 257442"/>
                <a:gd name="connsiteX0" fmla="*/ 1813217 w 1813217"/>
                <a:gd name="connsiteY0" fmla="*/ 0 h 257442"/>
                <a:gd name="connsiteX1" fmla="*/ 1758496 w 1813217"/>
                <a:gd name="connsiteY1" fmla="*/ 257442 h 257442"/>
                <a:gd name="connsiteX2" fmla="*/ 0 w 1813217"/>
                <a:gd name="connsiteY2" fmla="*/ 257442 h 257442"/>
                <a:gd name="connsiteX3" fmla="*/ 0 w 1813217"/>
                <a:gd name="connsiteY3" fmla="*/ 0 h 257442"/>
                <a:gd name="connsiteX0" fmla="*/ 1991150 w 1991150"/>
                <a:gd name="connsiteY0" fmla="*/ 0 h 257442"/>
                <a:gd name="connsiteX1" fmla="*/ 1758496 w 1991150"/>
                <a:gd name="connsiteY1" fmla="*/ 257442 h 257442"/>
                <a:gd name="connsiteX2" fmla="*/ 0 w 1991150"/>
                <a:gd name="connsiteY2" fmla="*/ 257442 h 257442"/>
                <a:gd name="connsiteX3" fmla="*/ 0 w 1991150"/>
                <a:gd name="connsiteY3" fmla="*/ 0 h 257442"/>
                <a:gd name="connsiteX0" fmla="*/ 1991150 w 1991150"/>
                <a:gd name="connsiteY0" fmla="*/ 0 h 257442"/>
                <a:gd name="connsiteX1" fmla="*/ 1936428 w 1991150"/>
                <a:gd name="connsiteY1" fmla="*/ 257442 h 257442"/>
                <a:gd name="connsiteX2" fmla="*/ 0 w 1991150"/>
                <a:gd name="connsiteY2" fmla="*/ 257442 h 257442"/>
                <a:gd name="connsiteX3" fmla="*/ 0 w 1991150"/>
                <a:gd name="connsiteY3" fmla="*/ 0 h 257442"/>
                <a:gd name="connsiteX0" fmla="*/ 1991151 w 1991151"/>
                <a:gd name="connsiteY0" fmla="*/ 0 h 257442"/>
                <a:gd name="connsiteX1" fmla="*/ 1936429 w 1991151"/>
                <a:gd name="connsiteY1" fmla="*/ 257442 h 257442"/>
                <a:gd name="connsiteX2" fmla="*/ 0 w 1991151"/>
                <a:gd name="connsiteY2" fmla="*/ 257442 h 257442"/>
                <a:gd name="connsiteX3" fmla="*/ 1 w 1991151"/>
                <a:gd name="connsiteY3" fmla="*/ 0 h 257442"/>
                <a:gd name="connsiteX0" fmla="*/ 1991151 w 1991151"/>
                <a:gd name="connsiteY0" fmla="*/ 0 h 257442"/>
                <a:gd name="connsiteX1" fmla="*/ 1936429 w 1991151"/>
                <a:gd name="connsiteY1" fmla="*/ 257442 h 257442"/>
                <a:gd name="connsiteX2" fmla="*/ 0 w 1991151"/>
                <a:gd name="connsiteY2" fmla="*/ 257442 h 257442"/>
                <a:gd name="connsiteX3" fmla="*/ 1 w 1991151"/>
                <a:gd name="connsiteY3" fmla="*/ 0 h 257442"/>
                <a:gd name="connsiteX0" fmla="*/ 2159466 w 2159466"/>
                <a:gd name="connsiteY0" fmla="*/ 0 h 257442"/>
                <a:gd name="connsiteX1" fmla="*/ 1936429 w 2159466"/>
                <a:gd name="connsiteY1" fmla="*/ 257442 h 257442"/>
                <a:gd name="connsiteX2" fmla="*/ 0 w 2159466"/>
                <a:gd name="connsiteY2" fmla="*/ 257442 h 257442"/>
                <a:gd name="connsiteX3" fmla="*/ 1 w 2159466"/>
                <a:gd name="connsiteY3" fmla="*/ 0 h 257442"/>
                <a:gd name="connsiteX0" fmla="*/ 2159466 w 2159466"/>
                <a:gd name="connsiteY0" fmla="*/ 0 h 257442"/>
                <a:gd name="connsiteX1" fmla="*/ 2104744 w 2159466"/>
                <a:gd name="connsiteY1" fmla="*/ 257442 h 257442"/>
                <a:gd name="connsiteX2" fmla="*/ 0 w 2159466"/>
                <a:gd name="connsiteY2" fmla="*/ 257442 h 257442"/>
                <a:gd name="connsiteX3" fmla="*/ 1 w 2159466"/>
                <a:gd name="connsiteY3" fmla="*/ 0 h 257442"/>
                <a:gd name="connsiteX0" fmla="*/ 2159466 w 2159466"/>
                <a:gd name="connsiteY0" fmla="*/ 0 h 257442"/>
                <a:gd name="connsiteX1" fmla="*/ 2104744 w 2159466"/>
                <a:gd name="connsiteY1" fmla="*/ 257442 h 257442"/>
                <a:gd name="connsiteX2" fmla="*/ 0 w 2159466"/>
                <a:gd name="connsiteY2" fmla="*/ 257442 h 257442"/>
                <a:gd name="connsiteX3" fmla="*/ 1 w 2159466"/>
                <a:gd name="connsiteY3" fmla="*/ 0 h 257442"/>
                <a:gd name="connsiteX0" fmla="*/ 2159466 w 2159466"/>
                <a:gd name="connsiteY0" fmla="*/ 0 h 257442"/>
                <a:gd name="connsiteX1" fmla="*/ 2104744 w 2159466"/>
                <a:gd name="connsiteY1" fmla="*/ 257442 h 257442"/>
                <a:gd name="connsiteX2" fmla="*/ 0 w 2159466"/>
                <a:gd name="connsiteY2" fmla="*/ 257442 h 257442"/>
                <a:gd name="connsiteX3" fmla="*/ 0 w 2159466"/>
                <a:gd name="connsiteY3" fmla="*/ 0 h 257442"/>
                <a:gd name="connsiteX0" fmla="*/ 2327780 w 2327780"/>
                <a:gd name="connsiteY0" fmla="*/ 0 h 257442"/>
                <a:gd name="connsiteX1" fmla="*/ 2104744 w 2327780"/>
                <a:gd name="connsiteY1" fmla="*/ 257442 h 257442"/>
                <a:gd name="connsiteX2" fmla="*/ 0 w 2327780"/>
                <a:gd name="connsiteY2" fmla="*/ 257442 h 257442"/>
                <a:gd name="connsiteX3" fmla="*/ 0 w 2327780"/>
                <a:gd name="connsiteY3" fmla="*/ 0 h 257442"/>
                <a:gd name="connsiteX0" fmla="*/ 2327780 w 2327780"/>
                <a:gd name="connsiteY0" fmla="*/ 0 h 257442"/>
                <a:gd name="connsiteX1" fmla="*/ 2273059 w 2327780"/>
                <a:gd name="connsiteY1" fmla="*/ 257442 h 257442"/>
                <a:gd name="connsiteX2" fmla="*/ 0 w 2327780"/>
                <a:gd name="connsiteY2" fmla="*/ 257442 h 257442"/>
                <a:gd name="connsiteX3" fmla="*/ 0 w 2327780"/>
                <a:gd name="connsiteY3" fmla="*/ 0 h 257442"/>
                <a:gd name="connsiteX0" fmla="*/ 2327780 w 2327780"/>
                <a:gd name="connsiteY0" fmla="*/ 0 h 257442"/>
                <a:gd name="connsiteX1" fmla="*/ 2273059 w 2327780"/>
                <a:gd name="connsiteY1" fmla="*/ 257442 h 257442"/>
                <a:gd name="connsiteX2" fmla="*/ 0 w 2327780"/>
                <a:gd name="connsiteY2" fmla="*/ 257442 h 257442"/>
                <a:gd name="connsiteX3" fmla="*/ 0 w 2327780"/>
                <a:gd name="connsiteY3" fmla="*/ 0 h 257442"/>
                <a:gd name="connsiteX0" fmla="*/ 2327780 w 2327780"/>
                <a:gd name="connsiteY0" fmla="*/ 0 h 257442"/>
                <a:gd name="connsiteX1" fmla="*/ 2273059 w 2327780"/>
                <a:gd name="connsiteY1" fmla="*/ 257442 h 257442"/>
                <a:gd name="connsiteX2" fmla="*/ 0 w 2327780"/>
                <a:gd name="connsiteY2" fmla="*/ 257442 h 257442"/>
                <a:gd name="connsiteX3" fmla="*/ 0 w 2327780"/>
                <a:gd name="connsiteY3" fmla="*/ 0 h 257442"/>
                <a:gd name="connsiteX0" fmla="*/ 942786 w 2273059"/>
                <a:gd name="connsiteY0" fmla="*/ 0 h 257442"/>
                <a:gd name="connsiteX1" fmla="*/ 2273059 w 2273059"/>
                <a:gd name="connsiteY1" fmla="*/ 257442 h 257442"/>
                <a:gd name="connsiteX2" fmla="*/ 0 w 2273059"/>
                <a:gd name="connsiteY2" fmla="*/ 257442 h 257442"/>
                <a:gd name="connsiteX3" fmla="*/ 0 w 2273059"/>
                <a:gd name="connsiteY3" fmla="*/ 0 h 257442"/>
                <a:gd name="connsiteX0" fmla="*/ 942786 w 942786"/>
                <a:gd name="connsiteY0" fmla="*/ 0 h 257442"/>
                <a:gd name="connsiteX1" fmla="*/ 888066 w 942786"/>
                <a:gd name="connsiteY1" fmla="*/ 257442 h 257442"/>
                <a:gd name="connsiteX2" fmla="*/ 0 w 942786"/>
                <a:gd name="connsiteY2" fmla="*/ 257442 h 257442"/>
                <a:gd name="connsiteX3" fmla="*/ 0 w 942786"/>
                <a:gd name="connsiteY3" fmla="*/ 0 h 257442"/>
                <a:gd name="connsiteX0" fmla="*/ 942786 w 942786"/>
                <a:gd name="connsiteY0" fmla="*/ 0 h 257442"/>
                <a:gd name="connsiteX1" fmla="*/ 888066 w 942786"/>
                <a:gd name="connsiteY1" fmla="*/ 257442 h 257442"/>
                <a:gd name="connsiteX2" fmla="*/ 1 w 942786"/>
                <a:gd name="connsiteY2" fmla="*/ 257442 h 257442"/>
                <a:gd name="connsiteX3" fmla="*/ 0 w 942786"/>
                <a:gd name="connsiteY3" fmla="*/ 0 h 257442"/>
                <a:gd name="connsiteX0" fmla="*/ 942785 w 942785"/>
                <a:gd name="connsiteY0" fmla="*/ 0 h 257442"/>
                <a:gd name="connsiteX1" fmla="*/ 888065 w 942785"/>
                <a:gd name="connsiteY1" fmla="*/ 257442 h 257442"/>
                <a:gd name="connsiteX2" fmla="*/ 0 w 942785"/>
                <a:gd name="connsiteY2" fmla="*/ 257442 h 257442"/>
                <a:gd name="connsiteX3" fmla="*/ 0 w 942785"/>
                <a:gd name="connsiteY3" fmla="*/ 0 h 257442"/>
                <a:gd name="connsiteX0" fmla="*/ 1111101 w 1111101"/>
                <a:gd name="connsiteY0" fmla="*/ 0 h 257442"/>
                <a:gd name="connsiteX1" fmla="*/ 888065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263386 w 1263386"/>
                <a:gd name="connsiteY0" fmla="*/ 0 h 257442"/>
                <a:gd name="connsiteX1" fmla="*/ 1056380 w 1263386"/>
                <a:gd name="connsiteY1" fmla="*/ 257442 h 257442"/>
                <a:gd name="connsiteX2" fmla="*/ 0 w 1263386"/>
                <a:gd name="connsiteY2" fmla="*/ 257442 h 257442"/>
                <a:gd name="connsiteX3" fmla="*/ 0 w 1263386"/>
                <a:gd name="connsiteY3" fmla="*/ 0 h 257442"/>
                <a:gd name="connsiteX0" fmla="*/ 1263386 w 1263386"/>
                <a:gd name="connsiteY0" fmla="*/ 0 h 257442"/>
                <a:gd name="connsiteX1" fmla="*/ 1208664 w 1263386"/>
                <a:gd name="connsiteY1" fmla="*/ 257442 h 257442"/>
                <a:gd name="connsiteX2" fmla="*/ 0 w 1263386"/>
                <a:gd name="connsiteY2" fmla="*/ 257442 h 257442"/>
                <a:gd name="connsiteX3" fmla="*/ 0 w 1263386"/>
                <a:gd name="connsiteY3" fmla="*/ 0 h 257442"/>
                <a:gd name="connsiteX0" fmla="*/ 1263387 w 1263387"/>
                <a:gd name="connsiteY0" fmla="*/ 0 h 257442"/>
                <a:gd name="connsiteX1" fmla="*/ 1208665 w 1263387"/>
                <a:gd name="connsiteY1" fmla="*/ 257442 h 257442"/>
                <a:gd name="connsiteX2" fmla="*/ 0 w 1263387"/>
                <a:gd name="connsiteY2" fmla="*/ 257442 h 257442"/>
                <a:gd name="connsiteX3" fmla="*/ 1 w 1263387"/>
                <a:gd name="connsiteY3" fmla="*/ 0 h 257442"/>
                <a:gd name="connsiteX0" fmla="*/ 1263387 w 1263387"/>
                <a:gd name="connsiteY0" fmla="*/ 0 h 257442"/>
                <a:gd name="connsiteX1" fmla="*/ 1208665 w 1263387"/>
                <a:gd name="connsiteY1" fmla="*/ 257442 h 257442"/>
                <a:gd name="connsiteX2" fmla="*/ 0 w 1263387"/>
                <a:gd name="connsiteY2" fmla="*/ 257442 h 257442"/>
                <a:gd name="connsiteX3" fmla="*/ 1 w 1263387"/>
                <a:gd name="connsiteY3" fmla="*/ 0 h 257442"/>
                <a:gd name="connsiteX0" fmla="*/ 1423688 w 1423688"/>
                <a:gd name="connsiteY0" fmla="*/ 0 h 257442"/>
                <a:gd name="connsiteX1" fmla="*/ 1208665 w 1423688"/>
                <a:gd name="connsiteY1" fmla="*/ 257442 h 257442"/>
                <a:gd name="connsiteX2" fmla="*/ 0 w 1423688"/>
                <a:gd name="connsiteY2" fmla="*/ 257442 h 257442"/>
                <a:gd name="connsiteX3" fmla="*/ 1 w 1423688"/>
                <a:gd name="connsiteY3" fmla="*/ 0 h 257442"/>
                <a:gd name="connsiteX0" fmla="*/ 1423688 w 1423688"/>
                <a:gd name="connsiteY0" fmla="*/ 0 h 257442"/>
                <a:gd name="connsiteX1" fmla="*/ 1368966 w 1423688"/>
                <a:gd name="connsiteY1" fmla="*/ 257442 h 257442"/>
                <a:gd name="connsiteX2" fmla="*/ 0 w 1423688"/>
                <a:gd name="connsiteY2" fmla="*/ 257442 h 257442"/>
                <a:gd name="connsiteX3" fmla="*/ 1 w 1423688"/>
                <a:gd name="connsiteY3" fmla="*/ 0 h 257442"/>
                <a:gd name="connsiteX0" fmla="*/ 1423688 w 1423688"/>
                <a:gd name="connsiteY0" fmla="*/ 0 h 257442"/>
                <a:gd name="connsiteX1" fmla="*/ 1368966 w 1423688"/>
                <a:gd name="connsiteY1" fmla="*/ 257442 h 257442"/>
                <a:gd name="connsiteX2" fmla="*/ 0 w 1423688"/>
                <a:gd name="connsiteY2" fmla="*/ 257442 h 257442"/>
                <a:gd name="connsiteX3" fmla="*/ 1 w 1423688"/>
                <a:gd name="connsiteY3" fmla="*/ 0 h 257442"/>
                <a:gd name="connsiteX0" fmla="*/ 1423688 w 1423688"/>
                <a:gd name="connsiteY0" fmla="*/ 0 h 257442"/>
                <a:gd name="connsiteX1" fmla="*/ 1368966 w 1423688"/>
                <a:gd name="connsiteY1" fmla="*/ 257442 h 257442"/>
                <a:gd name="connsiteX2" fmla="*/ 0 w 1423688"/>
                <a:gd name="connsiteY2" fmla="*/ 257442 h 257442"/>
                <a:gd name="connsiteX3" fmla="*/ 0 w 1423688"/>
                <a:gd name="connsiteY3" fmla="*/ 0 h 257442"/>
                <a:gd name="connsiteX0" fmla="*/ 1583987 w 1583987"/>
                <a:gd name="connsiteY0" fmla="*/ 0 h 257442"/>
                <a:gd name="connsiteX1" fmla="*/ 1368966 w 1583987"/>
                <a:gd name="connsiteY1" fmla="*/ 257442 h 257442"/>
                <a:gd name="connsiteX2" fmla="*/ 0 w 1583987"/>
                <a:gd name="connsiteY2" fmla="*/ 257442 h 257442"/>
                <a:gd name="connsiteX3" fmla="*/ 0 w 1583987"/>
                <a:gd name="connsiteY3" fmla="*/ 0 h 257442"/>
                <a:gd name="connsiteX0" fmla="*/ 1583987 w 1583987"/>
                <a:gd name="connsiteY0" fmla="*/ 0 h 257442"/>
                <a:gd name="connsiteX1" fmla="*/ 1529266 w 1583987"/>
                <a:gd name="connsiteY1" fmla="*/ 257442 h 257442"/>
                <a:gd name="connsiteX2" fmla="*/ 0 w 1583987"/>
                <a:gd name="connsiteY2" fmla="*/ 257442 h 257442"/>
                <a:gd name="connsiteX3" fmla="*/ 0 w 1583987"/>
                <a:gd name="connsiteY3" fmla="*/ 0 h 257442"/>
                <a:gd name="connsiteX0" fmla="*/ 1583987 w 1583987"/>
                <a:gd name="connsiteY0" fmla="*/ 0 h 257442"/>
                <a:gd name="connsiteX1" fmla="*/ 1529266 w 1583987"/>
                <a:gd name="connsiteY1" fmla="*/ 257442 h 257442"/>
                <a:gd name="connsiteX2" fmla="*/ 0 w 1583987"/>
                <a:gd name="connsiteY2" fmla="*/ 257442 h 257442"/>
                <a:gd name="connsiteX3" fmla="*/ 0 w 1583987"/>
                <a:gd name="connsiteY3" fmla="*/ 0 h 257442"/>
                <a:gd name="connsiteX0" fmla="*/ 1583987 w 1583987"/>
                <a:gd name="connsiteY0" fmla="*/ 0 h 257442"/>
                <a:gd name="connsiteX1" fmla="*/ 1529266 w 1583987"/>
                <a:gd name="connsiteY1" fmla="*/ 257442 h 257442"/>
                <a:gd name="connsiteX2" fmla="*/ 0 w 1583987"/>
                <a:gd name="connsiteY2" fmla="*/ 257442 h 257442"/>
                <a:gd name="connsiteX3" fmla="*/ 0 w 1583987"/>
                <a:gd name="connsiteY3" fmla="*/ 0 h 257442"/>
                <a:gd name="connsiteX0" fmla="*/ 1684976 w 1684976"/>
                <a:gd name="connsiteY0" fmla="*/ 0 h 257442"/>
                <a:gd name="connsiteX1" fmla="*/ 1529266 w 1684976"/>
                <a:gd name="connsiteY1" fmla="*/ 257442 h 257442"/>
                <a:gd name="connsiteX2" fmla="*/ 0 w 1684976"/>
                <a:gd name="connsiteY2" fmla="*/ 257442 h 257442"/>
                <a:gd name="connsiteX3" fmla="*/ 0 w 1684976"/>
                <a:gd name="connsiteY3" fmla="*/ 0 h 257442"/>
                <a:gd name="connsiteX0" fmla="*/ 1684976 w 1684976"/>
                <a:gd name="connsiteY0" fmla="*/ 0 h 257442"/>
                <a:gd name="connsiteX1" fmla="*/ 1630254 w 1684976"/>
                <a:gd name="connsiteY1" fmla="*/ 257442 h 257442"/>
                <a:gd name="connsiteX2" fmla="*/ 0 w 1684976"/>
                <a:gd name="connsiteY2" fmla="*/ 257442 h 257442"/>
                <a:gd name="connsiteX3" fmla="*/ 0 w 1684976"/>
                <a:gd name="connsiteY3" fmla="*/ 0 h 257442"/>
                <a:gd name="connsiteX0" fmla="*/ 1684977 w 1684977"/>
                <a:gd name="connsiteY0" fmla="*/ 0 h 257442"/>
                <a:gd name="connsiteX1" fmla="*/ 1630255 w 1684977"/>
                <a:gd name="connsiteY1" fmla="*/ 257442 h 257442"/>
                <a:gd name="connsiteX2" fmla="*/ 0 w 1684977"/>
                <a:gd name="connsiteY2" fmla="*/ 257442 h 257442"/>
                <a:gd name="connsiteX3" fmla="*/ 1 w 1684977"/>
                <a:gd name="connsiteY3" fmla="*/ 0 h 257442"/>
                <a:gd name="connsiteX0" fmla="*/ 1684977 w 1684977"/>
                <a:gd name="connsiteY0" fmla="*/ 0 h 257442"/>
                <a:gd name="connsiteX1" fmla="*/ 1630255 w 1684977"/>
                <a:gd name="connsiteY1" fmla="*/ 257442 h 257442"/>
                <a:gd name="connsiteX2" fmla="*/ 0 w 1684977"/>
                <a:gd name="connsiteY2" fmla="*/ 257442 h 257442"/>
                <a:gd name="connsiteX3" fmla="*/ 1 w 1684977"/>
                <a:gd name="connsiteY3" fmla="*/ 0 h 257442"/>
                <a:gd name="connsiteX0" fmla="*/ 1862910 w 1862910"/>
                <a:gd name="connsiteY0" fmla="*/ 0 h 257442"/>
                <a:gd name="connsiteX1" fmla="*/ 1630255 w 1862910"/>
                <a:gd name="connsiteY1" fmla="*/ 257442 h 257442"/>
                <a:gd name="connsiteX2" fmla="*/ 0 w 1862910"/>
                <a:gd name="connsiteY2" fmla="*/ 257442 h 257442"/>
                <a:gd name="connsiteX3" fmla="*/ 1 w 1862910"/>
                <a:gd name="connsiteY3" fmla="*/ 0 h 257442"/>
                <a:gd name="connsiteX0" fmla="*/ 1862910 w 1862910"/>
                <a:gd name="connsiteY0" fmla="*/ 0 h 257442"/>
                <a:gd name="connsiteX1" fmla="*/ 1808188 w 1862910"/>
                <a:gd name="connsiteY1" fmla="*/ 257442 h 257442"/>
                <a:gd name="connsiteX2" fmla="*/ 0 w 1862910"/>
                <a:gd name="connsiteY2" fmla="*/ 257442 h 257442"/>
                <a:gd name="connsiteX3" fmla="*/ 1 w 1862910"/>
                <a:gd name="connsiteY3" fmla="*/ 0 h 257442"/>
                <a:gd name="connsiteX0" fmla="*/ 1862910 w 1862910"/>
                <a:gd name="connsiteY0" fmla="*/ 0 h 257442"/>
                <a:gd name="connsiteX1" fmla="*/ 1808188 w 1862910"/>
                <a:gd name="connsiteY1" fmla="*/ 257442 h 257442"/>
                <a:gd name="connsiteX2" fmla="*/ 0 w 1862910"/>
                <a:gd name="connsiteY2" fmla="*/ 257442 h 257442"/>
                <a:gd name="connsiteX3" fmla="*/ 1 w 1862910"/>
                <a:gd name="connsiteY3" fmla="*/ 0 h 257442"/>
                <a:gd name="connsiteX0" fmla="*/ 1862910 w 1862910"/>
                <a:gd name="connsiteY0" fmla="*/ 0 h 257442"/>
                <a:gd name="connsiteX1" fmla="*/ 1808188 w 1862910"/>
                <a:gd name="connsiteY1" fmla="*/ 257442 h 257442"/>
                <a:gd name="connsiteX2" fmla="*/ 0 w 1862910"/>
                <a:gd name="connsiteY2" fmla="*/ 257442 h 257442"/>
                <a:gd name="connsiteX3" fmla="*/ 0 w 1862910"/>
                <a:gd name="connsiteY3" fmla="*/ 0 h 257442"/>
                <a:gd name="connsiteX0" fmla="*/ 1684976 w 1808188"/>
                <a:gd name="connsiteY0" fmla="*/ 0 h 257442"/>
                <a:gd name="connsiteX1" fmla="*/ 1808188 w 1808188"/>
                <a:gd name="connsiteY1" fmla="*/ 257442 h 257442"/>
                <a:gd name="connsiteX2" fmla="*/ 0 w 1808188"/>
                <a:gd name="connsiteY2" fmla="*/ 257442 h 257442"/>
                <a:gd name="connsiteX3" fmla="*/ 0 w 1808188"/>
                <a:gd name="connsiteY3" fmla="*/ 0 h 257442"/>
                <a:gd name="connsiteX0" fmla="*/ 1684976 w 1684976"/>
                <a:gd name="connsiteY0" fmla="*/ 0 h 257442"/>
                <a:gd name="connsiteX1" fmla="*/ 1630255 w 1684976"/>
                <a:gd name="connsiteY1" fmla="*/ 257442 h 257442"/>
                <a:gd name="connsiteX2" fmla="*/ 0 w 1684976"/>
                <a:gd name="connsiteY2" fmla="*/ 257442 h 257442"/>
                <a:gd name="connsiteX3" fmla="*/ 0 w 1684976"/>
                <a:gd name="connsiteY3" fmla="*/ 0 h 257442"/>
                <a:gd name="connsiteX0" fmla="*/ 1684976 w 1684976"/>
                <a:gd name="connsiteY0" fmla="*/ 0 h 257442"/>
                <a:gd name="connsiteX1" fmla="*/ 1630255 w 1684976"/>
                <a:gd name="connsiteY1" fmla="*/ 257442 h 257442"/>
                <a:gd name="connsiteX2" fmla="*/ 0 w 1684976"/>
                <a:gd name="connsiteY2" fmla="*/ 257442 h 257442"/>
                <a:gd name="connsiteX3" fmla="*/ 0 w 1684976"/>
                <a:gd name="connsiteY3" fmla="*/ 0 h 257442"/>
                <a:gd name="connsiteX0" fmla="*/ 1684976 w 1684976"/>
                <a:gd name="connsiteY0" fmla="*/ 0 h 257442"/>
                <a:gd name="connsiteX1" fmla="*/ 1630255 w 1684976"/>
                <a:gd name="connsiteY1" fmla="*/ 257442 h 257442"/>
                <a:gd name="connsiteX2" fmla="*/ 0 w 1684976"/>
                <a:gd name="connsiteY2" fmla="*/ 257442 h 257442"/>
                <a:gd name="connsiteX3" fmla="*/ 0 w 1684976"/>
                <a:gd name="connsiteY3" fmla="*/ 0 h 257442"/>
                <a:gd name="connsiteX0" fmla="*/ 1583987 w 1630255"/>
                <a:gd name="connsiteY0" fmla="*/ 0 h 257442"/>
                <a:gd name="connsiteX1" fmla="*/ 1630255 w 1630255"/>
                <a:gd name="connsiteY1" fmla="*/ 257442 h 257442"/>
                <a:gd name="connsiteX2" fmla="*/ 0 w 1630255"/>
                <a:gd name="connsiteY2" fmla="*/ 257442 h 257442"/>
                <a:gd name="connsiteX3" fmla="*/ 0 w 1630255"/>
                <a:gd name="connsiteY3" fmla="*/ 0 h 257442"/>
                <a:gd name="connsiteX0" fmla="*/ 1583987 w 1583987"/>
                <a:gd name="connsiteY0" fmla="*/ 0 h 257442"/>
                <a:gd name="connsiteX1" fmla="*/ 1529267 w 1583987"/>
                <a:gd name="connsiteY1" fmla="*/ 257442 h 257442"/>
                <a:gd name="connsiteX2" fmla="*/ 0 w 1583987"/>
                <a:gd name="connsiteY2" fmla="*/ 257442 h 257442"/>
                <a:gd name="connsiteX3" fmla="*/ 0 w 1583987"/>
                <a:gd name="connsiteY3" fmla="*/ 0 h 257442"/>
                <a:gd name="connsiteX0" fmla="*/ 1583987 w 1583987"/>
                <a:gd name="connsiteY0" fmla="*/ 0 h 257442"/>
                <a:gd name="connsiteX1" fmla="*/ 1529267 w 1583987"/>
                <a:gd name="connsiteY1" fmla="*/ 257442 h 257442"/>
                <a:gd name="connsiteX2" fmla="*/ 1 w 1583987"/>
                <a:gd name="connsiteY2" fmla="*/ 257442 h 257442"/>
                <a:gd name="connsiteX3" fmla="*/ 0 w 1583987"/>
                <a:gd name="connsiteY3" fmla="*/ 0 h 257442"/>
                <a:gd name="connsiteX0" fmla="*/ 1583986 w 1583986"/>
                <a:gd name="connsiteY0" fmla="*/ 0 h 257442"/>
                <a:gd name="connsiteX1" fmla="*/ 1529266 w 1583986"/>
                <a:gd name="connsiteY1" fmla="*/ 257442 h 257442"/>
                <a:gd name="connsiteX2" fmla="*/ 0 w 1583986"/>
                <a:gd name="connsiteY2" fmla="*/ 257442 h 257442"/>
                <a:gd name="connsiteX3" fmla="*/ 0 w 1583986"/>
                <a:gd name="connsiteY3" fmla="*/ 0 h 257442"/>
                <a:gd name="connsiteX0" fmla="*/ 1423686 w 1529266"/>
                <a:gd name="connsiteY0" fmla="*/ 0 h 257442"/>
                <a:gd name="connsiteX1" fmla="*/ 1529266 w 1529266"/>
                <a:gd name="connsiteY1" fmla="*/ 257442 h 257442"/>
                <a:gd name="connsiteX2" fmla="*/ 0 w 1529266"/>
                <a:gd name="connsiteY2" fmla="*/ 257442 h 257442"/>
                <a:gd name="connsiteX3" fmla="*/ 0 w 1529266"/>
                <a:gd name="connsiteY3" fmla="*/ 0 h 257442"/>
                <a:gd name="connsiteX0" fmla="*/ 1423686 w 1423686"/>
                <a:gd name="connsiteY0" fmla="*/ 0 h 257442"/>
                <a:gd name="connsiteX1" fmla="*/ 1368965 w 1423686"/>
                <a:gd name="connsiteY1" fmla="*/ 257442 h 257442"/>
                <a:gd name="connsiteX2" fmla="*/ 0 w 1423686"/>
                <a:gd name="connsiteY2" fmla="*/ 257442 h 257442"/>
                <a:gd name="connsiteX3" fmla="*/ 0 w 1423686"/>
                <a:gd name="connsiteY3" fmla="*/ 0 h 257442"/>
                <a:gd name="connsiteX0" fmla="*/ 1423687 w 1423687"/>
                <a:gd name="connsiteY0" fmla="*/ 0 h 257442"/>
                <a:gd name="connsiteX1" fmla="*/ 1368966 w 1423687"/>
                <a:gd name="connsiteY1" fmla="*/ 257442 h 257442"/>
                <a:gd name="connsiteX2" fmla="*/ 0 w 1423687"/>
                <a:gd name="connsiteY2" fmla="*/ 257442 h 257442"/>
                <a:gd name="connsiteX3" fmla="*/ 1 w 1423687"/>
                <a:gd name="connsiteY3" fmla="*/ 0 h 257442"/>
                <a:gd name="connsiteX0" fmla="*/ 1423687 w 1423687"/>
                <a:gd name="connsiteY0" fmla="*/ 0 h 257442"/>
                <a:gd name="connsiteX1" fmla="*/ 1368966 w 1423687"/>
                <a:gd name="connsiteY1" fmla="*/ 257442 h 257442"/>
                <a:gd name="connsiteX2" fmla="*/ 0 w 1423687"/>
                <a:gd name="connsiteY2" fmla="*/ 257442 h 257442"/>
                <a:gd name="connsiteX3" fmla="*/ 1 w 1423687"/>
                <a:gd name="connsiteY3" fmla="*/ 0 h 257442"/>
                <a:gd name="connsiteX0" fmla="*/ 1263387 w 1368966"/>
                <a:gd name="connsiteY0" fmla="*/ 0 h 257442"/>
                <a:gd name="connsiteX1" fmla="*/ 1368966 w 1368966"/>
                <a:gd name="connsiteY1" fmla="*/ 257442 h 257442"/>
                <a:gd name="connsiteX2" fmla="*/ 0 w 1368966"/>
                <a:gd name="connsiteY2" fmla="*/ 257442 h 257442"/>
                <a:gd name="connsiteX3" fmla="*/ 1 w 1368966"/>
                <a:gd name="connsiteY3" fmla="*/ 0 h 257442"/>
                <a:gd name="connsiteX0" fmla="*/ 1263387 w 1263387"/>
                <a:gd name="connsiteY0" fmla="*/ 0 h 257442"/>
                <a:gd name="connsiteX1" fmla="*/ 1208666 w 1263387"/>
                <a:gd name="connsiteY1" fmla="*/ 257442 h 257442"/>
                <a:gd name="connsiteX2" fmla="*/ 0 w 1263387"/>
                <a:gd name="connsiteY2" fmla="*/ 257442 h 257442"/>
                <a:gd name="connsiteX3" fmla="*/ 1 w 1263387"/>
                <a:gd name="connsiteY3" fmla="*/ 0 h 257442"/>
                <a:gd name="connsiteX0" fmla="*/ 1263386 w 1263386"/>
                <a:gd name="connsiteY0" fmla="*/ 0 h 257442"/>
                <a:gd name="connsiteX1" fmla="*/ 1208665 w 1263386"/>
                <a:gd name="connsiteY1" fmla="*/ 257442 h 257442"/>
                <a:gd name="connsiteX2" fmla="*/ 1 w 1263386"/>
                <a:gd name="connsiteY2" fmla="*/ 257442 h 257442"/>
                <a:gd name="connsiteX3" fmla="*/ 0 w 1263386"/>
                <a:gd name="connsiteY3" fmla="*/ 0 h 257442"/>
                <a:gd name="connsiteX0" fmla="*/ 1263386 w 1263386"/>
                <a:gd name="connsiteY0" fmla="*/ 0 h 257442"/>
                <a:gd name="connsiteX1" fmla="*/ 1208665 w 1263386"/>
                <a:gd name="connsiteY1" fmla="*/ 257442 h 257442"/>
                <a:gd name="connsiteX2" fmla="*/ 1 w 1263386"/>
                <a:gd name="connsiteY2" fmla="*/ 257442 h 257442"/>
                <a:gd name="connsiteX3" fmla="*/ 0 w 1263386"/>
                <a:gd name="connsiteY3" fmla="*/ 0 h 257442"/>
                <a:gd name="connsiteX0" fmla="*/ 1111101 w 1208665"/>
                <a:gd name="connsiteY0" fmla="*/ 0 h 257442"/>
                <a:gd name="connsiteX1" fmla="*/ 1208665 w 1208665"/>
                <a:gd name="connsiteY1" fmla="*/ 257442 h 257442"/>
                <a:gd name="connsiteX2" fmla="*/ 1 w 1208665"/>
                <a:gd name="connsiteY2" fmla="*/ 257442 h 257442"/>
                <a:gd name="connsiteX3" fmla="*/ 0 w 1208665"/>
                <a:gd name="connsiteY3" fmla="*/ 0 h 257442"/>
                <a:gd name="connsiteX0" fmla="*/ 1111101 w 1111101"/>
                <a:gd name="connsiteY0" fmla="*/ 0 h 257442"/>
                <a:gd name="connsiteX1" fmla="*/ 1056381 w 1111101"/>
                <a:gd name="connsiteY1" fmla="*/ 257442 h 257442"/>
                <a:gd name="connsiteX2" fmla="*/ 1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1 w 1111101"/>
                <a:gd name="connsiteY1" fmla="*/ 257442 h 257442"/>
                <a:gd name="connsiteX2" fmla="*/ 1 w 1111101"/>
                <a:gd name="connsiteY2" fmla="*/ 257442 h 257442"/>
                <a:gd name="connsiteX3" fmla="*/ 0 w 1111101"/>
                <a:gd name="connsiteY3" fmla="*/ 0 h 257442"/>
                <a:gd name="connsiteX0" fmla="*/ 1111100 w 1111100"/>
                <a:gd name="connsiteY0" fmla="*/ 0 h 257442"/>
                <a:gd name="connsiteX1" fmla="*/ 1056380 w 1111100"/>
                <a:gd name="connsiteY1" fmla="*/ 257442 h 257442"/>
                <a:gd name="connsiteX2" fmla="*/ 0 w 1111100"/>
                <a:gd name="connsiteY2" fmla="*/ 257442 h 257442"/>
                <a:gd name="connsiteX3" fmla="*/ 0 w 1111100"/>
                <a:gd name="connsiteY3" fmla="*/ 0 h 257442"/>
                <a:gd name="connsiteX0" fmla="*/ 942785 w 1056380"/>
                <a:gd name="connsiteY0" fmla="*/ 0 h 257442"/>
                <a:gd name="connsiteX1" fmla="*/ 1056380 w 1056380"/>
                <a:gd name="connsiteY1" fmla="*/ 257442 h 257442"/>
                <a:gd name="connsiteX2" fmla="*/ 0 w 1056380"/>
                <a:gd name="connsiteY2" fmla="*/ 257442 h 257442"/>
                <a:gd name="connsiteX3" fmla="*/ 0 w 1056380"/>
                <a:gd name="connsiteY3" fmla="*/ 0 h 257442"/>
                <a:gd name="connsiteX0" fmla="*/ 942785 w 942785"/>
                <a:gd name="connsiteY0" fmla="*/ 0 h 257442"/>
                <a:gd name="connsiteX1" fmla="*/ 888064 w 942785"/>
                <a:gd name="connsiteY1" fmla="*/ 257442 h 257442"/>
                <a:gd name="connsiteX2" fmla="*/ 0 w 942785"/>
                <a:gd name="connsiteY2" fmla="*/ 257442 h 257442"/>
                <a:gd name="connsiteX3" fmla="*/ 0 w 942785"/>
                <a:gd name="connsiteY3" fmla="*/ 0 h 257442"/>
                <a:gd name="connsiteX0" fmla="*/ 942785 w 942785"/>
                <a:gd name="connsiteY0" fmla="*/ 0 h 257442"/>
                <a:gd name="connsiteX1" fmla="*/ 888064 w 942785"/>
                <a:gd name="connsiteY1" fmla="*/ 257442 h 257442"/>
                <a:gd name="connsiteX2" fmla="*/ 0 w 942785"/>
                <a:gd name="connsiteY2" fmla="*/ 257442 h 257442"/>
                <a:gd name="connsiteX3" fmla="*/ 0 w 942785"/>
                <a:gd name="connsiteY3" fmla="*/ 0 h 257442"/>
                <a:gd name="connsiteX0" fmla="*/ 942785 w 942785"/>
                <a:gd name="connsiteY0" fmla="*/ 0 h 257442"/>
                <a:gd name="connsiteX1" fmla="*/ 888064 w 942785"/>
                <a:gd name="connsiteY1" fmla="*/ 257442 h 257442"/>
                <a:gd name="connsiteX2" fmla="*/ 0 w 942785"/>
                <a:gd name="connsiteY2" fmla="*/ 257442 h 257442"/>
                <a:gd name="connsiteX3" fmla="*/ 0 w 942785"/>
                <a:gd name="connsiteY3" fmla="*/ 0 h 257442"/>
                <a:gd name="connsiteX0" fmla="*/ 782550 w 888064"/>
                <a:gd name="connsiteY0" fmla="*/ 0 h 257442"/>
                <a:gd name="connsiteX1" fmla="*/ 888064 w 888064"/>
                <a:gd name="connsiteY1" fmla="*/ 257442 h 257442"/>
                <a:gd name="connsiteX2" fmla="*/ 0 w 888064"/>
                <a:gd name="connsiteY2" fmla="*/ 257442 h 257442"/>
                <a:gd name="connsiteX3" fmla="*/ 0 w 888064"/>
                <a:gd name="connsiteY3" fmla="*/ 0 h 257442"/>
                <a:gd name="connsiteX0" fmla="*/ 782550 w 782550"/>
                <a:gd name="connsiteY0" fmla="*/ 0 h 257442"/>
                <a:gd name="connsiteX1" fmla="*/ 727829 w 782550"/>
                <a:gd name="connsiteY1" fmla="*/ 257442 h 257442"/>
                <a:gd name="connsiteX2" fmla="*/ 0 w 782550"/>
                <a:gd name="connsiteY2" fmla="*/ 257442 h 257442"/>
                <a:gd name="connsiteX3" fmla="*/ 0 w 782550"/>
                <a:gd name="connsiteY3" fmla="*/ 0 h 257442"/>
                <a:gd name="connsiteX0" fmla="*/ 782550 w 782550"/>
                <a:gd name="connsiteY0" fmla="*/ 0 h 257442"/>
                <a:gd name="connsiteX1" fmla="*/ 727829 w 782550"/>
                <a:gd name="connsiteY1" fmla="*/ 257442 h 257442"/>
                <a:gd name="connsiteX2" fmla="*/ 0 w 782550"/>
                <a:gd name="connsiteY2" fmla="*/ 257442 h 257442"/>
                <a:gd name="connsiteX3" fmla="*/ 0 w 782550"/>
                <a:gd name="connsiteY3" fmla="*/ 0 h 257442"/>
                <a:gd name="connsiteX0" fmla="*/ 782550 w 782550"/>
                <a:gd name="connsiteY0" fmla="*/ 0 h 257442"/>
                <a:gd name="connsiteX1" fmla="*/ 727829 w 782550"/>
                <a:gd name="connsiteY1" fmla="*/ 257442 h 257442"/>
                <a:gd name="connsiteX2" fmla="*/ 0 w 782550"/>
                <a:gd name="connsiteY2" fmla="*/ 257442 h 257442"/>
                <a:gd name="connsiteX3" fmla="*/ 0 w 782550"/>
                <a:gd name="connsiteY3" fmla="*/ 0 h 257442"/>
                <a:gd name="connsiteX0" fmla="*/ 986067 w 986067"/>
                <a:gd name="connsiteY0" fmla="*/ 0 h 257442"/>
                <a:gd name="connsiteX1" fmla="*/ 727829 w 986067"/>
                <a:gd name="connsiteY1" fmla="*/ 257442 h 257442"/>
                <a:gd name="connsiteX2" fmla="*/ 0 w 986067"/>
                <a:gd name="connsiteY2" fmla="*/ 257442 h 257442"/>
                <a:gd name="connsiteX3" fmla="*/ 0 w 986067"/>
                <a:gd name="connsiteY3" fmla="*/ 0 h 257442"/>
                <a:gd name="connsiteX0" fmla="*/ 986067 w 986067"/>
                <a:gd name="connsiteY0" fmla="*/ 0 h 257442"/>
                <a:gd name="connsiteX1" fmla="*/ 931346 w 986067"/>
                <a:gd name="connsiteY1" fmla="*/ 257442 h 257442"/>
                <a:gd name="connsiteX2" fmla="*/ 0 w 986067"/>
                <a:gd name="connsiteY2" fmla="*/ 257442 h 257442"/>
                <a:gd name="connsiteX3" fmla="*/ 0 w 986067"/>
                <a:gd name="connsiteY3" fmla="*/ 0 h 257442"/>
                <a:gd name="connsiteX0" fmla="*/ 986067 w 986067"/>
                <a:gd name="connsiteY0" fmla="*/ 0 h 257442"/>
                <a:gd name="connsiteX1" fmla="*/ 931346 w 986067"/>
                <a:gd name="connsiteY1" fmla="*/ 257442 h 257442"/>
                <a:gd name="connsiteX2" fmla="*/ 0 w 986067"/>
                <a:gd name="connsiteY2" fmla="*/ 257442 h 257442"/>
                <a:gd name="connsiteX3" fmla="*/ 0 w 986067"/>
                <a:gd name="connsiteY3" fmla="*/ 0 h 257442"/>
                <a:gd name="connsiteX0" fmla="*/ 986067 w 986067"/>
                <a:gd name="connsiteY0" fmla="*/ 0 h 257442"/>
                <a:gd name="connsiteX1" fmla="*/ 931346 w 986067"/>
                <a:gd name="connsiteY1" fmla="*/ 257442 h 257442"/>
                <a:gd name="connsiteX2" fmla="*/ 0 w 986067"/>
                <a:gd name="connsiteY2" fmla="*/ 257442 h 257442"/>
                <a:gd name="connsiteX3" fmla="*/ 0 w 986067"/>
                <a:gd name="connsiteY3" fmla="*/ 0 h 257442"/>
                <a:gd name="connsiteX0" fmla="*/ 1164000 w 1164000"/>
                <a:gd name="connsiteY0" fmla="*/ 0 h 257442"/>
                <a:gd name="connsiteX1" fmla="*/ 931346 w 1164000"/>
                <a:gd name="connsiteY1" fmla="*/ 257442 h 257442"/>
                <a:gd name="connsiteX2" fmla="*/ 0 w 1164000"/>
                <a:gd name="connsiteY2" fmla="*/ 257442 h 257442"/>
                <a:gd name="connsiteX3" fmla="*/ 0 w 1164000"/>
                <a:gd name="connsiteY3" fmla="*/ 0 h 257442"/>
                <a:gd name="connsiteX0" fmla="*/ 1164000 w 1164000"/>
                <a:gd name="connsiteY0" fmla="*/ 0 h 257442"/>
                <a:gd name="connsiteX1" fmla="*/ 1109278 w 1164000"/>
                <a:gd name="connsiteY1" fmla="*/ 257442 h 257442"/>
                <a:gd name="connsiteX2" fmla="*/ 0 w 1164000"/>
                <a:gd name="connsiteY2" fmla="*/ 257442 h 257442"/>
                <a:gd name="connsiteX3" fmla="*/ 0 w 1164000"/>
                <a:gd name="connsiteY3" fmla="*/ 0 h 257442"/>
                <a:gd name="connsiteX0" fmla="*/ 1164001 w 1164001"/>
                <a:gd name="connsiteY0" fmla="*/ 0 h 257442"/>
                <a:gd name="connsiteX1" fmla="*/ 1109279 w 1164001"/>
                <a:gd name="connsiteY1" fmla="*/ 257442 h 257442"/>
                <a:gd name="connsiteX2" fmla="*/ 0 w 1164001"/>
                <a:gd name="connsiteY2" fmla="*/ 257442 h 257442"/>
                <a:gd name="connsiteX3" fmla="*/ 1 w 1164001"/>
                <a:gd name="connsiteY3" fmla="*/ 0 h 257442"/>
                <a:gd name="connsiteX0" fmla="*/ 1164001 w 1164001"/>
                <a:gd name="connsiteY0" fmla="*/ 0 h 257442"/>
                <a:gd name="connsiteX1" fmla="*/ 1109279 w 1164001"/>
                <a:gd name="connsiteY1" fmla="*/ 257442 h 257442"/>
                <a:gd name="connsiteX2" fmla="*/ 0 w 1164001"/>
                <a:gd name="connsiteY2" fmla="*/ 257442 h 257442"/>
                <a:gd name="connsiteX3" fmla="*/ 1 w 1164001"/>
                <a:gd name="connsiteY3" fmla="*/ 0 h 257442"/>
                <a:gd name="connsiteX0" fmla="*/ 1332317 w 1332317"/>
                <a:gd name="connsiteY0" fmla="*/ 0 h 257442"/>
                <a:gd name="connsiteX1" fmla="*/ 1109279 w 1332317"/>
                <a:gd name="connsiteY1" fmla="*/ 257442 h 257442"/>
                <a:gd name="connsiteX2" fmla="*/ 0 w 1332317"/>
                <a:gd name="connsiteY2" fmla="*/ 257442 h 257442"/>
                <a:gd name="connsiteX3" fmla="*/ 1 w 1332317"/>
                <a:gd name="connsiteY3" fmla="*/ 0 h 257442"/>
                <a:gd name="connsiteX0" fmla="*/ 1332317 w 1332317"/>
                <a:gd name="connsiteY0" fmla="*/ 0 h 257442"/>
                <a:gd name="connsiteX1" fmla="*/ 1277596 w 1332317"/>
                <a:gd name="connsiteY1" fmla="*/ 257442 h 257442"/>
                <a:gd name="connsiteX2" fmla="*/ 0 w 1332317"/>
                <a:gd name="connsiteY2" fmla="*/ 257442 h 257442"/>
                <a:gd name="connsiteX3" fmla="*/ 1 w 1332317"/>
                <a:gd name="connsiteY3" fmla="*/ 0 h 257442"/>
                <a:gd name="connsiteX0" fmla="*/ 1332316 w 1332316"/>
                <a:gd name="connsiteY0" fmla="*/ 0 h 257442"/>
                <a:gd name="connsiteX1" fmla="*/ 1277595 w 1332316"/>
                <a:gd name="connsiteY1" fmla="*/ 257442 h 257442"/>
                <a:gd name="connsiteX2" fmla="*/ 0 w 1332316"/>
                <a:gd name="connsiteY2" fmla="*/ 257442 h 257442"/>
                <a:gd name="connsiteX3" fmla="*/ 0 w 1332316"/>
                <a:gd name="connsiteY3" fmla="*/ 0 h 257442"/>
                <a:gd name="connsiteX0" fmla="*/ 1332317 w 1332317"/>
                <a:gd name="connsiteY0" fmla="*/ 0 h 257442"/>
                <a:gd name="connsiteX1" fmla="*/ 1277596 w 1332317"/>
                <a:gd name="connsiteY1" fmla="*/ 257442 h 257442"/>
                <a:gd name="connsiteX2" fmla="*/ 1 w 1332317"/>
                <a:gd name="connsiteY2" fmla="*/ 257442 h 257442"/>
                <a:gd name="connsiteX3" fmla="*/ 0 w 1332317"/>
                <a:gd name="connsiteY3" fmla="*/ 0 h 257442"/>
                <a:gd name="connsiteX0" fmla="*/ 1500632 w 1500632"/>
                <a:gd name="connsiteY0" fmla="*/ 0 h 257442"/>
                <a:gd name="connsiteX1" fmla="*/ 1277596 w 1500632"/>
                <a:gd name="connsiteY1" fmla="*/ 257442 h 257442"/>
                <a:gd name="connsiteX2" fmla="*/ 1 w 1500632"/>
                <a:gd name="connsiteY2" fmla="*/ 257442 h 257442"/>
                <a:gd name="connsiteX3" fmla="*/ 0 w 1500632"/>
                <a:gd name="connsiteY3" fmla="*/ 0 h 257442"/>
                <a:gd name="connsiteX0" fmla="*/ 1500632 w 1500632"/>
                <a:gd name="connsiteY0" fmla="*/ 0 h 257442"/>
                <a:gd name="connsiteX1" fmla="*/ 1445910 w 1500632"/>
                <a:gd name="connsiteY1" fmla="*/ 257442 h 257442"/>
                <a:gd name="connsiteX2" fmla="*/ 1 w 1500632"/>
                <a:gd name="connsiteY2" fmla="*/ 257442 h 257442"/>
                <a:gd name="connsiteX3" fmla="*/ 0 w 1500632"/>
                <a:gd name="connsiteY3" fmla="*/ 0 h 257442"/>
                <a:gd name="connsiteX0" fmla="*/ 1500632 w 1500632"/>
                <a:gd name="connsiteY0" fmla="*/ 0 h 257442"/>
                <a:gd name="connsiteX1" fmla="*/ 1445910 w 1500632"/>
                <a:gd name="connsiteY1" fmla="*/ 257442 h 257442"/>
                <a:gd name="connsiteX2" fmla="*/ 0 w 1500632"/>
                <a:gd name="connsiteY2" fmla="*/ 257442 h 257442"/>
                <a:gd name="connsiteX3" fmla="*/ 0 w 1500632"/>
                <a:gd name="connsiteY3" fmla="*/ 0 h 257442"/>
                <a:gd name="connsiteX0" fmla="*/ 1500632 w 1500632"/>
                <a:gd name="connsiteY0" fmla="*/ 0 h 257442"/>
                <a:gd name="connsiteX1" fmla="*/ 1445910 w 1500632"/>
                <a:gd name="connsiteY1" fmla="*/ 257442 h 257442"/>
                <a:gd name="connsiteX2" fmla="*/ 0 w 1500632"/>
                <a:gd name="connsiteY2" fmla="*/ 257442 h 257442"/>
                <a:gd name="connsiteX3" fmla="*/ 0 w 1500632"/>
                <a:gd name="connsiteY3" fmla="*/ 0 h 257442"/>
                <a:gd name="connsiteX0" fmla="*/ 1652916 w 1652916"/>
                <a:gd name="connsiteY0" fmla="*/ 0 h 257442"/>
                <a:gd name="connsiteX1" fmla="*/ 1445910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652916 w 1652916"/>
                <a:gd name="connsiteY0" fmla="*/ 0 h 257442"/>
                <a:gd name="connsiteX1" fmla="*/ 1598195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652916 w 1652916"/>
                <a:gd name="connsiteY0" fmla="*/ 0 h 257442"/>
                <a:gd name="connsiteX1" fmla="*/ 1598195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652916 w 1652916"/>
                <a:gd name="connsiteY0" fmla="*/ 0 h 257442"/>
                <a:gd name="connsiteX1" fmla="*/ 1598195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830849 w 1830849"/>
                <a:gd name="connsiteY0" fmla="*/ 0 h 257442"/>
                <a:gd name="connsiteX1" fmla="*/ 1598195 w 1830849"/>
                <a:gd name="connsiteY1" fmla="*/ 257442 h 257442"/>
                <a:gd name="connsiteX2" fmla="*/ 0 w 1830849"/>
                <a:gd name="connsiteY2" fmla="*/ 257442 h 257442"/>
                <a:gd name="connsiteX3" fmla="*/ 0 w 1830849"/>
                <a:gd name="connsiteY3" fmla="*/ 0 h 257442"/>
                <a:gd name="connsiteX0" fmla="*/ 1830849 w 1830849"/>
                <a:gd name="connsiteY0" fmla="*/ 0 h 257442"/>
                <a:gd name="connsiteX1" fmla="*/ 1776128 w 1830849"/>
                <a:gd name="connsiteY1" fmla="*/ 257442 h 257442"/>
                <a:gd name="connsiteX2" fmla="*/ 0 w 1830849"/>
                <a:gd name="connsiteY2" fmla="*/ 257442 h 257442"/>
                <a:gd name="connsiteX3" fmla="*/ 0 w 1830849"/>
                <a:gd name="connsiteY3" fmla="*/ 0 h 257442"/>
                <a:gd name="connsiteX0" fmla="*/ 1830849 w 1830849"/>
                <a:gd name="connsiteY0" fmla="*/ 0 h 257442"/>
                <a:gd name="connsiteX1" fmla="*/ 1776128 w 1830849"/>
                <a:gd name="connsiteY1" fmla="*/ 257442 h 257442"/>
                <a:gd name="connsiteX2" fmla="*/ 0 w 1830849"/>
                <a:gd name="connsiteY2" fmla="*/ 257442 h 257442"/>
                <a:gd name="connsiteX3" fmla="*/ 0 w 1830849"/>
                <a:gd name="connsiteY3" fmla="*/ 0 h 257442"/>
                <a:gd name="connsiteX0" fmla="*/ 1830849 w 1830849"/>
                <a:gd name="connsiteY0" fmla="*/ 0 h 257442"/>
                <a:gd name="connsiteX1" fmla="*/ 1776128 w 1830849"/>
                <a:gd name="connsiteY1" fmla="*/ 257442 h 257442"/>
                <a:gd name="connsiteX2" fmla="*/ 0 w 1830849"/>
                <a:gd name="connsiteY2" fmla="*/ 257442 h 257442"/>
                <a:gd name="connsiteX3" fmla="*/ 0 w 1830849"/>
                <a:gd name="connsiteY3" fmla="*/ 0 h 257442"/>
                <a:gd name="connsiteX0" fmla="*/ 1999165 w 1999165"/>
                <a:gd name="connsiteY0" fmla="*/ 0 h 257442"/>
                <a:gd name="connsiteX1" fmla="*/ 1776128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2167480 w 2167480"/>
                <a:gd name="connsiteY0" fmla="*/ 0 h 257442"/>
                <a:gd name="connsiteX1" fmla="*/ 1944444 w 2167480"/>
                <a:gd name="connsiteY1" fmla="*/ 257442 h 257442"/>
                <a:gd name="connsiteX2" fmla="*/ 0 w 2167480"/>
                <a:gd name="connsiteY2" fmla="*/ 257442 h 257442"/>
                <a:gd name="connsiteX3" fmla="*/ 0 w 2167480"/>
                <a:gd name="connsiteY3" fmla="*/ 0 h 257442"/>
                <a:gd name="connsiteX0" fmla="*/ 2167480 w 2167480"/>
                <a:gd name="connsiteY0" fmla="*/ 0 h 257442"/>
                <a:gd name="connsiteX1" fmla="*/ 2112758 w 2167480"/>
                <a:gd name="connsiteY1" fmla="*/ 257442 h 257442"/>
                <a:gd name="connsiteX2" fmla="*/ 0 w 2167480"/>
                <a:gd name="connsiteY2" fmla="*/ 257442 h 257442"/>
                <a:gd name="connsiteX3" fmla="*/ 0 w 2167480"/>
                <a:gd name="connsiteY3" fmla="*/ 0 h 257442"/>
                <a:gd name="connsiteX0" fmla="*/ 2167481 w 2167481"/>
                <a:gd name="connsiteY0" fmla="*/ 0 h 257442"/>
                <a:gd name="connsiteX1" fmla="*/ 2112759 w 2167481"/>
                <a:gd name="connsiteY1" fmla="*/ 257442 h 257442"/>
                <a:gd name="connsiteX2" fmla="*/ 0 w 2167481"/>
                <a:gd name="connsiteY2" fmla="*/ 257442 h 257442"/>
                <a:gd name="connsiteX3" fmla="*/ 1 w 2167481"/>
                <a:gd name="connsiteY3" fmla="*/ 0 h 257442"/>
                <a:gd name="connsiteX0" fmla="*/ 2167481 w 2167481"/>
                <a:gd name="connsiteY0" fmla="*/ 0 h 257442"/>
                <a:gd name="connsiteX1" fmla="*/ 2112759 w 2167481"/>
                <a:gd name="connsiteY1" fmla="*/ 257442 h 257442"/>
                <a:gd name="connsiteX2" fmla="*/ 0 w 2167481"/>
                <a:gd name="connsiteY2" fmla="*/ 257442 h 257442"/>
                <a:gd name="connsiteX3" fmla="*/ 1 w 2167481"/>
                <a:gd name="connsiteY3" fmla="*/ 0 h 257442"/>
                <a:gd name="connsiteX0" fmla="*/ 2327781 w 2327781"/>
                <a:gd name="connsiteY0" fmla="*/ 0 h 257442"/>
                <a:gd name="connsiteX1" fmla="*/ 2112759 w 2327781"/>
                <a:gd name="connsiteY1" fmla="*/ 257442 h 257442"/>
                <a:gd name="connsiteX2" fmla="*/ 0 w 2327781"/>
                <a:gd name="connsiteY2" fmla="*/ 257442 h 257442"/>
                <a:gd name="connsiteX3" fmla="*/ 1 w 2327781"/>
                <a:gd name="connsiteY3" fmla="*/ 0 h 257442"/>
                <a:gd name="connsiteX0" fmla="*/ 2327781 w 2327781"/>
                <a:gd name="connsiteY0" fmla="*/ 0 h 257442"/>
                <a:gd name="connsiteX1" fmla="*/ 2273060 w 2327781"/>
                <a:gd name="connsiteY1" fmla="*/ 257442 h 257442"/>
                <a:gd name="connsiteX2" fmla="*/ 0 w 2327781"/>
                <a:gd name="connsiteY2" fmla="*/ 257442 h 257442"/>
                <a:gd name="connsiteX3" fmla="*/ 1 w 2327781"/>
                <a:gd name="connsiteY3" fmla="*/ 0 h 257442"/>
                <a:gd name="connsiteX0" fmla="*/ 2327780 w 2327780"/>
                <a:gd name="connsiteY0" fmla="*/ 0 h 257442"/>
                <a:gd name="connsiteX1" fmla="*/ 2273059 w 2327780"/>
                <a:gd name="connsiteY1" fmla="*/ 257442 h 257442"/>
                <a:gd name="connsiteX2" fmla="*/ 0 w 2327780"/>
                <a:gd name="connsiteY2" fmla="*/ 257442 h 257442"/>
                <a:gd name="connsiteX3" fmla="*/ 0 w 2327780"/>
                <a:gd name="connsiteY3" fmla="*/ 0 h 257442"/>
                <a:gd name="connsiteX0" fmla="*/ 2327781 w 2327781"/>
                <a:gd name="connsiteY0" fmla="*/ 0 h 257442"/>
                <a:gd name="connsiteX1" fmla="*/ 2273060 w 2327781"/>
                <a:gd name="connsiteY1" fmla="*/ 257442 h 257442"/>
                <a:gd name="connsiteX2" fmla="*/ 1 w 2327781"/>
                <a:gd name="connsiteY2" fmla="*/ 257442 h 257442"/>
                <a:gd name="connsiteX3" fmla="*/ 0 w 2327781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27781" h="257442">
                  <a:moveTo>
                    <a:pt x="2327781" y="0"/>
                  </a:moveTo>
                  <a:lnTo>
                    <a:pt x="2273060" y="257442"/>
                  </a:lnTo>
                  <a:lnTo>
                    <a:pt x="1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43" name="btfpRunningAgenda2LevelTextLeft167877">
              <a:extLst>
                <a:ext uri="{FF2B5EF4-FFF2-40B4-BE49-F238E27FC236}">
                  <a16:creationId xmlns:a16="http://schemas.microsoft.com/office/drawing/2014/main" id="{816E836D-62FE-AAB8-64BE-558384887F4C}"/>
                </a:ext>
              </a:extLst>
            </p:cNvPr>
            <p:cNvSpPr txBox="1"/>
            <p:nvPr/>
          </p:nvSpPr>
          <p:spPr bwMode="gray">
            <a:xfrm>
              <a:off x="0" y="876300"/>
              <a:ext cx="2273059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IN" sz="1200" b="1" cap="all" spc="450">
                  <a:solidFill>
                    <a:srgbClr val="FFFFFF"/>
                  </a:solidFill>
                </a:rPr>
                <a:t>W</a:t>
              </a:r>
              <a:r>
                <a:rPr lang="en-US" sz="1200" b="1" cap="all" spc="450">
                  <a:solidFill>
                    <a:srgbClr val="FFFFFF"/>
                  </a:solidFill>
                </a:rPr>
                <a:t>ORKFORCE</a:t>
              </a:r>
            </a:p>
          </p:txBody>
        </p:sp>
        <p:sp>
          <p:nvSpPr>
            <p:cNvPr id="44" name="btfpRunningAgenda2LevelBarRight167877">
              <a:extLst>
                <a:ext uri="{FF2B5EF4-FFF2-40B4-BE49-F238E27FC236}">
                  <a16:creationId xmlns:a16="http://schemas.microsoft.com/office/drawing/2014/main" id="{EB0AFF73-0A08-EE49-5633-A0951C5CC933}"/>
                </a:ext>
              </a:extLst>
            </p:cNvPr>
            <p:cNvSpPr/>
            <p:nvPr/>
          </p:nvSpPr>
          <p:spPr bwMode="gray">
            <a:xfrm>
              <a:off x="2192938" y="876300"/>
              <a:ext cx="1830849" cy="257442"/>
            </a:xfrm>
            <a:custGeom>
              <a:avLst/>
              <a:gdLst>
                <a:gd name="connsiteX0" fmla="*/ 960419 w 2367856"/>
                <a:gd name="connsiteY0" fmla="*/ 0 h 257442"/>
                <a:gd name="connsiteX1" fmla="*/ 2367856 w 2367856"/>
                <a:gd name="connsiteY1" fmla="*/ 0 h 257442"/>
                <a:gd name="connsiteX2" fmla="*/ 2313135 w 2367856"/>
                <a:gd name="connsiteY2" fmla="*/ 257442 h 257442"/>
                <a:gd name="connsiteX3" fmla="*/ 0 w 2367856"/>
                <a:gd name="connsiteY3" fmla="*/ 257442 h 257442"/>
                <a:gd name="connsiteX0" fmla="*/ 960419 w 2313135"/>
                <a:gd name="connsiteY0" fmla="*/ 0 h 257442"/>
                <a:gd name="connsiteX1" fmla="*/ 905698 w 2313135"/>
                <a:gd name="connsiteY1" fmla="*/ 257442 h 257442"/>
                <a:gd name="connsiteX2" fmla="*/ 2313135 w 2313135"/>
                <a:gd name="connsiteY2" fmla="*/ 257442 h 257442"/>
                <a:gd name="connsiteX3" fmla="*/ 0 w 2313135"/>
                <a:gd name="connsiteY3" fmla="*/ 257442 h 257442"/>
                <a:gd name="connsiteX0" fmla="*/ 960419 w 960419"/>
                <a:gd name="connsiteY0" fmla="*/ 0 h 257442"/>
                <a:gd name="connsiteX1" fmla="*/ 905698 w 960419"/>
                <a:gd name="connsiteY1" fmla="*/ 257442 h 257442"/>
                <a:gd name="connsiteX2" fmla="*/ 1 w 960419"/>
                <a:gd name="connsiteY2" fmla="*/ 257442 h 257442"/>
                <a:gd name="connsiteX3" fmla="*/ 0 w 960419"/>
                <a:gd name="connsiteY3" fmla="*/ 257442 h 257442"/>
                <a:gd name="connsiteX0" fmla="*/ 960418 w 960418"/>
                <a:gd name="connsiteY0" fmla="*/ 0 h 257442"/>
                <a:gd name="connsiteX1" fmla="*/ 905697 w 960418"/>
                <a:gd name="connsiteY1" fmla="*/ 257442 h 257442"/>
                <a:gd name="connsiteX2" fmla="*/ 0 w 960418"/>
                <a:gd name="connsiteY2" fmla="*/ 257442 h 257442"/>
                <a:gd name="connsiteX3" fmla="*/ 54721 w 960418"/>
                <a:gd name="connsiteY3" fmla="*/ 0 h 257442"/>
                <a:gd name="connsiteX0" fmla="*/ 1128733 w 1128733"/>
                <a:gd name="connsiteY0" fmla="*/ 0 h 257442"/>
                <a:gd name="connsiteX1" fmla="*/ 905697 w 1128733"/>
                <a:gd name="connsiteY1" fmla="*/ 257442 h 257442"/>
                <a:gd name="connsiteX2" fmla="*/ 0 w 1128733"/>
                <a:gd name="connsiteY2" fmla="*/ 257442 h 257442"/>
                <a:gd name="connsiteX3" fmla="*/ 54721 w 1128733"/>
                <a:gd name="connsiteY3" fmla="*/ 0 h 257442"/>
                <a:gd name="connsiteX0" fmla="*/ 1128733 w 1128733"/>
                <a:gd name="connsiteY0" fmla="*/ 0 h 257442"/>
                <a:gd name="connsiteX1" fmla="*/ 1074012 w 1128733"/>
                <a:gd name="connsiteY1" fmla="*/ 257442 h 257442"/>
                <a:gd name="connsiteX2" fmla="*/ 0 w 1128733"/>
                <a:gd name="connsiteY2" fmla="*/ 257442 h 257442"/>
                <a:gd name="connsiteX3" fmla="*/ 54721 w 1128733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54722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54721 w 1128734"/>
                <a:gd name="connsiteY3" fmla="*/ 0 h 257442"/>
                <a:gd name="connsiteX0" fmla="*/ 1306668 w 1306668"/>
                <a:gd name="connsiteY0" fmla="*/ 0 h 257442"/>
                <a:gd name="connsiteX1" fmla="*/ 1074013 w 1306668"/>
                <a:gd name="connsiteY1" fmla="*/ 257442 h 257442"/>
                <a:gd name="connsiteX2" fmla="*/ 0 w 1306668"/>
                <a:gd name="connsiteY2" fmla="*/ 257442 h 257442"/>
                <a:gd name="connsiteX3" fmla="*/ 54721 w 1306668"/>
                <a:gd name="connsiteY3" fmla="*/ 0 h 257442"/>
                <a:gd name="connsiteX0" fmla="*/ 1306668 w 1306668"/>
                <a:gd name="connsiteY0" fmla="*/ 0 h 257442"/>
                <a:gd name="connsiteX1" fmla="*/ 1251947 w 1306668"/>
                <a:gd name="connsiteY1" fmla="*/ 257442 h 257442"/>
                <a:gd name="connsiteX2" fmla="*/ 0 w 1306668"/>
                <a:gd name="connsiteY2" fmla="*/ 257442 h 257442"/>
                <a:gd name="connsiteX3" fmla="*/ 54721 w 1306668"/>
                <a:gd name="connsiteY3" fmla="*/ 0 h 257442"/>
                <a:gd name="connsiteX0" fmla="*/ 1306668 w 1306668"/>
                <a:gd name="connsiteY0" fmla="*/ 0 h 257442"/>
                <a:gd name="connsiteX1" fmla="*/ 1251947 w 1306668"/>
                <a:gd name="connsiteY1" fmla="*/ 257442 h 257442"/>
                <a:gd name="connsiteX2" fmla="*/ 0 w 1306668"/>
                <a:gd name="connsiteY2" fmla="*/ 257442 h 257442"/>
                <a:gd name="connsiteX3" fmla="*/ 54721 w 1306668"/>
                <a:gd name="connsiteY3" fmla="*/ 0 h 257442"/>
                <a:gd name="connsiteX0" fmla="*/ 1306668 w 1306668"/>
                <a:gd name="connsiteY0" fmla="*/ 0 h 257442"/>
                <a:gd name="connsiteX1" fmla="*/ 1251947 w 1306668"/>
                <a:gd name="connsiteY1" fmla="*/ 257442 h 257442"/>
                <a:gd name="connsiteX2" fmla="*/ 0 w 1306668"/>
                <a:gd name="connsiteY2" fmla="*/ 257442 h 257442"/>
                <a:gd name="connsiteX3" fmla="*/ 54721 w 1306668"/>
                <a:gd name="connsiteY3" fmla="*/ 0 h 257442"/>
                <a:gd name="connsiteX0" fmla="*/ 1510249 w 1510249"/>
                <a:gd name="connsiteY0" fmla="*/ 0 h 257442"/>
                <a:gd name="connsiteX1" fmla="*/ 1251947 w 1510249"/>
                <a:gd name="connsiteY1" fmla="*/ 257442 h 257442"/>
                <a:gd name="connsiteX2" fmla="*/ 0 w 1510249"/>
                <a:gd name="connsiteY2" fmla="*/ 257442 h 257442"/>
                <a:gd name="connsiteX3" fmla="*/ 54721 w 1510249"/>
                <a:gd name="connsiteY3" fmla="*/ 0 h 257442"/>
                <a:gd name="connsiteX0" fmla="*/ 1510249 w 1510249"/>
                <a:gd name="connsiteY0" fmla="*/ 0 h 257442"/>
                <a:gd name="connsiteX1" fmla="*/ 1455528 w 1510249"/>
                <a:gd name="connsiteY1" fmla="*/ 257442 h 257442"/>
                <a:gd name="connsiteX2" fmla="*/ 0 w 1510249"/>
                <a:gd name="connsiteY2" fmla="*/ 257442 h 257442"/>
                <a:gd name="connsiteX3" fmla="*/ 54721 w 1510249"/>
                <a:gd name="connsiteY3" fmla="*/ 0 h 257442"/>
                <a:gd name="connsiteX0" fmla="*/ 1510249 w 1510249"/>
                <a:gd name="connsiteY0" fmla="*/ 0 h 257442"/>
                <a:gd name="connsiteX1" fmla="*/ 1455528 w 1510249"/>
                <a:gd name="connsiteY1" fmla="*/ 257442 h 257442"/>
                <a:gd name="connsiteX2" fmla="*/ 0 w 1510249"/>
                <a:gd name="connsiteY2" fmla="*/ 257442 h 257442"/>
                <a:gd name="connsiteX3" fmla="*/ 54721 w 1510249"/>
                <a:gd name="connsiteY3" fmla="*/ 0 h 257442"/>
                <a:gd name="connsiteX0" fmla="*/ 1510249 w 1510249"/>
                <a:gd name="connsiteY0" fmla="*/ 0 h 257442"/>
                <a:gd name="connsiteX1" fmla="*/ 1455528 w 1510249"/>
                <a:gd name="connsiteY1" fmla="*/ 257442 h 257442"/>
                <a:gd name="connsiteX2" fmla="*/ 0 w 1510249"/>
                <a:gd name="connsiteY2" fmla="*/ 257442 h 257442"/>
                <a:gd name="connsiteX3" fmla="*/ 54721 w 1510249"/>
                <a:gd name="connsiteY3" fmla="*/ 0 h 257442"/>
                <a:gd name="connsiteX0" fmla="*/ 1830849 w 1830849"/>
                <a:gd name="connsiteY0" fmla="*/ 0 h 257442"/>
                <a:gd name="connsiteX1" fmla="*/ 1455528 w 1830849"/>
                <a:gd name="connsiteY1" fmla="*/ 257442 h 257442"/>
                <a:gd name="connsiteX2" fmla="*/ 0 w 1830849"/>
                <a:gd name="connsiteY2" fmla="*/ 257442 h 257442"/>
                <a:gd name="connsiteX3" fmla="*/ 54721 w 1830849"/>
                <a:gd name="connsiteY3" fmla="*/ 0 h 257442"/>
                <a:gd name="connsiteX0" fmla="*/ 1830849 w 1830849"/>
                <a:gd name="connsiteY0" fmla="*/ 0 h 257442"/>
                <a:gd name="connsiteX1" fmla="*/ 1776128 w 1830849"/>
                <a:gd name="connsiteY1" fmla="*/ 257442 h 257442"/>
                <a:gd name="connsiteX2" fmla="*/ 0 w 1830849"/>
                <a:gd name="connsiteY2" fmla="*/ 257442 h 257442"/>
                <a:gd name="connsiteX3" fmla="*/ 54721 w 1830849"/>
                <a:gd name="connsiteY3" fmla="*/ 0 h 257442"/>
                <a:gd name="connsiteX0" fmla="*/ 1830849 w 1830849"/>
                <a:gd name="connsiteY0" fmla="*/ 0 h 257442"/>
                <a:gd name="connsiteX1" fmla="*/ 1776128 w 1830849"/>
                <a:gd name="connsiteY1" fmla="*/ 257442 h 257442"/>
                <a:gd name="connsiteX2" fmla="*/ 0 w 1830849"/>
                <a:gd name="connsiteY2" fmla="*/ 257442 h 257442"/>
                <a:gd name="connsiteX3" fmla="*/ 54721 w 1830849"/>
                <a:gd name="connsiteY3" fmla="*/ 0 h 257442"/>
                <a:gd name="connsiteX0" fmla="*/ 1830849 w 1830849"/>
                <a:gd name="connsiteY0" fmla="*/ 0 h 257442"/>
                <a:gd name="connsiteX1" fmla="*/ 1776128 w 1830849"/>
                <a:gd name="connsiteY1" fmla="*/ 257442 h 257442"/>
                <a:gd name="connsiteX2" fmla="*/ 0 w 1830849"/>
                <a:gd name="connsiteY2" fmla="*/ 257442 h 257442"/>
                <a:gd name="connsiteX3" fmla="*/ 54721 w 1830849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30849" h="257442">
                  <a:moveTo>
                    <a:pt x="1830849" y="0"/>
                  </a:moveTo>
                  <a:lnTo>
                    <a:pt x="1776128" y="257442"/>
                  </a:lnTo>
                  <a:lnTo>
                    <a:pt x="0" y="257442"/>
                  </a:lnTo>
                  <a:lnTo>
                    <a:pt x="54721" y="0"/>
                  </a:lnTo>
                  <a:close/>
                </a:path>
              </a:pathLst>
            </a:custGeom>
            <a:solidFill>
              <a:srgbClr val="B4B4B4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45" name="btfpRunningAgenda2LevelTextRight167877">
              <a:extLst>
                <a:ext uri="{FF2B5EF4-FFF2-40B4-BE49-F238E27FC236}">
                  <a16:creationId xmlns:a16="http://schemas.microsoft.com/office/drawing/2014/main" id="{93CA0D29-76BD-B501-335E-5E31D42CB928}"/>
                </a:ext>
              </a:extLst>
            </p:cNvPr>
            <p:cNvSpPr txBox="1"/>
            <p:nvPr/>
          </p:nvSpPr>
          <p:spPr bwMode="gray">
            <a:xfrm>
              <a:off x="2192938" y="876300"/>
              <a:ext cx="1776128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growth</a:t>
              </a:r>
            </a:p>
          </p:txBody>
        </p:sp>
      </p:grpSp>
      <p:grpSp>
        <p:nvGrpSpPr>
          <p:cNvPr id="51" name="btfpStatusSticker834244">
            <a:extLst>
              <a:ext uri="{FF2B5EF4-FFF2-40B4-BE49-F238E27FC236}">
                <a16:creationId xmlns:a16="http://schemas.microsoft.com/office/drawing/2014/main" id="{FA121C0B-5685-CBB5-71AE-E344E3A9EBB1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7445163" y="955344"/>
            <a:ext cx="2530501" cy="235611"/>
            <a:chOff x="-4448656" y="876300"/>
            <a:chExt cx="2530501" cy="235611"/>
          </a:xfrm>
        </p:grpSpPr>
        <p:sp>
          <p:nvSpPr>
            <p:cNvPr id="49" name="btfpStatusStickerText834244">
              <a:extLst>
                <a:ext uri="{FF2B5EF4-FFF2-40B4-BE49-F238E27FC236}">
                  <a16:creationId xmlns:a16="http://schemas.microsoft.com/office/drawing/2014/main" id="{EC0C656C-B576-8D6E-D342-D98ABB37550C}"/>
                </a:ext>
              </a:extLst>
            </p:cNvPr>
            <p:cNvSpPr txBox="1"/>
            <p:nvPr/>
          </p:nvSpPr>
          <p:spPr bwMode="gray">
            <a:xfrm>
              <a:off x="-4448656" y="876300"/>
              <a:ext cx="2530501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ts val="0"/>
                </a:spcBef>
                <a:buNone/>
              </a:pPr>
              <a:r>
                <a:rPr lang="en-US" sz="1200" b="1" cap="all" spc="450" dirty="0">
                  <a:solidFill>
                    <a:srgbClr val="000000"/>
                  </a:solidFill>
                </a:rPr>
                <a:t>Engineering only</a:t>
              </a:r>
            </a:p>
          </p:txBody>
        </p:sp>
        <p:cxnSp>
          <p:nvCxnSpPr>
            <p:cNvPr id="50" name="btfpStatusStickerLine834244">
              <a:extLst>
                <a:ext uri="{FF2B5EF4-FFF2-40B4-BE49-F238E27FC236}">
                  <a16:creationId xmlns:a16="http://schemas.microsoft.com/office/drawing/2014/main" id="{D0C39EC8-AE12-B9A3-0120-48226B3B7CE9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4448656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7" name="Rectangle 46">
            <a:extLst>
              <a:ext uri="{FF2B5EF4-FFF2-40B4-BE49-F238E27FC236}">
                <a16:creationId xmlns:a16="http://schemas.microsoft.com/office/drawing/2014/main" id="{3C74569E-89B9-25CB-CE1C-AF11B88C7F69}"/>
              </a:ext>
            </a:extLst>
          </p:cNvPr>
          <p:cNvSpPr/>
          <p:nvPr/>
        </p:nvSpPr>
        <p:spPr bwMode="gray">
          <a:xfrm>
            <a:off x="5300420" y="1906320"/>
            <a:ext cx="1929971" cy="4227809"/>
          </a:xfrm>
          <a:prstGeom prst="rect">
            <a:avLst/>
          </a:prstGeom>
          <a:noFill/>
          <a:ln w="12700">
            <a:solidFill>
              <a:schemeClr val="accent3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chemeClr val="tx1"/>
              </a:solidFill>
            </a:endParaRP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7B0E426F-DB60-C747-B052-2BEFC40831D7}"/>
              </a:ext>
            </a:extLst>
          </p:cNvPr>
          <p:cNvSpPr/>
          <p:nvPr/>
        </p:nvSpPr>
        <p:spPr bwMode="gray">
          <a:xfrm>
            <a:off x="10621426" y="808996"/>
            <a:ext cx="1144677" cy="504045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200" dirty="0">
                <a:solidFill>
                  <a:schemeClr val="tx1"/>
                </a:solidFill>
              </a:rPr>
              <a:t>BCN updated 09/13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1032257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35CE8A49-D4F9-81AA-BC9A-243BF22C487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310616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04" imgH="405" progId="TCLayout.ActiveDocument.1">
                  <p:embed/>
                </p:oleObj>
              </mc:Choice>
              <mc:Fallback>
                <p:oleObj name="think-cell Slide" r:id="rId10" imgW="404" imgH="405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CE8A49-D4F9-81AA-BC9A-243BF22C48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btfpMGChart364573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aYhHdubK/b9WYMbiqTQFZNRdTaHJ1Coz+gznC5J29/l+uni9WCTqRMIgVGBy5FSCqTCP+Vdrf4pg20L7fH6DBFZNwM9n1LsUHI9V7RaFmsG0sNQoXSeAHwLHqm09MgcFXN66rU1JBmjj5AdPA9rH9HeMv8yYIzdszzmfS3kUAUZ84ZSOPVl7UlEjx6rw75+MLzc4SLp9Ci5F+Jp6d4/4dTxXpojeD+CY/U6NfngENab6z5pEgfCltXWTBNh+62+cZqjnspSl9gI0RDf4nHe2aTBcjnUADSnuY6Ah0E4CIiiNkboPutm8WDAWbmoouBw/ecy+rr8RxQilCUIH1y+Mmjmkh9VJMClVJT2BabAb8yh4/2Ta3fuMsDjYz3pO1A39IO18LCJ2SlWo1qD9rOg+pe/eirL9gzc4Z7gnjZssjjrUObyYkcSeXF+RW8zRTCLMZLKuFqjBsRNyYrbiZwjj4LSgbGOcZJTcibv5h+DTjPkRTIkJMq2LUICZ8C5kfx0Odon+Kri0f6mQr4o5gIYpltWKoEOCDZEyqs1O0rs38r0m2NYJhRY7jA4qHWfbLk7N9NtjglvWlakQ82b9CFMoHp0xsmOi1Ts1A+QD6W6YHOHwzNsrtkmzQF+57+JCrpP1emoWmd4j+BTzMCwkD7buZ3+KMsh4z3UHLam2EevdzpOmfZ5lIhrAvZILCD1JeMKWIK+gEviD/VqvFOUGf6pNVB8o/RxWgBMAyHLcdjJ2AAb7YHkhch9qNyY/dkFdBZgZRD/+UBQdxVlqAKifYEptjMphoIGJFUQvkj2mhro4g5PuzvJT8opha3HTkNIL8nEs60DppXHiFv1DgWYimxxltqeMsUTvqR+ijINHZbdYRU3Da6i62vRBd4qXBixOzD98giNzXU8pAX7ggBDnhuiOQmEb3FEw1JViVCGeaNNQ5nfwKPLzLrwTFI2/yaAeZso/XDb/N+1zoB9eg4cRfZQt+dzJtOeAokzGXExE966jRD/iFpiotfyu8kqZje7WtdhEVUEUoFGh0WS4Xgv0KS/SHxLAu1x+stus3vMjXV59cWd924G9vARqFOv/05tJNVHXXjQvh3+z/NQo6avtlbwMWtAi4P6URNmS9GXOQGHxDgEjgqYua2JY1CRaDS04IpmQb4sh93/uADYFANRRaBqj9dJUWW0ouYmodtyAx8V+wIhFC1yr5467tbb5SaqDBIHC8OUeV748/vfA6pt67d8gClD3KFj1o529zFNl1n6PqjUaIPNREvkXnEmS94P2tovoKwRvglpsOrJpVtp4I4gvEq6jDEYciBLG+X2DRc/BlnVH7AM7JyJjxn4xGf8Txym0zXc/AW8tYJdkJAWcPX+HZ9v9TLgZr0ES31lwJo00hFE4A5HFljPx8T2Gcsn83uuRMZvCGxiHP2AjrAv06ZW2WoFjFOqfP2ul85Qz8J1GoEVBXL9aPELHYhUY2shRl9n2GBQiEdQYXoedExTu18/yyiYmePbD7CWEGYM/LIC256atQ5Y4vM18IvOfDGsXuOiP4HciYIKQ80fhnbmdWGQ9VJnqeRiOgsdqnH/66FtK49rIIshOCiOYcBGvifbm/C4zWwiMaatgTeFDrfSqYWZ7q+wp9YqUcbBgpzmfx8wLsBPP4TWlo85D4uzVi6j7A7CVJaLHK5g2ipGxDYdLti7WPu6qdZsD2PHEfgWrQ3ZfFOk6F7UkeDqDIESGF9S88zIzDttbJ/iDDfOcb2+TWFrQi2SS/ZCKjIoeyUvopFgbmH19e/q6cgUJhbJAIBzpX6a5Y5OXjKx+hVB0jKQwn5yjyG+cKMxoSyc8O9v1v82J0989kS4wzC7NcC3W+SfzlFz3h90wsmcZbT6/baDM9F+QjJTEdZN8KYiBhhz8cRI6KYPII7flpTeTxVrj1mAXoSOADe013FcgLjzcLFVyMVtxuS8ZXJSuoRAstks8+LZQ6pt/GLyPMCkwKDXth3KrDIgnhdyh/17KKGet1AGrlDvHfB7w7o3k6cConF7CrS7R2Jjr0ert/jXrEOV9GdeP+XqbmjZNsMcztYN2LWvIc3uIoNUwCnNGsSft70XYeKv+t9LGGtQYGvk7BL79s9YfbheDo29tSgcHDBICw2HS7LWrzpBwGd+b8n6DqGo5Ga48139bNsrP85kHhz381aY+gKO0SZqpyGpgUDtz0OyggCZusROcczj1S3v8bs85jaHH3nAIdg93GE+Sxmr9Erv7vYVwMkOEpXTT8hfuFFb5yob2S6yrdJ71Hy2U7Ew/vo5XYMV78rzQOibcmcjGTBra698qIZrGYh9UBV0lL2jFkhYrJClxH/rCMQjNHF+tz0Whd5OQn4NGL1orwEtzgDAMRsWWLi7B04MfRVGYZHTSwVHzDUoFXR8Mlf/WU1WhlCImjmnkrIYaqCTzs4bVNmd1uZfijBTS9ahCSj2cbHzmHtaxAyIiKzgWy8Uo+p795kR/mkTW5iyQWPOnPfs1GOs2QRdJUeviKna1MsJIVbzTTk+tp1B9OhMSVmGYTlxO4p6zWcE9SHH9Lg6mI7s2qny4rSLW0tJ14NnCq0IJvwBbzIWfftuEaGTGzlPFpVyrdmnYr+U3TAtuLGCRAnyGgqfjoULAu1FH1bvJpgI8F33x3/Ru1eXEPsjGOV7/TpJ3aYIINp75nXcfzOYTKSkMk7X0scS8pSUXUz6kwqpbB3+TpbmtOPA0CwMuZe/3egUjg5LoeCCgflhvJbV801Q/OEdfU1f6jo60BF+4b+qvo6iYnut+ExLrKpQyyIFD6Wcriz0u8q4dVNOBAVai9sbkcknqom7POi5gP44X/B8e8zI4ojcpb43DWIglEuqz3+WgASz7yT1SXJrxZ+M1FBx0jitSHNI0VFErnK981xzZRtBpQFn/0XMu+R5XQx3GEqffcbvDphhLN6+94yjjScLQt9iFM5zOwWpJCzHzFYiuBJeFHxWLQ9ERrwYlHLBqC4LQDw1bcQxnCoH9UTNUctg2kl9XIrUq9MXA+oLUmHUSGqapZd9R9g1SGmSSSpl5XwYhSSyMuRmEFfQ5T/TsjCEz5hjVBOVnzY/mj/g6kGWKklzexBygpv/7ysGiV13S7viVGVAefPDiiwCf1ffE+2vazlpOhs6iBIAPOnGwOM02UFIrQIzN3Haxbi91+uq1Wt0WIhGeKQ5ZF4LM60C6xkkfDJcxnZSfX2Lh5GzyKvZJ/tfGS3I0IQktFQQKfJ64j++ZDEpVPgqdTgjX596f8QYxQHYO92eVbZHqKfQumfNnBDQLWUqtjNzyZ/OYhW/bkJrehPBg1SsI+TiWq1/FWmPTI2SdguxJms0CTbyNmj71XBoe/bIfPRon4h0+AcXEDrQSgSs+2CM80yKQP3qLA5W2yPle9xEs3rD+1GCCYUQJbYA505C8cwoaUsF5BSe8Fszyhggx2lIXSPwdGPvcrVs5toNy8JQelWBtKQ3HqoZ8J5YMgGubf9bDw+7JCHMb2YbtIgKNNrAbYYyDORaPfVZYV7wWV/1IryCwj82X6QPlZ7mfrL5Jz46C2k84DME+qgIPqW8+cVBJQA+51M5d+1Pxu3KuRGY7FcApO2x/jRPdvCNMU85VHQiuoLLLULYcM5wNYDNIprP1g1RKHlXIRTQ1DMuXS2YusUFxQVHnprN2oYe0o2iynh/qmGdD6TrEBKXGc8ss7oYrSJ7k9v1276U/FBdwi3eW2or9nJ+iMz6iu8GxN633PNTunZxexJU7kFfhhnkBsV43LPtrr8F8xVtpf5XoF+ctQeJyr1j58HnQHab0S5Y0w3VsjeEVYYYghIeV7h9cEOMmjkNQy2s203hWQcjmlmsXKHRPO5qIwAg81o/Vfy073176ABbQzZwI0+lHdXiR+XtbO9kv/npfBozm4eZ9uoMmExnBh8z9RfFz21BybkVCwFzMgUSTGOZRc8mhSgKbNlvXr5rmjeOB7K1nt+uAtS8nFUu9lv21KAi1SA0qa2Kj6ZlWtVG4oWbH0TO45iC0tURSToqPzLoZidNL+X53gS2WI+TLPLoQH1iBlqsJ7tk3C3ivbImvK5DYSEyMsSa19gZy78dVTOM0TA8m29EXtfMTxFwIrqbC2PVz8UmfZJpCnqoIIeIMB2Xgd0fXQR57Uf+TjTpKaGwJPkAQyv6nvYZ4dhNAptj5EjGxygXBCVIKCqimu1apa6WDAGEia4MrvQqXyStgoA9WfSJtEJdjx8jZ8rWvE2mE0RAS9/cdpO4jD8RH+z2bgpqUdaWJp3L9LRNVWigx+lJHvwJEcm1Wb2niMB60vQ2vvffjneVtT2V4cI1HydVVhx/mFpmeQuZJVjsod7Lu9DNB9A6fcqs+XyUTI0DhRmnSN9zWoCooCdatj4PvxGxYviHrlFoLCMww8ZrGoK12+gaXfiNY/VsL7YxMXUcDvzEo8wCVPiGSE6dhnJEP3g2sQ9/XzVxz2D8UnKrNhad6ebgJUVD3EaJhniFVH9t6X0XFK3kmG4as04SwjB2p3FBe4YuLM21sxyWB9By6KkeBAFUpbCTrufw1KOFaxIsQNEj+LW0sECQ3dn5gZp+4gotM4ez+ClVN8OFFdfT5Gv1EVZwOJej2aJw0T3mrRrSr/XrMXE0Yqg8PoV54EOLxWUejaQtHw4xJb3gBtnhxq7df7PfmBanyVPqM290t6zVCmDvZ+PLpk1J+8Xmm/GVWY1TazODydfoIJUbb40ZBJ50QSejNQy+6QbfNhqQYN39iQH/cM98cVeOH3X7RHLYGs1g/RREF9TDHGit81hEcBQjx7Uz+4HF3pNaU8lCEiI0LjQDb1fvdQLa5r0yhCVpnN5rZge8+HgAZxrR+lrKuXyy7g01JsNhbQu0Uzv0hAjyG0JhoDRBGn3KM4UHWhnoysTTmPmtmL02MZs3fNnTzWIO+oQtHjn97YuGiDfzO8ou9PRow9EDO0J5D+NgOUjGi1/4AqGAD/Ur3WL8NTnUjPSrPa1xjMg6+UD0OyegGFLBBXDMpiI4ZkqM3KJzy3L8CdCgo3gJygHlTS5xUtpTFqEwM+H7igt4i+udixHtAdEYVkedmIyaNxoDIt4APMyxDHYPymlIIXVXvuKHx1RUpMofm0OZ2R6yh6lTvVr1XLGc0G87wyj/h3er+Cx+DFLvS9t4Kt1RCxEDnO0NgttaWygJRVj+48Dkph5Zm17RT5sodNueoulaBNB9FPnzHain/n6/Jq6fMvYqr8BDJe5xfnE6GcaP5ibk8t3Y2va+OoIvLz1HUwnQypvgFTJU7VAil7vrCsjesDDKFw6sEzQlUl1SEzCiUn9O12wdcdj0SB6287CqgfFm1PI4W2he/AehBvJB2aAKfmWlXEXfu/qrVg7dpm2Mr/IRrOCdw9LKqRw2z8GdLLBIJJXlOIyXNZgk0OjOn0daXHS6rD8dZdWh7+4TveCco33egdFS82mgd45MSbiXwVP3Jw+eihswwKiPYykaWZE5woKI1m9HpQqukpqKTyEX2GhTZOLR9L9hbsIa37iK8lXpLy5Ttnln8jCvtgvO5PQQ0aVtyWAFl0Y7ItvZrDj3jh/oLRhoOVrgVbRkNyQW7IpweXungGOPiETxAYupB7fU1pvPSEAPVdgJjGJFy0XyqjdcyS28pG8lHywZtXxIXz1081+A6MDZ41ZrKNoO9kyEGSx18ku6kH3CMdSiZO9MaSOQZx422H67xOXV2P/NMrTFINgiv15lw4VBC2vqpVoyAzKvYM/SuZMu8KIKezrJNRZ3jQFNocJz7EhaHvma969oWZzcnbHxeO22hTFyULv+HT0dcA9URI4/OpIQqUpY41VTO7XwE0StSkr7hBhfXVsBSB/Zlajta3O286wgAKksT+w45+BEgKBS5meaYWr3DAaM0yAkwnktdynKp+2O+clLoJdzQQdhbJMr4dS5Xz8tcNPR7Clt0b6reDUlCxONaeMNp0OW/IJacO4PbZFJtzkEYf53tJubuX00shwVJ8h+ImZQXkkeCzL89KW9hvYzpZesRlsQEpouW0Cw++XPFJikRsgDkchxCcdNZpxiEyogFlMtr3rdFQ8paDJnhQx9amK+dcoZlkU1uUKR8ViPSuBShlQ/XkXkovu3GwCxSagutixL8eWNrrfAk27AEgI62n9zyYVZzpNCJqadah/f+8DHxR6taWuArMDVYhpkSsUddNDtX9cl6e+Z970YC3ZJO0/PHMO9XkYZImGLqT6m3M0NVEK5fbRfwII1CwnCFzklOzVxDb+3rYqCn4JaQwpgRBDFTJL33Le/k668/8rA9NqnPMDynqmWmvHGq8YDGYJcJP73O7922p+WLpofhasRZ8ZG80UnuE3qf4AwhdlENofg8t/LlTl8W7ERBI8DV4kVXuMzCv9RIT1NKoBd3eqOU6CZ2sYwfqSXQNTIEk6TnXwOqgTluWebNwE7aMFmTGhKstJVpZofwriMZrvntUyIo+IHZvNTRO+XR9HlFWqBjJqq50mnbVez6Q6GuSobw+03Je+xhGFAnEOIw6/kIj6UAdwM2IARb46fknva2tISSEX0uWPc+1cnD3wyqYOYJuXz7451Gbwn/s3DdkRQqiS/V4qutStBU/kiSrUK5101/LGLZfNMDp9C/DG+akwEwx1NiaND8UpocjT0wajZ+zl0FgjJwY12yjJAi81K6+qhEJZIyOzlJbEoGtwFCxl8oGwIma41q5P+rImnlxmQb7x//UBwYsmZ9EVttlofoWEAZMsssX2HoiUu6EoTgye26pWbEeUeWxO434CIXMn6ZF6PlrQgzMupKARakPYeLfxzdRMhdBdqQ7qu1Uj21XnNAS6wjRp9uETP0uUL6LOPcsEHoVikrXNL5cDEZ+4LyPcVDHqoc933xMkn/fux3cqXWQwsXU8Bp0hzIoLwS4p/Qe6YouFljkMY0FkDR3ay89qC8ZO4DomNvWuVhMR+WoxMwl/OuQRaJmaju55IMhyXbjZLxSwv/7O3eiaV21o45gYaqxuu+GIrCyM1iTmXqwQKqxsM/jVx80Rm/b4RBu5uV/cr1/DPTuotSLZ8Ck7ADD3VVWLAVhBW3HsMa8vy27BwtO4GfSmrTxhj9BUb/xXAEdCPthG32moYymlDNb3Ex+o9ScJwFKJ5UVT9uKgWuQUErUSmJOLgg5AYBh4uyfKMnKJ25aY4P7PpQiQPbkwUfTWzFOw3hWUAoHr+Res98DmxdrCpbw61hRgLvyQr/zM5/z4WGhqsfwBlK4Cnlf1X3z9jwB1ok2UJBz3LfQ01QslPM9+0BV+6oDgySI4yRxyGkQxcseYdTH/wPBXMRfhQ4LA8bgrUB0jTVTnYkDYT64iTAyPJWQVPQJ/pycrtMDNenOWhxBWblTNlvAEkjchAb5C9UTus4bU/ukGGAtFsLIHugi3Uwww4xkNf9SdI/lAjWOzNM4qgCwrxHhn4LiN6kMPyjd6UneATs0lf0itjetUHgZPxwkrPMFfi1ZkfuaTMltvQIqAyaTOn23+tyEoBqXDpPy2r6ySVU/caSvRoEEboWoAt8MyMPoLNcUs8cz2kLIB4fHpSVblC25uzg9WBwdmHRLjw1B30mYM6Y4TZ6YvIkqDKWeAy+3P6/ZoWuIVwdw5lMRzv6wuyvAM8+lJVAD5KwNEGOWMXsPH5q0/cr5JoDdhVMBsvGbw520SMvvwTYWSl3h+KDO0m4IpEVhJVdQ05UbWOMwkVbSDYheFIew2IDWNMRGxKEAbtIx2Sw8g3TZfmdlPDBLTwftNeLsZvNUQw01ut3TrpgIczubbWPdOqD+gOcyiUA7vo1IKrpm1vEk/dBl5G1HlzyWVf+7slNQ4Eve/bhn2E6iDRfVoNdxOg3waTFngCws7OvkU1uDL5LDk1m4SNW9Alzb2JvMbIOwF/3I5fxzw/W/z4xOMS87x1BqxOHu21rIHWIDH3As0RWvTfG6AA6t7YmSiMu5IUMH7PNhD2glliVTAdR7vbIV3U7+WcK8WgCx2VzGC26mHv+5AHhjepHyhNCd43ea0K1yI2vrEUslI2ALB4u1cJyoWnTOd8mQe5l3LVt0uYSQkEyegI2pkkhq3KqWEfCKu1vM6atJhkHwT9dQsdN2lDqE79HqVOcd9fxMqzpESBWiFPnCizrIUg+3CC7SfYNk78olYtp2HlRkoFN3Sup/aoXz1ekHXhEHJHBNRxaVrdcVLaJ5s/70zmpDweTaTGt+QI19MTNOaCH4xC2z5kO9n9h0dhHAg5meGlflpcri9RTdfpyf15r9xLcDDEJzWtcnOBUHM6M9Tb2Jo8WNXYZ6EXJkkS285pTkWqoi9MvJVfSwIUJCpeff9NIm8Gc1nG2PyTzk68AmaldtNvl57m1ArmRGfZTZ0Q8BWupITP6KZXLrhIFlpQMNGbhcQ+yCc/1GxHqx5NtLoejlXp5CB7lpV9o/dqAbIt5xjXsxgm8HvJabFhR7jYRqByX90uMRFY1t/E9Wiw7HIzVuifH1pTXUZZbK9lm33n/dOc+DsHN9ICEuKblttCL3UwEq1ebj/iU/61X16H0FRh16K48CuixpC51p5z0fVOU+pPkAjc/xOJvR0sa+ZENgCcX0Cx/Ebv6fYTWPi/TSZZq4g0fatOQAMrOWeXLblGkNDsK+UvMYA8+eM3RGEgsn3pMQI9OeGgCNNIih4fAeE/Wpz9ZfP49GtOM5E4gQMxglus9UBfL9biYZUbSw9q5YF8dvObkKMHmnpVg4KIVk1VUctB56Srt9mDOIucZnIn+beR5vd1Xv1NbXX50IffnMGnuf7vG7ctVCtoB6sCOezpE+pyAmumiEsqs060aHLdoZOYBX0lvQ1/rQ2q19SWgZWRxNvHp8jJDo2vQChTbI4ZfQEyMOikFeEoa+iWEcmEf1GTfo/a5BmA/vbpeHJ5IUHTb9bspNLQ72A33VOP9yhj30lu+FHMCUtL6c++sbnI1AVu645+forDiwhTpiTaAqlUBvaM5t4jTae/GV97MYeoCoM58rFVsZT3EG0SMSks2ggrYuqiBjyUTul6NIxPO7iJMP9/TZneSHNNvxBS11leBB/4OUaA2SJKOLKh3gv5sbbPL00pbYHqrw4lyWsLfS1C061mFoSmJtrui6TFZCJwZcR0WG9uxxEP4hRGhznmYU4luEfE/XmhjEh8XPDgz94aU1e3jtcY4HPv4/nzWcoQ4SuBDajuvuWC4CM+D6EfKGGVMDXbZIESYVk+swZB+H5nBaV/rz2F2z3qwlLD9/ssG4gEX8+/2NqIG9LrlWuAqGVOmjk5On17iMudVhPFHhjVDO77u7MKm5l0qEph2JSnVTU+7bXoEMuuBeFleGO/gtFbDqhWiLTxWkFToJISicJ3LhJ1/4VokpzyonbhPN4GDcDawk9D3GUDf20MJXYdVGvtdaakz4HsBNGChkez3nf97ECRsJa8t+b0RrYGC2KQoQNOYST2QpC7VBX6vEJ9UqnwgBB0vhUfdvwvFsfnhIwgqJoyW4Bl91YV69T2VioDgodardZw1XPoAPTofEHHGVTu5BiJ+pMhunwAoZM54nz2mTqd7Y3CL538LSNBJYUhxyqyyVBXdhF74vsgeDk6TTinFqxwHWs4vPyxz3ov17Ee+z+YpzAurTEqklWHpMiuVw0l5EHg+rySJyOv8kNLL+7QDCkIW8pgD9LNfs4HOsWNiymjCZrsKNqzlWGvVkZDMvdsGO0mQMnwNzu5buC9pMw3/Ohu5cSuvaeRM2cUag40ixYAj7kOgFa7ZxTJeQ4H0hsjQYZxSYku+MOjIMHVBBC5XiF4P7znlexulSoWSkSEdec2UN8QQc+g4o8SIizAWNiIqH2s7HHvZWfe2jDHBUh2qvOntMXImtHRbfeQyPpeueMx0L2lYk1JkOQLslqISJ+G3X9LIVi57tAZeR7Nh7Y5ou5HzjjcRuFxl4PZ7k/YfdClXcdJ8XeTXsa2KrYgMY4d6VAF47Q9uUWOH6qKx9pnk4pz2eL2/KXSYgv/qabUSp+q0XPyrWfBx22qECwXtoMjsG8+PmZh5vIO5bHYV60zuxJYSdVDaXRsp5CTDKCCNV3Eqw5L1ZW0DGhV+Qs+MWHI8VCfGtejIKHfWMhKd7dt10bfJuovzFAFiVbq62xxSu66GqFlm8pim9Qc5nSTlPbrSSPKGxl4IM96SobaBaimpLTcZsQnjlBoRSUZf/3yuct/u+go/2lzZZtVWxWkCmciCrSJ3m5rTnRt9kl+OThBfOxvLqQ5aKCT05zLuK6GTCHajzbH3wDf2AqYd93q7fnz5hDONkgvs+xgbhbiJO2Cy0Jd9x+IUjuj6GDpWbCPV7Nkh0StHFHvlXXOkqoHzQgjmZD6efTgs98fSdkgkf8I3aW8OwhcdgUYjMtijQ//zIqepcWcqlfSNw9N7zBpktxRU2Hh1ZRYragMF6LyrmFZPckmHXvQ0DBdDQLBDSZ1YLSYe/MK2npi2WKwSWoM+8dMiRY2swKF9t+hs+lXeRNd2Ahf2LEstEu4e8NvWXU4OI54EDUx/ZZg2Kx6aU+qOX7pSUPqjnFQb4QezhWT7tZDJyEYkFZGwRS1xEPPEUaRpP0lNvoTECQgC3Ih52GZJlnIDLoUpFon2oSWxhhvcnJySQYRxNMEA+gyNI2WxAJ23yoJQqW7ZeyLcir5KnVOy4wRX1gm0jWWoDPqk2dFZ5euPHhus32gc5HcqE9lnWPoXR/5mNl015o3lxVTHjC6Bzg1UboYFqrtx5b8yux8nqim0+/xTg/xaKu40JP9lJu7YJPe1JMpp9KeYEVlGihZ37FHuFg2mYcnoFxvQB1Tc//1rHBJ3UmYTkcqHnvX1hSVC/0RrvTN/25spWkumTKCvMMVICJmX9NqRrF3aAl+9qrwuuyfaMdLlSIVP7IxzvIULImgUONC+Z/Rs8EPXGxLUKI4Yq/xhp0ULZc8FfSHR2oUYR7Z3PEAZsjp+agBE5jB5iXww/5Bs401T2hGjN1n/CD/s5BtmhP7PJfwj3hvsFu7gm15aqwee9JmIoyEiRnY2l26seAY9bJ207p89MjlRMOC9VpydC6hRBwWG2yGQSTWrHIaxTcDMl3HuBE24SVA6uoLrPGtJwXGdJ0VhoskCZjLDTcd/R8hQahXIqthpnfHBTKjbeFfONBsh28Wv2STpFkjb4onqCG6Hu61e8jvKuIrcuMcguT2k0UCdBwImH6Tr3YW1jc/KPmJ4S9VY6d3+oJ7NSWAMw/14l03b7UQhu+JyzfuTL2JsEQ2DXm0DbpGQ/z5DM+Wd51nInMbcIat94pTJw+Pb+kRms+6ymTbnT+Z9X3VI2LBfisod23k4tJhb/Q538fzKJvb5ky0M3F7XE4NS5fAWSyZ14Cuu9G4rW3FShgVR6GHYFHEWFvgiXGilT5qQ6ke6kdYaAwSw6sNhqRcjcoH0mEAqcbOHr2ANhxPdw928PPfPGMvPS9NllFWEFgHqaXEp1lxoULiaky0u2r5p5go/K7V3emmerNrk++yI351EF5nCyfnoQFdv2VnY/vAJzloF7UN8thXdluztP7pPRCigkGgzwOPU5J6dcQm6m0KXeo1NSBXARpeatccJLpoR7ZdJvS+KdSdi3abEQHCze3wj9nZbUktAO/ilVPuRiSrTJLfpCU+9z3GIIVjE5fY+1Er9J1O0l2Raf0Qn8jGvWK3HuFQTItiRFMHcHO694uR4G0GSYagf2PG+QCD35VkeEP/oXjArngH9vZtvwGcilYBDdvENfUOa6Mkr9gfVvO1Cxtl00L1c+kuQIJov2IyLm/3fZb1WGGY8i0p5+vBFiuBd+xD3c4WH8g8EYj01r3JO0/OA7wOjFB1/EILn5C35BushCsdr1+rQFdWRPqOYvKqQzZqkhXALVhVob23ssxTP9KZYhbwtKKA0dXpRsrCb+YBlDmQFt0wShAYa34VbyklupV8eq+uEthTBDSl0XUx1DMe7pUbC1iX0deUW4TbKFzCnGzFU6EljlI11+HrYJUMt7Ps2X1yNusSvvDomlXMX8Q0IDjF7x997sdZRBzuLTmMgA+zpNS9xhatVX+Dr7JL5bDEln7ELtLw3D/Owdk09IzYzrlXpN80/sFjshVG8d5kKtMgtr9t2m+j3joISF8QowvHXZsTs4n9I4hXfltdO07JH8UbOGfDx38eqH/VSWsb1lhQPFZb289Rm/GT6iTHZIdscfJ0/Rkwctlg1jZ2JgNx2lN47eLlqV4LG1ODw6nCh2SWcJIjwlnPIqLoVJE0YjKQ2EAC9tj7DuVHMA5eROgH5Ov7a5U5nl0OdtO36SnXKyQrZupLYzYKi2etoxfYUWfZaRU3naDcjsDpgMdQMkPLf9vVcxIDWj98wraX32NbwJCCH3qOMYIcFcW0m+9jNx5J7aKLWpckfKv7Mbmcmnl8W73jjdWN8ZSHTiQLLak8kSzpip1zSjf9pkpYKLVtq4IR0lfxzlYWGmcnYi7fgpS2cP3bGS5h3cEN4BGV4V3kVm+bpFNBa5/gaxD5CJkuymWnQdf56cnT2SBeFslEU4xOUOQmvw5Aubb7oDLhft2G5Z1RAO+uS43x5sJeGbrZ1zQZTLyWTkQfVTVXNYp+lOGwCN4AVRhjwMTkUBUgmcmpNr0a2x0PiUWHRAhAU2YEBnj3YyGNJ5Kd7XkLGMbfWM2YAxwB/oriy88Kd2JIZYwrVD4UPzU03Hh3F8StF0VJEi9h+s937WBBT8IEbIXmYUjUZUUeiQA0oulYoINUqygyWWIbTlyEp46uOhbwjIX/bP0h9fTN7n4bdpMem2jhkkz65QJCH+hAA1dh6+V92QrUcmE93Gizv2CWAqBp8CjEwPB55y7kZNKnNuBOlwvpSaRRf9WMKvog/ZG+Bepm9JcVQCWnXklZD+hAqM+HpODgcHB6SGcs5yRmOeH9fbN2wmtmSfICdHmL95ENKnJa4Zws7045oJm7FLQJDQbsiimXa2/l1DYxeEOmFqEZPVP+tMnleRdeiatzZngqet4Ev7742EqmWyDIK/DprL7jMLsxcg/ypC6m6inyB0KJ4GhiK41Tc6NeRSvbiGxW6AB2En+d6+tk9hWTfs7zo4NrY06qY1sOqN77qlKlX99qbNLcgSBiOe8QMWs8QvPIGYL5ZW0sNsBqU1alQ77IjB5wu6H82HQpc6BYoU05h/ZdKr71m8kg9htReu57vV8iz+K/yyYPW6Dmmqbe5X0pzMAz/3rjoVYcUHxFm0uxA+HDNQYIiJ++kjRVDtI/ZOWxasJWKdBV6PgI+62tDTSXL80Jf0sjVIyL8lJEd1Rn+Esgb461CyP4xN7+Oygtk+VjqKqjCWMc3/XiMx7S095M1oETOPlyT4kLGfYQRkP26HRpXzoDd2m/jUgLs+NCJkPYqlkc4uU2JyHXUgQD3ixr7nhPFvHa4yB1oxXR9Iz/KJuIySUanUVwsOCwguLj1RNi2Rr4tCtNomMLJBilA6jn5p+uvp9W8JO2R++P/YbBJTU0ArCt97QgmDn9CmS8DE+Ezrn4g8FCrTN+TyeP4jLTWwiLZtNkBGYbYNRlgTEn4RMyQkEvQrBfELhoyd7sJ5bEkqBaVR1EdOEjlAyPDZ96jfWxFcqNwpzE4mPY982DTkumBnuBfQCh2yA4kOCYePCH1ES2sMlnTRzVxFZTk30hMEKkLiz17fRoGm7VYH+HHHB5L4AOUHh3CNHaK2wyxvdkGZR70Fhoawd9n9EbVW8Hd6BvusRrMAbTyXntZQHMoFaCbXrRXjFOr2K5cCd+bLTLlBQx0kZLy6S+iE/nZymIBCHZSL8Y5qs/gCg/HWAxsYK1F7+75jir39LCTNFAACgau/l8SOFFAdPtdi9YTMATOTc4OkLTuK0fQAHiUwxptGAjl1Xqwo3PSNIrNvI2O/+SXVM/4WDB4QiSVYWBvpJrStu9MxME27ssUTDtM/vWxVZzz/GivvA61DGaMAaYr+ioAaKkOBvPDVgHYaYtjG/im8mU7Y/LiHPQaAzfkMvFOOJUL2SdQkcpy6nAbGzVn+hslg+VpiPd+00F3edDSV2O1jVe+I/Q0IX/OxoQyo3qCujo+LPPx3c1PyMeg6V4xRcXxgSm3Ci3lkrjCvY081lv1h/8jFPGrSj/cK+sSPufSGG47glS99ljUunlV3KDMwGs1+414IfU/s+gQnYU9u34cmwQScHeof6REtbiYizTksCmlwRYR5fXg+k1Ust+9yP1shZmhTcbjuG0ZiWBom5lJaolP7eiS2i0FWfJXFvOBoJr6FfoawXSTyCjc0W0YCQ2dhqDIrqzK2EC1RNFcMNaVz/k8SwrvDxmtb0UvYUHhuq9EoIMx8gmwHnWsoCczpmvhn3bgWtvn+KG1gkS45M8dHZn+cpWmgzV4McfmD/Dw5/phmQLDeg2g061hu5+J1KR8kF7e6tAtPpBBb2iNvWFr91vbRLTplcc8ZD/pZ/nbrE7I9CoBhTJQmYtG3xtl5fzfhNJO3FgycmCSBgotLUCvBDdU2Y1tnBZs98xN+8fvrlq5MNTC/DSAu2+LP4jcjMR9HprFAT7KaeHp17VCe/hA4LO7puC79TGMT93NgY3BClSLE/+OkIS4nLBmRpC62Jo53cfr3V1sqJYk5pQ1YTb4/ASA02n48aVY3ES/ObfrU5R57hLFnKH32leTHQvejhgonxM7nb3XVpf1qOVY066oI/a51G3S2WCJph1iwAvK/1iLDJeniYQmN7RtuvkD89RXKm4RIhl5GM+XRDx/6aMfHiK1uYt5NGWzFSvS7AQHae9h12knOY2UUYzIGDtvPTTqm9iDBHm4YUKkmeqW4Y5rAipYzIBSy0XrfJl3rdBFjAqIHhTD5J1cTC10IDyGJUS0LAA+vsIZE3KQwGUGeHtwMmxaWTsGOeQr5GXm7G7uEDri/fXJ6H/M/KWWUxqframbhRLoukTjmbLFq7chg1pOpjzAiMOHCSwWKwDiKbTSPsLv0c0eoshlDCudyl1Ouo8XDipLCv7T3L8GE2Rbkwdv7TQECas6LZIi08GvOr+c2uOjk8CNOvnmmJGYhI5UqLGzp0xgRNmb7dwx15ztMX5WHTP+43an+eMr1BdBnwt6h3rQ7m3coi/FXFS5UjhIOHCxZpqVBiOVL82PqAxCrBJZcSJukYCCXXAAnu77eVJ8Tvl/Oq1DVMpSlYwwnOfsvKlO60O49sQeuYm9tMx6ZuYtEy3/mni2/POYW+ujHf21wof5VdALzha0grdKgJh/lWJkL7L9tmDSHAy06bef1A0GcC8WQCqq0w8kC9FJH0DHHmJpv2SfiglqfeYgL3Vzg3FtleKfSMy/0wZnSdYtceIzzpyBwkM95VQFFcsUVjvSveLJ2JfntYbdzf9HcJHLEjDW9iCM6638uhul2ZJd8o79Lncphj/ue7uYYDHhiDKBgeOo69dhsFrAg4uQ3S0x/eCujh600foDvhdPUVXKH3m4tNdonZlEpv5cpB3k1QtNmPlioqepIMjgZuz299vfCpOPfqO0qAFi2kSPSIg6hBuFQVWveI3kQJ9xGo/XVJ+pGM5ZtgC3fMIUh5MG5GN/FbcBX6iOAYXR303n9QibdqHkmDjkL0W4pj0MV3FZOFuXV5KqKVimd1CVqAGi8QEzOnM72BBjIua8ggJxk8HEOBTLCi2Z6bZeCT+2nHc4e3Vz5DDJSSEd2VNnPIDf5OymsF460D9bUIJO0AlfBXcly6rn2fKuy84UrN5JrH8Ph9CZw/JftPDi8H/onj9qtdPo1WPkbRiUECnHfCU42lf/HPZMcEJPRvnnIZDIYgfSFZT4F2n9KeZCOy6XwVmsEASESdQbk9t0m/P9/omKJCrxejuQqiJ/4ialLVN5l5CNLqXvwviW4sSVrmE0u4rCszdK0/dhaxb5S+IXWCrck0SsmhVUDb6e/to2vyxS2VMOZVO56HS1WAixfFe6XbL3atEqTNDgo3Vb+Pqx9xGkJD2u2ECEWMi9ypYnLMpnrCsPlY0PhHFbiWyd1TBP1/WKPjxxRia0mfgGAmi4jGpwxoqK6AiB1U1eI3PzhxerOfa5HECe7aiFSg6AKdy9SYlM6J7H9NXX6DWfakadcksEK+vsGkldNwfmG8YkEQix2PNSddlWADIjvx1KG5XhyUZWYq8Tg5bB6Twh9niyp94YSThdMhOO4ah9R9eQrowC5DCs9FbwvYYzSHAixPeipY9cxXRgPyX6WSJg3exAwb+JokulsZtyK6CdYsB36u7pLqQgrlP2CUVDFJmp2gTDcSpYtAXiNUb+x39IHfRYAhM39kPt8Z3pTH+DuU9oe9WAhEpKR2NnHuCVE29FZqb/Tirg3ewCOqRQKoMi6FLb7lBCDVk3fB4Buw9GfIZOIqGkkLiAk+dj3Lig/hamRAcQlA00j3EncMHMVw4qdmUz4JJL37VjC7WBhhj3ADMnp8ltqSRPygMAim2IfVOdbUOLaD7blSwxYUTjRpB5MoUbr/bUXoWsSg4wpa7vos7g6fIaH0JRj1ez4yCShIrr9qFXN/HHNBdGcVfxXOI8XhwKCJUBbP+y7RL475dpi2Dxcy5bySn4MJjaQXbL0thFDKc7JgDk0PsCtGkFTYxiRcARMH9+KinXPifv76/1UTR6Cco6pBK1rzpFoq5SwAQD5gXG/vObntPQVQl8qbITGWwhvOjbkawo1kE/w9OlnNXR6cNgLCtDDHKypwV931koEDMbMuhASAQtllzyAI8WVcjUsI7G3C4mkr+KPFiahcOLMdwXg7YXFZgx4CeksrL9vPOXjTQJ88nfM4LOkghKyI82iH/jYIKG2w/maUVHqy2wASsWFWF/5ZZCTVHSw17aguGE6fRhUY9EFsWJsBJ3e96DNF9Fa1Bo6j4fGLzpotfptRJvn+nIasqmcqL3l2JLDs393iWNG3Qjg0vGG6NscLKu7A16tQJKixyH3wV639a1xem6mZePUVuxi9LqjkrhqRHNCkZnQv8zJAPsfk0QwFNeJPD5T2AA+B6cwxM98oHeDsn2xzEXXpmsOJMujXR7kto754sqhFZfQExJcUXt4WU+keetda48z9El5EXatGVZ9i9Hi+HXAw3coM1eSnoBNK2ilWfAm5xU1QxwlaYox1ZdB8jHyNqfLZdyXv0XuKVhrNzC8axpcZMTW1pc1F0S/V3aN8Q/3r6uCjY6NTLqeLu5gFJG371wTzX/kL4IaaSvSetRi7qAQo6z/oLhyirWmPCBO9/I7JsmTLeRe8rccF8LD5MggI515LnMaofmooZl5ciYa1OU9Im3qnnpLI7FbxAEvhR+ahQqyYFFWsIDGivia0Wisqn6ItlI/u28J1zdF/r0MHa0U+g91HL+Wa4gbB+PcOuvptG7GJyWP1WrY4NpVz1YcMD/guAuYsvPN9QcbJVHk8PwKxK04lMi8bixrMFOpcuC+QMcjpUhpOX12zwfybOsoiTulvgRwonyMPoEwud6EY8Xgo0g0GuHknCC9DWjO6CWbvWUTmjCi/euD1D3T8j5P6ocF33OU/Ey8M+GCKwVvKyN6as/yGOzn6CJgmOU0y3JzeNF5YpvZaTP7hPNP1A4psDF0K6sHnDUXGXUPduNBpye6GZGEkNw0C+W4FNASc4FTpU0nlZztPudY3IHqk3aLm0fy290EtOBF+BpT/4E2jH49byoxnIpmXzeN2xv1UII48kM6DTHuRr1pnwgGEsrjrD/KjxBTy3AQ1UoEiT4GDHnS8RLTa4t03TXLVhBctwcl41x4ALw2Z3lpyHn4fUmDv+h4q1xZs6cm5A0fKOZaJtKQm1aZlTRKsOvc0hpoWluCwRFU++0Z76rIu+N57RKEBqf78YzVVUQag5b0RzN9rwZ1yrYCMOzXGieiDZOsgtJGIDglvR1BjuvUk8ZgZTSbJp28OL0cY+JV4ibR3mS6E+9p7CrfqjJ4sASW5EVCZInrnvd7/F927fnQ6o89dnTYrJxzygbeCixfU4sgyKl6Vn25CqQuW4X4bkLT4qd1Zj47smx8tGX1b7Y0zq8TB7rDn81Lax9b1j4sqZqmVAWvjObgriIeNsdYTbNz6t0vBp3Tute81vjFlNGwHwZURVpswLD9h6YqUPU9nVO9bW6moF2UuSj5FO0q5x0UEWwk3zR8UAS3AIDksw2enqXOuHp6m31km4wQWTdbV4Ejz//L5m0IT1INQh5IUME2oH4qaPWsGxIMi3xsY+/REVIyXzsrZSCLsp5OagAQcMO5wbOU/Vy0FQsEEaONXSefxL6ga5OWjefJ+/5RqcTlps3omlT+MJ6vlU9w7ozFYAprh58UMIU1Qfv8QkDEv4kz8FJ4v7rP9hbnNJ6/ie8UBAu/K/dHnShhHBjb9zHKd7edHJsFdq7jnqtDD/JhNJQmkE/L2A+/RgFvd6gkPO8LnpuAP0cDsQH8/BVAU0cT2KbtWYhMCW5TExJdeKf85oMzbNdPPqXopFP4sttRaFZkzfijSz3UnMchCF6cT2ZAHOrsNrvm9oc+nzyIHJmGtt9bUBamcdQqrXK1c6II9kZiYvwAYpRwRVrLy77gMa0WoQn1jgThIiIZIm1lVrQ8r2lgP4xU1kYK7rtZafQG0qliCEAMYnpW40wG+JrnY1HqhThJajuoMDGhOyq611JYhrzMEIPAv8GjJjUjB1DfQia3KB97aWt27xMXpnzImaQbNzg1XJNWsHPBeLQG7+V0MQqw2NAxBXZs2TuTGi/s7CzgY5A+WoJaeC+J2/oJ10Ggs2x1CpoAJcGS/q63BVr/eDw33yMBbUJSU7AHhT2P3A8m1F6IolCQlaF32lFKDdmjhrPnn8/30pz8vBDgNKmQEm/n1b+W+3H4f8/aRjJvrt/DVu/UU6V8z8YftSjNbelFp5pBA38iUSZXTG6VXYFb8DBk79YL+aJcHzZp8DTg2m3LeZqfS7PiifQUJbmdCAS0cMam5NOJ565g6tzVeZVNJ8g5PuRhpdAZN3cym7x2z41TYkm0iko3ix2GQ4n7ksYRGLY1Bz36ja7BkuGlCt2hcMc+4fWlUfKoJYCGQTCHI4k6U03EuoE0XeCZZENthYuLX0rd3JN0XbUMTRoWrsa8CQoPceYUxju+oUa596pEZtFGqAIjK7S05iM3VSr6iAqMU1RBLdTX1FSLT4vU0WXYpbHg1V+OA8nl5Uj3lZ2tveQRU5cj6MPsxvWkVexWRkUDqNG0MGAzdDFNUJRJTuoSItuR9v/GJ1Z9S2NW7+i5P3pXKlRs5P3Odn4MkDKVYZEoqsYGu60BllmU/TDqxpdUoAeoSTj5RzZyhAJQ+IwF5a1PEpUcbumN7QGv/QzJ2zJ2uoI+QKYNVrLIObuRc1aOffgk0mbOW9mRNc+j8cnXc9kgBdFsSXCYa6VmkqrzYMPUaOR0fw5tmQwkM/80FQqsBtt7KIzGt4eZOJwRwdOa0uIrPQ137Mtnt1PWFTfT3gzVXxqXL0wyGfSuOWxnfK5EC6aGb43vyUthVM1m7/5ZDZIWToM69dSTF1qYrp+jzGutmEQHdIrBSeaTrOXGzSQ77nppBulS+/0dLaFr+mdxHk0vAg6ttyQzmzRUovBAspnDzAAbF1whEbSyomnKj6juSZmmAl9fVgfygsd3mILIy7/zKiffcXqsc9S3V+4Gw2TkHjaYAMXTP6/4OsuRHXWQebE4WI1yCJOWsPOF5CKOdLhmj6+ydZXFHvgZrHPtcr4S/XzbY0mW1g9YYMO+cj7Q9yrikUJC/KDTFY6/MSNT1O86v0HLse4Ami4WG9YgqirkyAArceAOiCUoTZZmH/QriuYXpsRM+lflfvXMuDOee3bwupej5EH8hYt1fms2SM5OIe1XC3kc8yI3Q1QHrHbboiOSn/VGK/pyHL/050rskipD+h2PVg1RqSriXz4bwZ98RB981m8P9n2IUAfJkSChZj4Tc2qJB5jI5rAg09MgJ3sPGNkouGSQ/PeryVFIQRF23kJNnnwa0jLFnSwftDwVQCkUtu0KSb/4YHDJQ6XXGfReCnsViMRnepYq7W6AKrHqk2H6pcrVZ5bf9B7HzPzz8GfK7OL09nsjSscnQcS1Tk6uw5vw7EhYeurs3Sjsb+JEp+rpRbN/y/+XoWcmb/wWB8nZwgznlkEqFQ0jNU8+I+xI1wPn1YtM6jB8GDX96hL+bp87cW1Aw8OwCea0Tfiov/nTIL2gE1UKF6vIRUIUkKANt7n1YJaPEzWrEZpdHhEf8lkfoBfuPCMn3o8+JLWmujJMHjRMDdSG7tdTz+2wt0aCFhMT8dEkbQy/ImvtPVrQbGzqkrUUkZL/3X+3IqCo7LKSKGmZL846Q40raoTxQn4ANCcIponDS9jJ4wMmTYXhNNs4OCvg60JmoygtLciSBcldEnA93mmQ6dfMIY3jQpou4n3sFaPIb4nXvL+Ua1e0MUny+qxz4dY/BKJ9gpKyae1AliZfJc/6mT58CGHmjEKrwydUnsVur0ohO4yLrOasgFRJdyveA9SgTIu728AKyz/HgTSyXfI5yu10SPG1m8ZTXKdLwi1Sb4w6YXyWYao7dBDxkh0RpOsfbn8IIZMLNjIxn99BX3Zd+l4XyjARfY2TLc86vuKPjA+bx8lF7s4WMIi9SGZwNiSKg+KooXBk/VOk3FEaostNNJy+Sqqvrwwlnnwrs4gMpMfofhl/H48G7Ls9fmQETE9E8pEUSTqlNZkle8q6qW0Irzzm2PyRdJ5HNxRDRMXx9oIDR5Mob9IfNEu4G5QA2Retg8t3FdpHiJBHbKmgC21M+Sup5biKMMx2MqDSkcymyCLCF/4HbTAe2Wrhvu4wSVp8P2aspRRld4TfLKhFs8V4ew1jY78ipnIHS34L48AxSeY0roHSvMEyl6ei0POc8b3oiVeiywRF2UHUO15k63y/RhRYOtiOP39slUM19I4/oNMc9BBrDiElT+tZ7j06wmTtHsjShAaasadGqwQADIvq/QGD+KF9N9USJQDW3a8ALo+9Q5v3cjgin3FejVLmkosCWY4Uf7xqEDA8aS8vLodzyXyLkiwPPR/saIoVqnVxFKnyUsAE5gK1LCR0FJwxkegAlLhw7FbSe1GDYkT8jfqbWaERy+xr6DXBnRdVVmlFwAAqbv53i/bM4uK819JqWc07FQ8E9QhkCPZ9BEr6Wy0gewp4Niow5HVmSUcuEHGSjguQz9aqpiikRYw0x5SGqydUpOPVDeOnyEMi/XP20y7QUPKk4yxAdTP1Hx16uOmXnQ30PM6qUnZdUmpg+Pqxr/kfsuF/mA5kR8V2obZcPEZExOeN4GjZtoCmdh6EOAK8gUL3aKB7dzEvcchw6Ge7za2OrewjV4PFX7nf5h739d5ZL5WAeMKrVtMJerqA149B4YD+2CB3GdCsMvDKpcGJdZzrgDhr/Sq8z7RYFVbktyF4AELW+dBicxgHh67qhNuaUH9ns8fmk7vO3DpvXlhM4I4IVdwKqWMuJkTCUXxDQyLoBB71TyhGCUESmWNSjg1qf+b15EaJ3/eOg/mkeFmUTYR9em0ZLU2DvVFhJ7lj+LIlNOd1E1cWlflAd1i4eLdwqIMylp73C2z5UxafXzdxybuI8EaSmhR8UvT0pyfe4SWmbe2UlMNFxgmCg2yCkEyMVpqsWvcP7I/ZoF0ceYciaNCt93C6NDg/kpzhTK9u8gG/lUYvGp9/wq9sFhQ1jkPikZGC9VFyoX+ypDBT2oMcKs1MasmjIcVR80xmBjhZRYY5WhgmvD2UYRWSdYLpyJstarCGb1GzJiJZ4Upfhl1Gwjner14Vjh+NteMOLnBh/UM7UGBvwQ5vl9j9HUi9pODMKP2giVe3xOiV6r2TJefsvRk9igteSItcu3nTY04mCtGnQBeGX11VwjuMV2JMOy+fmw7FpXOBPqWz6Hq6tF0Lk4XUe5l95p7P7OBgrrEIVRN5a+ntUL3ubHn29ONJpeHe3aQufTC5jIGuzD9O5cnew2GNYg7U8T3pumpFkowog3HrI2rKz0gUpnXNryIhVxBxYqPQ04cb2SXMenfL9gpmH5Ll4vNS1AgLN1F/Cfx1Xc7mkyDJ4JfTP6h3GGpTHTBiXff/4jJKvvLIs/quJMSCRieVPwxM3mi8cI0OK0UdqJnIoEaF8izijsj0+tDZ4NoG2jhIo813H3c8xc5/wTdT2cif7nRNaxpfv7MLBiRAfhb00OchTiJLD6ecua5PLcc43QBtFYz0PiTBAio+RspjN/m1iO7w16TtNODWDwN+v7t302ViU9j20c5ZejNToshZkDCaCXESGXJWLoRx8WKFe9y3Mv18XOcSCG2n+p54ampBn2eysJp5aiViC5iyCer+rsgKONUGYQBrRkXzUwhIZ/JQzT1k3FcPQbXjrZMmGw0fhPZ6KaQRgCjGoB0r8j6ae3oDTLqUDAMGm5WDn8UJc353MXPUChBmxPcQrOvWSlMH3Q407vu+vPZhLw0Fu00yGkDhEVo+KZKaIxgP80bh0Jjs9/j2GQ1IkGlWP70E1GkWoo2Mqv4iOw+RlW9c+MT9LNxKTE9UV0xR0SxrbCAqYQ8jSNA+5HrLVsk8PQnZKB0CpoM1ju5VtDFFwZP7HRHjltNpk407DSbQBHonu/UEG1eCCkWeGWUmLTJiyusB8KRcCBod6m1q9CTXoyDsZlvZelOoz5XIR9HVHccVK7X3zb66HPwhje0VRzf/fiunXCNSP9052ipwv2QubjTml0hw3svX+zrtZqQQvtHZDBZqUQ07SeXpAl0xyFZOJSL4xrYzTHy4iuzz99yccGzOQBv2r++bbEonko1Y7F6stnSzVC5X0v5tO5Fd97CccKo6T3crzb5A0PZ1xT7JLuxZnieQtjSJmXEKOVekB0J3fAEZScCuVaFVEIuWEXvO/N5F5baoqfmLqw87uEk+SKHPJZfQopdNUqXdvNB9ITwluWD20Pwz6CA9Fu7Vtf9ESCQfKhXrQMjNVIAQH9Dp1vcTtkg6FL4aLo27T8a/JM9Gf1pUAoQ06J0gDz1VhNW6CbNQZcWQU6A5h77MD9nGzIOTXXJts8jaCUxAaf4Tjd53ewQIxLwOszOvlb10QyDLIoG5YlcCemRTwbk8xo9J5rbmE537D7qzZmKgqdz+wY0rl5FjMV3tIYFcNsnTR/fanNVGk8GVqB9UG6Gh7C1nBGMJl2Z3E4/QmTovXNmFSlCcNDJpqzuhSf4LtviS+JHDK48S8WWdCU7xdG02tJuKb4XIzpE/5+wd1ZhkHr89isx9M6PE4SQDNtS4q94YfcSytxvHEDQ8WxeeE/cxCBwXg6QbNN3f/2tT1M1nFMJy/9AlJ68pANh8PkAv+DCL8OgaUCjr2y2R50MqBzrCrc+2pZ9RzE+VNiNsqdAbVcEvzAcUkhGv879iUK9DbDQg5BME0hfewisZqOz/3m/xZ3dN1LqIar1pNefp03JOwiA3eHECr0RixyhPp4QWlP1NMsTIVjWsVone67NyPwtDXrk/pK20KTRRKC/8iSuGwkJpgRk7I5peCC8WrxX1q9pl0qoUjab9UHg7s6jaCURoOCSwWVbUATd+BakLl9v1ox9KBAEpDGR5s5jvDpJIJn+pf4HvuWZHgnQBIus/RQ+hJDFCG/4eKEL80WHQEHo1aRCSOcI3cuO3LtF9djYNaX6e2s1SE+9775iyC5bZUCB3HlSftofVaCb5bmX7VWwn+n32sIiwz4l83f6jcWdliS+FmQElpHAfo+69jBJFC5BHRriVUJmPRCYfgzFEfFUrFY7IbTx4oISQFjCTz5eYZhyL39qazUWzK+aR439z2TZa+9+DOV0mZKXN/sYO89Jmv9jEr/m+wSU//v9a5xPe87TQDG1klehClJz+EoM2GW7KlJ8fLnOVYG4qg0PjVAVizXgGwfD57SEC0dAgsz6nRk4seWsDa4P0iPSFGi//nISweYJlR2eCzzhI1wy0t6w5qYdHfsXLClqCjEKlpPksWYvzXI2dT6rWfq8drPdaUkAGjAunFxVX7iPM67VMHhpVnz2eVSs+tjHQMQKKhDIOzzUrVDvyTUrg0T1MkOt8Gm+d/fdBIYwWh3oeTPmtmntgOUQnbKxFFminyOqt2OEfzzfVQmyk3+Wj3YB+/7lu0tYIk8LDYb1VCySjlcFDhy8g1NXzgHor1+X3NOICuk0FxMlTLn6SGgx2+iug51um9iXr2uQN9+s3rmz+9X3FXuqnlHtc/tMG9vt6Vmt54amyXFqx0VwTkF+mDxZzhoPjog027wKSNb6bYQWzAc6jeohkhWE6TIPD940LUEiNxvR1h06ag4JfP5/ULYrUV178eb1D3FmDOnRHnK0/wkHdNyMBagKaa7qtZgAuOlBVgthCc96IurIXxLozfHW5fQpdpCIT1bpWKYM3xRMman8kb6tW0UU5Y19Pe/PtRPeV+GzpyFw270W+RtodPTvDa6plsnRIGfLtUt9Qzjywp9FQZ8WJgQlXuAAFnaBPS8HBOH3IJoML5ZFnnTECrNvM3eS0U20fYeaMNIl6kxpxaOIlrIaI+fIaOiFs+1aEFDKPWfMTqow4b/K/X4C+XJXOdd5kgegerpdsz1EzRhYaQ4xamytb/QarZvuufxVpa7cPYNgIH+bbVNB0gRVa9S+KGAKXYOOnGkKk0YcvlQDAddEd3RUXGTzNMoo4U9bwG72NF/9J0Kn5r3xjPAOGeD5tO6ZS7oImIS0Ec1VOMm0IGAeFDQKrh3ByyYEKAv2c6DK8owa6YjXnLxs+y7ex0cLge/n2QNTtJ33k8P1kije798cBz4N1CAjj4g+Si3TMu/Kb8fWErOrGxlywsDcuvKpcrzkoICpyVu8B3Uz7BB0iwxuHXNPBwoq+7wOcIwaHtrbxOJ55zDoYxJs5HeNb0hSfINpjRuNI3OnDuJwmvmYo9vqqUCXPK8cFP0fr2aPycy59xO675gv3utxzzJQSoUERlbyoD/z23VjZ++rWcl/xVe41CdVb2JLSzaQTiMso47Q9djQ52BhFW9vDCIObJ6YwseKi99oHPJFqLfnDw1WK7PPW3efDBIiSROYKNXc6dxBT4znDzpa5d9H5ZtJ4oKt0+6xbsizmi5feu/ZjvKJkBmp8R3Pv6UfY7WfZr1jXBo84SUT2KWFG1srCegTpp/5uPISoRl7XpO1ll3buOIOUguhWjdSIYO2y1FZfOHlHfAkQQCGn7rvjv4jseeHFcipcHRoH6rEoHsNU7BS5yDxg9jh0FlupAPGNkivDTzAM9nH3Uz6XvgfIxigbqdhw8qDNhZeWY30OFrp7sGeyFVxNZguNb4/M8AytBwMwW9AX4T1m0YsA1UcIf8QPEm3gpntMMpBEUwnsbRNFl5jpTFYa1NvwIArbAZcOyNhk2GXruvu/i8w35yV1qTsnZwezDLSfL6D/IrBieDiNj6Hf6mvAI1mkxmrWMar4Yt1nm6nJOAYukNaeKR80LxmNAoj/MfX1yz94e/LHh49c4nZpZ9a08TOG1uyGXvifFX+smkffWgUuj7CKgClq2CYotz8SptSC5XuugdzltkBLzFLomtevnIVJafr7Vug7fgktD+Ef6d0NyIuqjt4s9HmhqoPnDnki7m20Pb2j1uZl9Mg1X4mx3WhndWLc3pTFlkuZsckFYBHbB2nd58R3D2OMxUUWG0yrZrdJdS4Lxz3vm/KJ1k4O+P2+a6t1qPOtaUb1yIrb6QVcNqV47AGuBlfuC96J7Qwh5/DCzfO2iCO1avAHAc+d3ecP5R0Vevyo355gz1cGrpaPA/14DvK8vmB1ucfQAP1mzfE95JGQMA2scnFilmB+LUoKshXB+BOxIrmYqVU+BRUpgWk8FHPUB3xBuggYhigmOlUr41risKH2H2EMgdmJHA4Ndyubfie0HsCqOjZndr4eEFM63EIabHkYhuK4hFzZ7xARGCySB+qvtyA1GkHIMZLM3pQJ65EsfUxMwDAajcYfLbN/OFquf4GisXECPtUKQt5NOx0yBk8BFXsNAWat2ME6AORVH8tcgi9PWdtRej20kEluoL6O0D8IFHmXsBxG64+WvG4g89PBdUjL5BzCojIi/VRi/u9FszticLPkU9VyYFPtkorNDxv5CS/Vj6u/7SqWX4RINKxAixOxLO6UvN5xfgMgSzIZLApro+HahDnEkdNvy0vbDjXqByNila3KjtPH70d7ls2nXUIS5zvbo9l+ppG+nAzULC3gdsad0MYsd6w7B6Wuwbs5CbVtPLIxdz12Lr4K/I4TqhJ6OtJPrjDpc6XgcnIRRyavONGKUukdUl2PYjUsoRDsI39W1YhbswkKYgLu1KbcXR7vonAlIy8Uif0Ko6Rl98SX3uaS/AWr9d6uPuTEYJW/Q1Hvbv+32gBDkO30gWd1TAc89L6JbPAt2jwwDF/8RyjD3wbIkOJNtOMzGmHedM6S9+yMklR97pFKYGwh1EIz2R5Fdl2f0u+OmoRsiGfZVZB26uT9V785ZLof1t1kW+xXdkPPhqkiYXcDDbBv6+8GmT+9dI/f704pQDelKWcXx3OYudVJ5coVq6fhVM/oYZhM34N0olgoAh9nO/xpWkb58Cf8JCTLLdnFPUT6DyYqRBfF3X2XswMtKYEwTX4T+gt0tnPyYg1hcnKX6N2zNPw9NTiUnfukh9/WhZ3EVn29E9hq7sHxKBlkGbjICPfFcPwo9e4kCsHctXFHqfUIFE0Q8AFJEwR1qHs4YQQjx1aa/ZDFv208DY2KblveF81I5bd4t+gXIcX+oTJYwZoZuBoSMIChpNUOOwSHf0HLhtGNv+OiRSe5CT2m3wAPJ4AOLHtRmxhrJXDMsYSED6fWcO9CcaUstQ+AX0gB3SWbqlCKS8WFeJ8i1LGLuumd5lLoJJdyDagIHjeXCNwYPOwL2Ez0ZHdecbc0Ne/ksAOQB1RDOiJjRKZcL+8ocTzLJha3PKeZBbEUJawQudr8leMa+KJP81lq6ddLIHihWqPwKKKcbTXh1P6cjl03vuGI4GxC6aq3t0lSV4INInuXGFbTRi+ZTzp/jQpPU6NBw8N2ZeJXH4Ky7JVfLISsN5Mvm14u01sTIeIvZtInsDxj0qpCK+HlRnvjl/6SPZNCk9v6YxdliDP8J2s5TcGV0c2l+8UJcYeR2VD/mnC2J/cDiDAs098Qbtr5YiP/eD+ktUkt2PDi9XCrSdzitf22S0G+wJ4zeDMc7zdgLLpxqfF+MWKE8cV7uE+Xc5zaAPerulcM80CCC20hDVAsMKcszlDO9HSUG63Q6SdNuK7AWugJgnRfBg07k6JJJoNI3MNDVCb8VH6BaWXfFZTZ7zTei9L58qP7ZtsehX57Wan3QTKsAHd0RQWquav6r0u57bUZFMSYZ+sfyc3JlKtbA6ShxG1kN8kakYxPo9e3V4qaPyVJF4vz82nAsf56ILY8R9sINnkMRhpaXztQWa/VC8GZ3Kvodb6YcwB2mtxc04Qq0A8RJvh38Z3/FM7THwix2cQdhv5Mhf50Zf+QBHi42QE6X3vX3tHa1YJOB5In1EBp1SgxtKnw8Klx6wbjQ7SwJzTbon+bafh21g2TRb+W6huMhZx2Bogfxydj2plGgQtec82ipKUshOhYpFgRJ6/VLWpZkt47Nz/U/4s7YKMybXzkhiz4bUDqXAn/vwmKl2If9UNbFSSZyu8APh0Yh5K2SxSBI8eYrH/HjW20s3DbSwVeUe1G1f73iW+cdCqpnUMEC1rVE8YIjMxhXaKQ00Hl4vzA5vhta8Vv561a3Sx8ZBvj9+cSY5738HYfeNwr7hQt2KnOqJl4FuBF0TJkzXMpZEzpQgMRuLDDhcAY4TxGEWIWMJb+52UJbeeh4bVYh6uhH6z2GrdRw/pqdO0B026ARR1uQPkImW5ep5Bms8cAnrhU0Gf+Wi00quecUEEkIq4K+lw6bz4uOcrCSOZj+SwZhxQu6S4Y4AminFrVzZmrsbOXbDZ5qk6ML19FdJEcNzLzNXY+1m998WTV3ASsQKcYyBF3AanI2f1RejfU45nkt9FM6ZntzJSoxgi8IBavRbjY+eOPXM1iiChDOqH8IwWKnh1vLaa2D3aq97xeIAWNcusX2spAU6sj6O8XtXlNgSaH5AJokSqigmiY2joP+XYNTg7expcLdyCX8QTWYiKhmlKiE9tPGhUC6iFYS7dnoJ/5Qswqdk6qFvlMEkMw0xT0ZSuN/NUzYnUxy6vYfhy/kjHh6j9AYpxaQTAzcC1gX+aGF6qL4Jq/5HhlJLzKsn+Xv50HwyM/w5VDQX1ncL09fv0GKlCWQNgdzVajEq9kT+R9aL4BV98S2CfZfQcJVk604Eyr8VEODuO7/FXtuDqv/EZhDgrj3ONX7FWqZbkUrC/FwrvKnofesOA/pArAJ7GjkF8e5HjDPS1WkVV9gUCe29KWgHCDFY5b71/9TsWbR1JNSZicEbNw/noR3kbT14QwHQsFE6O/x/m1i+xLx0bxXU8CAQ2fl77q3YRZZvmobz3W9Ih++gITCu1DpfxGD7BQC+UvrguFr5zc8fIiHVpS5ba2CZsU0qRMTh5m9nclNtXr5dtLZp4OgQQklHwNVEr+FrnOklGW96MQxeUPBXQl2ybmbMTS+flw9k4IYbRHp91fhlJXpiiajyJxT97Q1Zp6JRvWWC2r1+LFTyGxuw01xLgfTcln+GguMO/D+oRte33faIxYQzY5LIGHS9CSGIJzzcVB3jeUzM13kC7bZ3uHyEsuNXF4OvuZboncJq1HHutWfssNXuKlDxqoAxaTf8tpfD5qYU6UAytl88RH9smqkINBPV86irNoH19VaMwK5sWppe/HrlptDx5sGKGotji3gbMgZXUJ0slH7QOfTUbkQpjxyboPgG8l8ad8YJHa6MfNJoarht2r+ifNoRUYIg5ZkHY38vkDLgJepdoJZwDLgRn2zViiSTCYitlaTLLOddUMuU8HlpvjXkQbiwPU1cHuzhWbWgohdf9JQa0rYBsrWpbadIv4bltauO6MyD75GJIneNWW/pfhTTi5T5VkOPQg2/ipOZ68ouujCu1yFMokMsUnjfJgRKB7vNQSdaQfP7xTJLuX6vbdC9CizxlZJ3JRiQN6Yl5R3bxJCaxwuhOW/bPOXLaGEFkDBVJT2TeLeLlTXI69+xzTTruoi36bbHGREinG2u+7H1kOaBIbo44vA6eyyLtM47rAFsIa0U/ACzlBHoY0cgTLo9dwnlFDxCF7oaKbkMOVoqLSYovX6Avm/M8H/JZZdhz1UAGxyq6R8AM9AD8kHNRd3Qq7Vb27PBe/O4Hx+0U2ImXNWcsiqzkLwTpfW4s7e7KlHMDjYXkI9mX0WR9fXTqGLYkRIMOGvFVlrA01bgDRXfHXAVWByJ41RIhsMy89/MCyyoWZfIJ1pIWkWq3namB6W6WFxSdvnmF734gEM7KjBQkjYTx6K+UQltnIz2McCfbIpw0SdcuPDqa5GK4oYPHEeIXYzQhinlC9NLqQoIZSjZOUtIn0IoaVLb86kqh5GyAgAT11r5y4cn2TeuMPYej0d8TeK/A18Blc2t+w2ddVARF+YzrNHSNMBkqRg8u9rsT++kbC2XeiRcVwfRcoEdPqnatH9S1VFew+jGF+JrSuqP0AjGu1NwHRRRZRAvkTCwpyUZg1ZYyAGfH2ow6qhnZ+6H0+v9p+yhPF/zeZRjGEa/LAPT0QtDFH+ymHci3000L2Y9RIeEPHiGgBq5WKq15fePBCn3LpBGCr6fAZIffBolCO7ISptQDrXpOWaSM/6L+lE4v3G2M3/iti/hJPo2oh8NyvGMB++qz2fB9vu21oTyvNzphheXo/KUq3Yav48BZwSQ/Mr/zSqP4fRroILg8LA43ImFAmZhkEOvKrAfCmYwu7nEdfa1ae9jdxcAIpsCzY25MfToYdcQRZ40Br/L9Nop195031Y0ZWWo0EI5XaYz47OvXJO6Pz4yLV4Oe3PDEUqZKXGKb1qPl5LPlozisKTSSRUyDt0PHjypS4loZQi6scgnwgMLsiGP62TLzpk14UBtPI9m8hGlcMFF9KnrzYWXwO302MjDVtSZV0mIdbhYxYsey3YZjX1Gw9DT7xHnn0jlFgiGO55DU7RgiAfNHjOHRTxu7bcXasE3CQhFV4UEU5Qv39FOAzfipdDktLIda5cSrVFgH1zae2KckpKRlgJ79hbgIK6OFEjFxnlAMKr/FAFQ9uooZ+vOj3fp5Jt22IHqA3y3k7jjq+zQ7bjWOMPlEJ/Lpv6ZutV+cQjSmQfMYQwdEa0RVXa1jEgQoVtd4w4haOlNjP44oa2WLT+tHD2YlEOBCy+9CC4EBgGCVQkZ7Q06EfongcZfQgoT/gBIWMxAMdg/auOzLz37bS0plf7mC4T33FU/OXfH2/i0aRcvO2TK13YzT3ixWBDgoLy7iOgPddOyrBUJJ2VsoPTDl8HK36VGdaIu7k2kNqD+QQOlvrRY/ICcbAI4f8qWgWGY4vUhy1VFpx8aadGTkFi1XmjsT45NPQ8ScuvFRlpS4dlXP2Vqylrs5p6zKnctjnerS5tnzh0Nrj3rrDqzXZtNMBfaKFPc3LZDM4q4EcMh5rvMdZ6ETP4hCHBX4LcvaKveRfznWJRp3mcW9b5p+ra98NEUCHA+MuuBJURyD0JQ8yt+61MbRNJviCvdIPz/Pb5bVGz5CR5NEmeiuqQLdqvvolLU/7ldNK9rtCm91BYzjHZ2J0FPmiRfjMKPVnIHgk4LIYOJz59Oj1tk+RPd2wr/GWELa1CgGQ8PjMGKnJh3vvvY83UBlkVBS8xL/VJ+VWnN86Wed8+ryNcZlJAWw13nh6NgJ+MzNGe1d/1nsZWR1RIOoVv19KiNf5/tCebGrqjx+xS+khhVbPcz+sIqWk6SkBl1dO234ky1pJGAigiCFKjcA36tKGFESYU+OCN65Td58vs5VeFYNMUIhmjd6W+hnvWrY6qRMGVphxfPW+V3jqlZUPFIK+rnU0UfHgFZyd+xWOlmtloIYp24iVZhgXW80QpJ/lInHEGx/awRDiGR5FoJG6GdOMh0EgIEako8U25XxYQ0V6GiOwHzbraPwZ/1TwGzggLWAx2oYEcYXnQ5fRgRSviywxTTDuclANEaAjpg7RDTW20jG/W1eGALie4ITCRROHAmHoEk9AAs6v72C1OY1UP/umhPcBAwM6WB4zwiStg5v1jOfh9SQEiXzHhiHJWqkbpwYsCcOQnaqQvkK04ooZXcWQhaGECqtUEchZ1AeaNEMn8Z8wvnEY1tVs+07CuwCVetloFYFmMO3DApLufG84gKbMuZ6sl2ON03WbAORIRkCIDF4VV5mZZImGSPETrtU55VxIRYccFZ3ltuFwzLJrQfwbS2HGjnIfk0ohr9FO2v3tDRCjltUkw/1WIoC/0EHz/HHE8UbkAITmr24QFcxflkMM1y3k6GHkuDwmcnLCjJhVbNNSbRxMfOZ/UwlGcxRZDDtBe9J4kytTgnd2Vb+wg0lFnF+voE9JPFZQuO+fkJ5xVVxOB5Sa70AoE/x5AUwfOAIODrdEOqYXOP+VWospMCFGuI04ZUSV8u//ObgV5vnldraBpdSSbUuYZz0/Wa2YS4AFnyDlt0vprwYTdEP/w4+dlTyqN0IO4k6J8BjRWH/oqS0/ZbMG6sViyFgTsFu+qEyQuDfBg4xDEkuy6Co4052eZ+yuLIpVvOdDdSfIrkBMNnEeGtCdFE9LWG5z0gFgxr8tYuBDCGk49td3XZ7/113L8YAmQsEc5O9hrvfTpkcGuM5YW77UV4kZv3kW35ikqHtYhzF8Ufy/vs1FMQspjB6/buwcNRBIA0vo7Vx2BzZAyuyqtF2qFgBu+x5Th7UujmcvkP4gLsoxrd+spJkJC9xPvOUJ80nYmGLc5Q/KTWUjejhsy0ZvOzGJOuecOiVFW0PZyFq3KxLemRAswmTE9a/AngwJ4XI6YloE7BPtnJQgQo3pHppZWML+cgdv9ODtLjb8d9YAKvxoeUQrN+gG/zAXHbLvX6qvUFsXCJpyiCjpAvDw8P0tqZ8+Rg/uqb+SuLbdi5LFFB/CJw44dA1c+hdUdXrsvW1x/QUniO1h2RCCQLszb7tpqx9VYTjIqaCjOGV27WQvmNiQMvk1OsZOCbbVTwyc5fDIFAg3Y8W5GsRP3UssLkfjEDkpBlfXnK4Yu4ufLy++dUvem97hhLkwinlxPluiFuoYZWozM3tmJ/8mAlutRoAekgsL5RdwkK/YRaxM6rF9t6bl8/1qc/mSWJeoGgXPdmGLXipSYAYkizUFPOAvFVPLq4EfP0Ci8wBIXHqNYp5Gw0x0BWkny0d9mCkEKLi6RMAIB0HqsVO5MclzAu0GzshdJ9E06tHqpkzAl6KeobHCs6iSW9q5m5mISH6MV3zCuiY9M0+tvGWSz6cOZ3ADXu+wGgNuHLLM6dmrmzMN4++ysq8c0XXdXhHJiDSgt/pisDHNkmhsJlH9s15C2C656TVjRVb6dbQt6RT5cW1wElAXl/SaXzoEQVNQBKOuYZVmhOrmFvQ148gJdhi5rVy5kdZsQf8EMid6SBuYA6vlZDJzcY1VrlYjARaHcQvEGo4XxMWvpgcq2btdWykC4H6NhdmpxnAfa7cgNP3VTn/wHuBu+T6GrjKwEcAsL0hR2nhakKRWOBpB6pNFKEBy1aBy5rVP2kKIxYwapluMX3dw/xxR7onjOHj/Z4ClknZwWKrJzRQWKmRQfO+Bk5gBeEfW5hNkTUVasJ6+gwITIfA05t59TeOq2+zNuRQSd58CYUGSE0eJwRJyk5mqRtbQ2rvMw1rIxr2nwx7O7NZ0mR4jj5CwqFPI/MMIhpcabgwnLD23JfIPTKE7rQ13FBF5UScuF/WAwBtKMBjfUp0Z4IPerFIa8Wx0WQcUfWFkjN3Ctso1lj7WjBBIhIGiac8+Q5ouXMZsevky/Z4C+JeM6M7hylNnQ0/vl51RZc6Qpahx8v1lQRuvD260xmc5tCR40wGG9uKUlczAm4RkuW0DjtUbdpZgWDpGCfntijvLQi3FC9HjK0OX4v9GtWSS+r3HtC5EO1C5qYWwzaEVPb5343ZF0EY81c14HaRroxXztUDcgRwrXyJSelcG7B6irq0sKyfZbmzuo15C6JmN0PxUamvcea/EyqejDRGIpy7BphCvo/blyqPRtfTIOHPpML6cChB1RLenPUlmtako8D9WffcviJ/6hxVL7cRPsd6FX/HIqwY0RDJjV9FfeaveeRoLJAI4EtM7MGy3TojwzCD7WsN8nxZzyhWpMWrZcZ+2p2tL7frPOIK8Nu/h9+nGPrALzfjyD+WUD0fMhN2TbOG53NZb6+xVTw2t8ESZIzHCo5PE5NUkkXNpHAdUqecxSOoulGL4xq4B+uZCCR22a/njeNLk2f0HdzPia9GIiVse6xIweeov4xCV+XT2KNVh3LVumX76NQlwHu1OzTAaINb7opwVWKeRmLsbfvSXeT+72SdSZE9j4Aq3PyVHfrMWt9fZ2/1KCcjCySx9QvKvlvgEcZqtWCRiuj60Sj3B707OvgHjhT6nrr0ZtR8fnuWp76J4TvLwdgPL+N4cFXdlH/Tai4JjrovWc1BB6x7jQUTGnyicYQ14AH2rhePPp9x5nfHwLEBc8gJbzgQ92+v5M4k0FrPf3AgowzUEZY7huZqI6C+KNpeihNE6PvXdUPFpTKRAcS9yAaL4piPgOPaVupwTnmuagPSr6kGiWgIRhzucmn45hDBn4sCxacHFEBcsAPqMxQ0B4NnnpaQOa5EBRsrg/MfwnOu9XMXkXZoa8A5Ghq/Ue53WWQwrTVqSmdTrh/FjOu9Rd5shbTPsMdxci/fAFGJxBKn/PtX8YBQZtnba6f1ui1GqrHSqqAWLqC/E09tJo9dq02E9w9WRB6hV/HNMeaUrH6idLiGu+h7WtXu6FlGLRsA788UcDAvO3e0t8kEOzDpjyzFDkmc+2MFoESGqnSoC+QE3PyorNUufR4OweeJXMVNxSx0Z8OLloguIegeQysEq8J4uqOH8LnfJxPR770+YCW4DM3BELqiR05AaCxBqBPW3C6g46U60cgeXqqWSlHps8s0zF4OOHjvx5NgC5RWDIWUsja/7UkJISmfGdWkauBwH7Ajmtr19kijDRpXYlUMdFN4yMlYHQsm4+Ivp0bUS2L9YQuuYl1+mMqIAv9y9C0iGpUW6Z4JIdlZVZDStqgNjv6mPabZcHewz23wmEqACBXcgRtkr4jj08raE8QIf/azjSihGifSiv/aoZLqV8kOOZqmwfH5HVotbaF7suO50A3CPfGSKzybkfpflazkyFOYmk5i8OQ5SFza+A24VgHHgitvjYtCNKtUyvOgAQdvxbCTTecYprEMa6PnSAqsjLlJnIymNzzjBePvQVHK5rFUai4NIcFHJlmocoUTkZvxBah7FNN31+uXYx3l1hGh8wLAKriIOWcZLZOafFyEKIdB4qV0kmaQBQElVep40yXHCvczT0RDT71qhvY0WDAUpR4RtQjkVyLiPoeV7WheEtenCnCeh9Wlht+V7fBPqy6rucA0GZfPtCIa0l6d0T0Mvni+cfinHfc8klEqNPb0o0cPU/3GSiicNT9gqeZk4dlcG2kOomgTT1xTwxQQ8BSR+00qk8EI2++4WL9Qmo3HssJrszxiynv6cEg+2Oz0ClIeYPmtf/7P9jTZMl6x00OPVVLUdNklqSN1fhUzoXQJ7n8tnTuy3trwKqLoQ9kR4jS+lsS10EDweP5iVZhnkIt8r59Kh2pOYHCy0vy3u7p7kf3fFTXkLF5eEyHaJsl2WcLLzQQNvEpR4wpgFqPBFSxl96PpiglzCORwY6R/RYEDO1NGGPRym2pZvDT1yaAZZIu4z8wH0xKhbHEVH2cfnIa90hxzLN7aSJUmTs+34ZP6ZQkJdxDuU/xZK/zYTuJd13lO3qbLJ+zyW+SEeq0T3HnbpJ5WR3HQGiFX4apnelXpZHrC/pBRpf0+dN3y+CLlKNxfwJX7dtQK+lvnS+Xz3eGK/0GxKOVjAqHLrHN7CZX9weug052tzM8rajO/L2x8j8ZUi72YgJCzVYjSF/8//zVNZUXMSeLxwrjLJGUemD7SooHPDngUUqLqcXYO2XGF0P7oCqrvfi0NWekrjvfntODLcbToa3CxoEKc4kZjdkQsKNfToleLaLNwYfXqjQVcPfr37659s/dhVAr4c04iEKNnQAal/tKM+zNIrEtvoZgNFtxKVUeFCVjmSC0CFqw/JrKHOYgy+6pUQGL6ReAFkZSDXfAsrkV68REuBP0FA2+pxSyGRVT0YQFZqRLDzVke2CbHnR6Bj9KakxUllCWQz2vwGp4sTyK3xKbQd1cyhzBdGSirnn/mTbql/bwgg4r/4dOKuL9CaCSCoWHNGHCNMDn1/5J7WVweBfO3vaGH3vmJbhHHPkBjLPb+/PdNyVpb9U47jMU9aTp78CezWwT1tLiBI4UX242ees5f6XESHG8ET2BqsAWGE0Spq5O4ySRX1LX4YqPSCt9U3KsQ1F0bxl1fP8camqxR79n0rs/ExDQlyZut0WPoxpkG2tRTxBARIth8FurZc5S2+wJZ2T8oEBMarnosXv0gYQSJ46q4k2Hcu7ajchfrKBogIGrEgd3iUQrudBQJDjLky6nMGgTZT8pHfxpwkdiowDSoFbjTpUeFkrqN/zQc/9CXPf+rfhAioyi2Tg2XXFKrGwZgqCA1EAFPVJU9uKcFpswAYdsjVrQTUfjHAyEyDNScL+0UEmmjs0oofj4JKeOy4QtKmvtuS0qFSZH76stBRBQQfeNCXVoYTnO4L/B5+3Y+DpZLIC0do+1lrpTCRnD/QYxEI8+hF6rD40mFrifH5N8Hph2nLFrAU1LBykS5EuiOfEKTzVyfrN5xrZCi4h7a1AwzmKaMEXUg0svKACsx1SW0D4IACOksJ1Bfa6ltDow6q4JJRXYclAKdui14BBAkzNK6GGfgI3SQJOU+Zm75udZGoYySaeIwTABY2EOOJylxyn2W6cuthhTrHf9t37Qa/tJNIjO5/aDBqxNYyqzCCAXB6zp/kDl8DuwGRtGkzXE7w4PgSbviAwdwEgy1y4zxllT7bdd6MMqDuSGkk1VBvceNOCs7l6CH3f8Pe2VVHEHlvh5AVaIESEYLliQjy7cAuEUUG1DlUg/OqCrqkZ2D/0b655Mf0a6E7IHIAyKvctONfyfU8iGZKnjjzHusUsBwjpB7k0D2vZiFSEoCNbFKJzFZ8GhgKCG+8hh/nIG0ucFoDQiJ5E4VGwBPDIT0zJtAZBwpZp0/gxNa/5NaOEknhLi1fk3u96Ap4QNJckt8/zmLe5o62CoCQXlt55LU0jUV6aSjs2vZKZo0SDz283djjOY+pIYeaSKkjQeqsNxu3RNngSLa/s97Xb1sBUUQYtF9Ie59pH/5kERz3DYUCv7ppj4YzHtttkxqb33KpVJ5BLNN9MVTWMNGkV9RyErXhWxmjufCpUvsYX5wluWdtjp1ft5yEACAEyQWYVX2MtAIsSjVy2CmIk1r/yahpW9CCdLfXU17Lk06pAhwvuOrXNd7enhM7OfreTJopmpn63WoIBaKUXiOLD2cIzpxCxnesOvrHaiW/1WwL8lMiC4BGx1IgAx7vwXGUM9QzzgWqK82LkDrZh7h6Rbu4kZDyLg98hlr9jaIoVj6WcIVtouVhj2Umc6fj05JUE0c0fzl/2J/gJX4Ui3Jn4jkpvcq/rV1brkI9zxZeUj3znp8QzQq8JKVqw+Ym31sUB+ZN+igZ2T8FBYBSJKFmJ12WblIClJ+oWSGuzN10w83iUebO/vPLLRyrkfCfOJkhmtc2jbD2J1OQ1eLJTFdXJq8K+ll4lQQqJ0CeaJkUpGQSPd9lF+62EWuuqE2LJRpn01aDViE+Azmm/OLoq/4ocKA5qIE954m70Xb2kLNuRibA1Hwbo5qKryKjf4T++S8EVHc0rzMZvyy3WojrnhA04/rDDAsupGI8VpyypGECZs7rigl55VHElmAEUx68qOpzgkah8D16TZwyP5QqdOI8iNldDoVwRvhpOfjd1rJsfqZOYul9ofG9PO4MpqnerEi7f8V+J6TskXwzoeoF3E1ZHrI0I/kpjriSIuKa0G/g/cNK90kwlC54c2gSXfYSDzB7/yTXlJCRzuDn7/CJP3E0oA3NRcBYDVD4O5JoDGB1+PJnpgbXYuLtkGWQyGpetdLnE5a7VOCcy0Lryn99d7b+36cYfrqoswiNd8cmbt+Ay1xhbiL3+rdnOBGaimaXizV3xmJlVG4K5LCZ5qdx4ptn8rvj3gxNWwXFBhIgdf9vIA8lzCKBabxGxl4pLG+xmvuG41bCoP3imS9uc8etHYfd4xXnQ/ZXyd/l7xKvEuki8JyAifqK7q1TJoVZpOaQqhVx4ZWXXZLTo79NEWPXb5tW0/hAZ6DPYMRUO64TaY9+/kEE3miuKzvltyPdd8NnguiGLgxtigMN5bi481k0DhLdl0alE4sLtr1XtDg8VsYHJ/9Q47P0MTnUqtVP0TwEiMBmKtSLQufiw0QRIiTogiv0t8kUguUXSeBpUCMSQg3+N1PdebOPb2QeJMav9BQoYcSR//W8Qdsben87/uIVQP9jk8ZWpL2S/l564SuDclstC2etgYWm3N2lYFlOxLI2QcLZhdiT9tjSwj2IpIf2D8JzW4aqOgpC1T7e7PpWj6bWwXZdl/NR89eWG50j9Rnt49Di3yDbcJEfnRqzkH8DkpdKQeYNQM6MBGegnFj9wiEpuz1IqwRavgFTZTyq/QuqYBdkuQUy2xAl2Ou50/hsm9d71U4id8UStF0wtnc3MRUEOkTxgPIOYA1tN8WxJXxBMgdo+hWFHGOaQxMx/eE5NMCFuWGVD2Be8HgLNEWnHsmVwvLjGVIDZPAX1tbya5+R+6P/lNOASccS+GkXqmEzMIJCNQzUwB1/UPNrGwVOTveon76FtpNOih8cLDoGqWXw2KLUBj4n6cwKRj2K7T3BID7Q8uvJLuPNsCnZFTGscJHVp560ID8eBm4k9lNW1koF2rewM2hQnWI15xAf/VbUJtcQAT7rO34L1rR9Eqr37wpw1PH/lihJ7/58zMTreNE8pv0w84QlSKK+uCxtLPPtaQmbePkPazRaf6kZDBFM7D5i31rtCd/6TH4OrWXrkG1IJRZmaXbJTunBqILBAXyEJDSkEVjoiHDtbeFkuCCg7h1rzH5QbW7AMTfQLZodnk/WMwY0bDkYSpk7RQn2JThKMbpalCgFHueUhJyVAF0M7/2lkQk8+N3hQ5ymC2kzwjOdBi63IOI7fKAMl5+WyNdJO20pNzqufsYLg792iAXS0mpvHsNKMkSxV/SbPZYcVDmMO7EvGo6wVEcHDaVVkkmd0lgBYjadI3rvUnaMsqwQEqatuX3iH8VlEKH2q0JDQgVe65zE+TL1KHEn0InEEmEAUwXsCXsjzhRmgyIZiZlIFf4506ZiabGQPzfv2bYsnYH5L5LI5YRJPQXOkzQ1TVbvoqqgCVZah9tVX5s4Y+PJwQR5bJkMm74YzBBaQl+brup6HbuY6r3Fp3wyBGEFVxCVHXBK1hbRN5rrLhi6BMroWtow9bZ7gBmpY2sMoiYPMCZwm4amVkV+bIzfZ+gAxKBTV1nkcUFvk1ZmKNADWVsfHvBPXfhjCTzBspesm9jZPRMpzfD00Ih66NQfXueLw8ZI5KZgVf5/GDLONjBJx8FxCtrzl7EJeC2UCfmD9mSOYuhgShb5gQb0XjW9adBzZpFkGpBJ+o6aYPRRv/oVGE8nrSuznklZU+SWSewn17DAbztadkceSsn6u115dmulUPmqQHbhuETCiyMICqM0PnWDGB7v62gSDBvuMPhOUOB05ccwYwPFXFIRol/BeQwqmRc8VtbFtGLY0M7G5XmPWEQppEt/aZaoBLAXx5flzaksTxcGsB4V6AQasdzJ94C4KpLv6EDIvubD0lEJbPjWV7pv7kmAhzSB8JTse7afx+/f/ytcJZvsdeMLgCSP3WLvXUtMowjaaD1fmv3HOMbnC6VxEMBw74YSC6lPqzkMNVTIRjSHYHmummDtYgDihGTJJ6M6dJfnADhmhyhJmghoj0roWCtgT5dFQxISEHlhQv+jLO7SFrUcVr9Kpt5ZIMX3U37levnj7DIyZcVhh5z2mha85yC5slFOvcVDgf97c/qFowLTKhvWqOMbzMOxoJqr6gf+Zxjyu98QEgvWkgVNp2kv3KDibwS+csMFkCc6CuNrfQFjrupwqIUk3zqz3shLo3TsT8+5qcG0KT/nYY1Uge+2qGvy2IpCSrCrYbCimJxE2OG4BzGk9ZLXoTrM1QHunIW8Ll28a+C8fCWEh4+DA4cUQXtLBHOt7x9hUDJitNlXfwwJqrXmjElDAKTTLbX7qwTB16igC0zG7lsVQVEEwOrq84M1jle2y8SV/7kRaD5taTgpnxl7UtoA5wkmQa0Pg2xKCfruPRgSv5OUTkoaAoYUcs/MhnbgL2nsJ3yy/tC3uG+i6a/fTilXvuf7i8l4056gmIRgCpL6OOIUsYN4Se5QYaTSZAsgbRuZr6OiY4teGmP+Frk0ae2xa4hG1x3ZTLLjepcnqeUb1W3BN1qHrrjetMEQV1JuWjkKLdAWLsNy7u9qrgD5AYNo3lpB6/dDxqCMwYe8SeQm1ReZqgSRCtmUcN8P20E53EPO5oCuLuOkEbY3tCTSmjgumjWO/v+P+ZEhFF2tbCsb/LKyLZcN/iaCTW5aRjfcG2rSP+dqN6m17NVAtxdDBtY95Uph27Lkj07WTlacgCX44jbAQ3ImQ9eGuJcEfNXE4MDswz/ppf+u566zRTefO0lpRzh7ObuMlxmDoxl3YOP63midkxqk1oi/9XUiPDS6r/I4DU4+wOiTGuZxmnMSfUAuSvNvl9VA6haceItoqLGg2hD2Jir3QFnWNHGK7aMmT88Rlo7ZgYriyD6/g8Q3kmUFeaVSvkptWfRCtA2IBg73miDh46Q7WDjBrLH9oQeLBrHyMOXLH+Jgw2Lfy7/EqH32Jyo8gYE/qAXUxInB/ATnptO/xa0mlabgRLenXOm3mS8BTL8q3cduXUp+BShtNBJ7ltskYIb73VZIbsdcprSHF2ky6y1KpFJDbPS8tPF88MXVv54iadDJ10AgKaNXqv4oXR27xaGQ0QiuzRDvSwiUgfp9eneCLAQXu7I+RnPV9ATimI6a1TB60GTW1ABJP4a3EsdYeRsY1/hVb71oczg3DOn7ci/VHJVSd39dwIAJF+SyC1vMr2KM4chBmivJUu1MXOGV+mJBOwbFCse5yZGpK7EWiAM1YDD8QyGu5ozYSNEiF3Mk70kzMgxIzpXLUvX2X65zMUBvFrKWrJ9woj9WN6A8GESF9ZhjqYTSF/360WVHlmdO5p32op6X/zDv8nJ7CNdfkRylY7cJYk5YWG/J3rdbD+BxEJKdw/c3/pK+MRxJaf4R/qCpBIbcxkBImfuV2UfpBToFk3TpaoZNpRQIaTiDk4xnJw1KWRIw1IPr/Qckxo4hzJYrDLige9DUjykEovTRVetw14XXgTnEs/YM3rJDxBuLC8d1xloXForSkKVq8lvcSR7uJEVTAW2YEXAL52vgfY72pMG/ygDkQxGkU3XSw/RN6sB9o3yQsCrbNatExyxvyaSj464tLWmNxOD8dHVKsRCPUG6DDzznTWKPUBYc9FdbFIAOMhIV50aj+ZXBUzFmcYh1amm+qF2r+fPr7fALHfdYNizqoBirRLDEWUggLMMuZTT6fNjk+XkwCUscjryPq70T5HqfLkJvs3LaBWQEoVDaAylUzcXD+tVXzNZ2dSA8v92k0UiFn1eQtSXIIQEU/UUYphmjlA8KaUOV0wZ+MPT46HOFgQ3g4rYkw/ej3gbx6VEuF50p08on9pr0FuXjvmKfR6LsnP3pq9XgWTVp9iZJ4Kc1Mb+pq52kFBGHrm9wraFyDrr95Zed1TsKmhUJ3LVhMJpLTRaJNn+Qp5hS7ExqDxOEMLe6SGuug3AssunJwK9Ihtkr5giTXLhdUjgVaqdDynJXztde4y9rfBmT0seCsz4y/ZJyZVd5/PamHIusGSe/vDzl4LoZfjNZcfMtvLehkLqqfj5R/3ioidAM4GD97SnIl3w5HX2otP50ho5aiZKbeK2gT5yGAT1O3FtjKfksJGf5k11W98YsskvFCYUoT+qMYTkpFoEpqqPGfHBC2ktsbyOV6d4NagyN9/D8O7fmxvscUD2wWAoJdNlRo70yoJk4Q+JGYHTQg0hKr43fItSS9pd7FiJOYrb+OTghE7VFIhKNdv4f7qbAz//pltnLH1NPV8A5Kxemd47ev2HC/Yrsj8GVa92N+rBSexRafdDBKHfNa6tHX682+1Q+uRsBfhnfmRt9QQWbujAm0vD2/j77FXH+OEz+I33l6ksK5Me3qk1LGpjUIBWbOPmVVgsAxE3v9uEOEaUrhhanYPvmLzhuhQr0kCkakUEHDUfCyDAljt+zOyuA8svy+K8P3qBLOWSDAzg/WcVDANSsWckS27D2JGr1FPHyAOT7rqLQWvcTmmMLv4vb3+VtJ36VtJF+Eb7OdlslXPgMmzmxZHB2ztBpr12ih1/Cq4pI0CC7bDcwl0nel42qfCf3uWkd2TjxfKC8e1AItLKnQ2oz1HApYrjVv0GFVntiUllVD/8Cr6IF0LtJaA9m2kadFZh3arusm/PIDruB8XirOkBLo9rVBE7gtoR5niWVcYeHNzdJBq8OC6H3xko96Bm/m8sc7cZ4nmyG/+wdg24V8Oc+MMu6zs4Cn0oS09OpYf7/qqJlgS8Fjdimsy/grx6t+sCWNcdDvh3a4xVT6Ao4dZOcmnV1f3I/pdpa8AHUkKFGq7D4yuOm5+bv5Crse3Nv7YJrTFsqMkju+FCK5lNhRyyjmZ8xqHfvPa/2wVbqhhxgWosuaTPabv+MkEVP9de/6HdtEk6EBCLg9D0SmS0iSck7nDfkJ3xmiV2dMFU3/XCOjCtTWAvKytOzFQ8AIa4yTmqLmFHwMbPQ3rRLPKx6aVP5lI1TyFkWRkVSJwzdJ8STZNRmk4FhYwNWaKMC9tv4KUn3UqYbYK7belLDBWUH4Cc54+E2YDNQPVzos+++2W7ysycOB+j6Nyj4KAs0clf4/Hrf1sKcCdj4MbIurcoI/aOwrmrnwuw1el3c2bDcI0a2J+BhL1g+jZdWyLStb0d2ISw+W6xN+kLtNqYofyahQq+CNdY8Bckqm5tKOGPIDqPEB5YeDt15YtbGJCGCdtQVyvTAgeJG0zpxWRQtt7YEE/Bq6ZyKDChigLWkoS96YpZVsodcSZ2W+BKNf7jE+3XQTtPj1+SCZ1PZq+ufpXsSiSbeGsv6qn2qZ96r+5gatCBy2Tgcj8c6PX7ZmRWETVoxlJ4UYovl1U3Uw95fn+5D3YokZD5afb8PQqs6A9+0UAbgpTZPMxP/ZrrfOsO3z3iJvkyIPrxS/Yr0uqoXlzR5TOyC899REk+1LCN4PZ0bpj1a50T6tPgNT54T03yM/BXKJB0/X9TGfyARrXP5VyN6G70o3akh0C1r4e1QptelZx8eAPzSDufom2SeGcziU3UZJooMoMgYy1QaRRX+H0OvcmssBckahqwDV27ZE04YUcchJkWsXVHRyyenHaaCJEwzSBr8RaTKez5OCXjqJdUJNhTliddosOQh0xHBmEmaVMWP5ji2AnAJ6fuDCRRD44jSd9xcU38Vs9do/GamtUu36cya+JJXvJ7S7ex6DU0GXpZ1rexU3QG4WgAhjeU0Bvy/FJ73lH4ENBDPznFhqAJGQqUryAJNyUL51E7KV3ZLOY7rLyx0M+sHvlA4a1Qz86S03HSjthNrLV1BMbJelPDLAIqWPkascScXtP2xipgx5xSOBZz2HPX+RZoLypcfiGDi1oQuzbghKI8ISv1+EYQ8A4O3yWSaH1j3H/+Za0hLYDP+0VFeHd4TbU9Nu86Uj25GkfVZ2dbYQzwicjVw8MbZ8RDL6sveh0eAxfL3+jOz/JvYY/MT83EJTF7eXZxp/FkITp5PTn8gazF0v824t9LrSF6CyGENiFvbjWllNgaYsMNIbEAfjUY4OHzaJCjIfK3Ep9O7MEvphKuzm62aX7UdDHjF7UVn9jhCAJM8OcXFU/ZPmcIs6NhB8fXXjlR3Cl3C1YKkXKlClSgTTnfDhKr9tkMH5bGxtugjDDS0V7DO5vRjs04nlKQ04nrI5whchfhbUWOI3LqbyLsJ8asTSBxGRBohLB1ajD6F7ykqTAqnk6Z/6Y2Omm4QtsLiRqc1o/uceZcdDlK4iMu3Het+xjccDLmrmCyrbBuICHPZBjetr9xvrXo78v+GFtxVVNHU7QUSYetVYwRcoGwvI7Fb3PlrCvuGq6Gbw5SWxMN0ZQMvtfiSWrl+/rZIEImisirD6ZVVQXxeJ1culRJIfYqOSy7HH2AaVNnVNTbb3mgbV2LMOeDlWgWqJerbgNmwVV8C/HXmIOFedHt/1GzFfeG3cm7ePcCU/LCSbZjG9++o53C7Z0EuKPuUgMZjBUnk5BzUEEosLuKRY0GlRyvx8faTvkxk9jVLNmm+4vc3lvgWHTHYlJG3UIZnuZ3UXvi3cCWyuRVTlG3Exat7NVgyqf7kGc2ZgZQy+ndQ2bnnABwUvxft/llS1JvGWl2O+Cv1vjQaGxrJPqvbgEojcG5stJL3WFH7oEazClcyDKE/8X9bRe9b/NK+ch//8Jo8RzNDAeFqCuOeETMX/6XUgAg+ZdUIoHZwXmuo3Qyu3R8gUuk+4izzxtvcS6txMaHom8MEjSeaKvayn1tagL0DQwFKISDKSr1y/asgquVI1jqYCPvajIVr+1JXknXgc981OHV9Srp0QYJwpO+vOuL7glwJSbDpI+C01KvoIlifKqwl1MCg6xnen8KZKpaiiu0GBl66nhTP1GsyYcfhKFILW8mwZheQ8UyAXlhNTG28nBwyoZ2J3YyYy3htnxa1dW4WZwxTkb4nzE229Ya2EhhezceDk0cWT5www88RitWJ/hoKPZ5q8wcxjqD5mYL4huYIQpwJo1NUbEKucBFxDHOH/2TKVW+s1ghNG6TO9UC4iGhOtlRELA1Ecgd549Zf2/8j5wlQpfiYEwizPz0BelNr8MQ1ot7laGdb01Fu4r1ZZ53tHOmneuAftgY99a+s4A7yqGm34SiasJRznsSfCBQrV+g+5jGvC49j0LGZMg/ZNwJ0U35jQbdJgyY6uF1sJWnNumMKWIJy3YJJEGYVRFp5vbP+HVthgXDVdTV3lDdfE4TVgXRV3nRlu9hrz9macfbA7fbpzOd6WtRB8o+RlP9LcNw+yyVnvi1g2oOB8Y1613Zx2qC3FmGlcsbZ2lLyT+iIvSsM6LaVIix7ER9syejXv59/Iv3ZQS7P/du6uGox2Rp/T3Y2apUkPjs0ocsGd4mjUd68rpqENDBz7ybyjbOR/E2K16gYQ5ToPDi6ugGR52bi2WxoHhK9ug+UPDybiH2ils8GSCBvs1BlEItArsWh6QoOEf0rgNAdSsMbx6M/FJtVHIX2rKA6fOzX2uFj8iIyurXs0WzsJtTPe2/KB/55PAt9ooP+ZzH3fC0bOWi0ZsZfDYQjvK8dW1vCTt3hur3AqL16wT3LdNIsqrh7qsY7lLLusxx9/SlqId/dAMxUD1eJk+Vn09AwWT1fPu0teiXi52/vbk2boeCrjV2HGPQmjOGu91pn5M7RZMNDjI6POKCQ7aDIKaNG5RCgsqfmcsN5coge+/BjwEGOUQMUjDU4GC4inYCIdKXksF1CfPmOcvZyCXsUVhYy5+x5G8XeAPLYdQfHt7COHrCcaWCbSyEsvh9UEqdv7O82F8vMRH/wUqbjVlB2BElQ3npuHT8iECtu5OHSby0VFo8DWqQLEejKUZiQrC6RmvsayUw1fgM2hNuMBgsk+v9tSgHXUDnCZlhdR+cyYsE8iwLAbjlTNGBwgy5iTNsEuFJVBvgYgxIUap0srtWSYATkjvuCBszFFMaRPwFoi6L3zQ6MObO1YeqaqyD8jTpsV1EcBtIWCrJc8o9+KrfmlRpxh5USGdQoTYzGR1OH6Rww+ZdIB0T+2XrdJ+SaJsl9ULtxuVzGreAGHPqzsFQBEy1n7SmLMzwz9bZADj6xnm2V/z4kU3zRwiI87TVDAnSUBycTT+FyD5+hJJoyhJ6UwqpM6wyfHnP8mmAy1CYch8/N3Epsndh3NzMwUQc3zqW6EItl0U1PPTeLtQiVztpmih4hWnRsUBb95ZQJhqa0PGxCEZcmc7M81zaxFCg8Z+CYe+XI+XbQDfybik+Vn1zGMRJRaVk2vvaBZtR0/NgdmCzlOo2qgWna3oN+w7dkcjqOEoHJXnexQcorEXyK+vfyxj8LZ2IojeW+508sETOQcXLCeMNi33W5ZM4aIG/0hHixI8VNJCM9RsH+dJXZYP4avhgSIerrzAPblxfze3tArwB2y16krDLTrG2ps95bbeodf5miMwV2Wd2Z3kOJJ89hd6CLsuRcUvspc/OBGeMNts+Qnt1MTrout4wZkxDK7NhVWJ63qUmqqMMvfPAsUC24PYsPJ42unZqd/sGRUv7lsAB3kbWlD3ZeUrtvKLyeWzUp/JaQvw7phPprZfMTITFj1+Z5DhSxxai1uERii5NliWVJ1fUFBHoo/NDlJz3ccgMpXan13Y6EIxlfE91ybFVmduNNV2NRQjAmO6vhQooReLkrq/FlgPnHKww3V6jwRu9dPNTF62wHTylaxyra0Ngm9OLkedeXBXYV3CMFduwNEtxRlji2gNLSbPYe1kgzAh+wmMurQWiAYsoj7dtpsosHEZO9ilzxxRBUOQ7myjofHDy1JTfkhxFnL7ZKZ+DLzp5c7Mm5tVhcOg4v0p473ztFMzo84sUMcn/+x6lC5MxQhTSRjxNGrpEYio4EOgd8Zyf2TYiJvF5fDBye06nbt25EGwif2D0d6aW0oDtUOogi+fjF1sv2yi6cgmqy3hx4oAXEGpDRBn9ynsTx5jprkLUr68vaeCqb/wz8O/WcUD5e9ju3+i25w05coKEKaQpyUJcPZYR6Wef3ArMun90IRGfu9EXXarZ2BwVSSaDlYLd0QdVgeaiS5CKC7eoUcW6OxuSxztpD9nP7h/+gnCVYIwDwDBBTDzP7UhYU5k/mbUTePo97D6K9jzn9S3OUAUD4qE1rClknsOEyef2RI+m0LrNTemq9O2P6ohJ6w+xBenrNINhcxhjU2WHXgLv9MGs7bV8I7/s/1OU/DaIedznS/jlXo6dP1D8esGDjRWK3e4rSXNwEAJjMr6zm1CDxSF+4OeoO/fbedcFCqhtH7MeH5EW7sgT7Kc1LVfbfZmJSq2gUhz4twDN0tzSr7GPNwFFwB6wPNIr9Bqjk1f9SXRBRUqxquHYpYr0L66y2WakMWEoLARFtpeTaVKqxstz+qFRKidvwvbYK4Rf1k+bLaG7Mde1Tav2ev9mANQRrVXwIchMVyftuKwq4tT9TmjYisrHKgSQvmdYwhfN+zxm8/PtaTC54N53Iysnmuj1zJc1Hj5+FGv1NTWcy4slCct6BHP9BlVpPd358FEfqKb7UMoU1+rI+D+/s7Lkl67FbP3I1axyTZ0RpqjYXw359bQGw0Kz2XndsSW0ej/ZaSEES9pv7I6G6ouXKovZtkr2kTjIqE2HuZemvIGQqOaxjL41K0ulzap6Suj9ANozF2fDtRp5S4/4sf+V5e86tgy+s1Q4kInIz3sjjg8Yv2kwGFP/562OmmV61aCDhWhD338JiP1UHa7kZOsKWwTauVGhilswjN49PFNbvl3i+5wbI5grii+hn1q1Ooi54A5tkyaHIK2UzzgRPFRavtQRToE9G/D2IHK11UG3z3QbOOQMXC6FlZh/51nY390pefWnqJMhjY8P9/RA6QsyhJyWqiPJ5Oxeuy57JkmCyuhMZLF6flIC2oLD9lTuzN4U3PBi5MSPC6PadSG1/MfHpLrpDDGoVyGUj5s2USKSiwzVdTnj+fthC5sHiL90RMLsGsJtndW7wOBGnmXL5Cvzc29S5uj19m/sXznIhweEOSI/QI+2sXYrMaUpiPA380zkyYHqV+gyNjZlMymavuqPp23MTlNSTRh5G+GwGnu0rWo82LKiKvlptpVi5ghhy7MccXKKiQGEiYKLx9+pPaV6smSYOyHq7gcGlfKArpSIs5A842lgDEUxaeXimrgRTmYvW5jucpX+RyuCP5qbLMIsqgx7jVFuGLjm6jIZg4dut5l1uApypWmDJfctcgK0nRbx9BOp1vnltZr+D63f35c0eN+7W7KoMfOAGsyEWiG5GqZRomh4oYS93/sf+qPq6u/FCVmWjhD4iDcRR8G0xHEJoxtpoUBHV8BuKdpEfJ8fRJ36/EuTAI0X7FWh6LmPUkFukY6PoOyNyrvvxKRng9RIJhWjytlWSEUXetsECAeTlWHxfWiGS75BYakDNb2qEEeyXQtl5I1fzciilUMLi/h0GDGckicDylCdaXy7pWBSbP5pzYKnXxlBUU0GJQTzdYLvIDwiD9EH7MKdpwFztdZdmPXtfXeLst3ZYMHOoEMR1wjIJ6yqMEH60z5bvmjmoa7muoxoXwvCL6+QVOVIErYl0huEVU9Kq6LiYD9bETfl2wwtoHn5EX1e5Ix2nBMX7zALr+zi54xZMl1VPY/y/szOVQIzkaqImQPj05ue7LHNoZ+S2Wr9WmOGbSC7rE5whhuQBzYsc8b7RNu/Ja75wbr+NSJ6QwD+OUK25xLaEG8Q1JWppSSFTWWj4P5n7bZKhs6BU6oN/v7tfGRX0hG/m9lE4ZhvLOs8L4KAGPsI4i+9PJ43GQzmNFIJ39F1nDlV8vt+iqOlVWc2bRJ8t4izYUMfHyLsj2aQJ4PbR9YH9/+ca8L3mFIz5mCgIXyH1JjS486+YSDfMtbDNKKSDozF2ZaZKELnYZCKlsbhVr6hWNYbgAQgr+NfiJgro6WQP6Rl4TppFm2ZJP9aavAKBY6cIqEufEandWMqQu4ouQ8QNJcjZHkSBmnzqdcWCqEPa2EhZr/Z8JvWAxGjmc+9YFckMRQP6nrnua+SOlOUIEzxzjp16sSwAqVKHdqDJXROyYnFnqX20N+w/lt00YrG6KaT0JqTSViwgd8rq6CFBVXW48CiwPfP2BmVB5rrWaZ9FIgrxlURmhqsdeqWs2iFJnX8mWokSF/urNHbAsp7UdNDQ5pWrvcdlhOSoSDJ6g7uGvLjedQJ+ACqfSrooZjSR0EEiLue9H9cAhZcLm6nhOjdDsfXCPaaFkUFiq2Bm44H9U0ANWQg0SiwoQF+mwyk73+GawPx64bWkXnrhbb57QI5Gs/MAQVbxJBGu0Rf1JIjxDjgH1uw3sPh2CAGe4++BAkPNNP8B4kfWLXedIAeG6bj9MJ0KoE8r4AOfipUWpZtCVNnFewjJkJU8AohhPu6APcj2Rc2P+fcM6nZo7P+U7VeUScDkP96VW4IyuZP3/HhBsQcL0fiBXcr66RJv1Islr7gJyxzgztVgHuYZ20lGFVp1O6LeQk/QOirAQGFCvXt3Ma3EZEJVure4PxKNTqzrb9WMkhof6IY3l1ixGQFBiEAOydrGLFKaiCHqP7EC4IhztdB/oOelTiUypOvDZUKjAmfnZNvOwbcVHL3fQhmwjgX7tWi6xmF761rg32p6yK7eVg2XqbZAQ0i/xj8Dics9bRhVYKZ7UnVuq7/J6FrDhwyQVHDDTGqXZ4cgY/+LzUF3F+Lt3zcobtBoABbqgciuKUYr6XXP1URT5mPUkvP1XjQyDUeCXs8xqPHDs2LNUMuPqxwFLmw4+glFkADDTHP2BeyMIaF5WNEIAVSiDH3mcNRwkP3G4tYUebktlr0WYeo5swVvjcnDf2V6DQa8ribledit5ZvY0wBt1ANsEyWZAfn2TDwxhME7T+DQQoy13vBJgGzuijCdtPOnRIH0kqdyL4FoPOS/aLkdpMGtpj1cgjOst0Z9CZ6XwtbpwP0Y7QP+T5EALb5vZXbsqYiQVE98bGUHEaBF2Xrvyn7FU9LnS2Gtckmf1a7crF2RYOTHQ+2KJqewBNcirCQWDE9ulnO2spXor/ATX5sAJjPQ3xz3LXB5uLCHhhf0QOVYpLqXpDz8S+aO2h0jsugH3Ztvh4HV3hdOhK/LYU9ollj8szx/Cgcoc2Q7caeq8FK6K0r3IFSaJ0kbe5JhtRas/zryUW+Ks+Dj8PVHJxNNrpSVcbw/Ol91lKzUb7W1SGuy+sWuM3QkyD74DoaryBF9UX8bHg9jiE1MTIWB4FHaMgCgSTBM78crxZEt6SV+JxCu0x0PJxTNUg2Agpv7vUJbra1tPGc1csrWuOId3WfrqU0kUOBovb6Z7UTiyWcIhU9XdNRkkrkVNwvk4+YFS+CtzjWWBkCFU2ErSX0dzH7w1oROgR3cN7IuRrrn3zG1qsEzV6jpSFOGxVlhqiaFsFohmH9xCjULpYGihxBe3JEsm0yfmlkwe99iuTo8lugWeZEu9+6Tb8Cg0z2+9Rd2y6K/VMbq9uzCfIvTWS/gNCL4hAgY174exSW8eGffvIkN0XdKo0dOkVGqinGVkUC3YxuHgGTZfhsPNeT3gKhbrorCOV7uz11jr7os690h929qZxmc0AUkjO921QXNhBSjJqCFiQ4RoBrbl5T1fEhYbdHmpK2uf0aYt8tc53ry1XvRV1VJR5A6HneZq42ynjXj1fkGKtl4DhasTSeZCCJIY6gZciy5Mju0gFYxSUifgolq7Sbtn+BhX0yLiCcJ8pOjTgj+tnT+ASEG1mvYkG6fI6JhIilbNmx8VY8yTEMXDArya2B9qrg6PXACsG9vyal+hqbuNiYD98wUYH4eUGFMzWqI1YBjIVPGly6VckzONMm1YmSiNKpYIsXj3uvpBeaXu3CMFLLcUOtVuLSxuuwN5vBF5oxrD1imVHsDgY076QgJu+PpqEM1O7xPJb8zIlwODknHQbycdy3RuANXdRMjqdsuvrNWQCRaGaAfJstlADVFRZCC+NrJEVpeUejs87LJOeX2oJMlkHqKBE2iKF17DCGzyEla6UfKkTzV5Ax4O0zRkAz0/wkLr12LcHngySLc81SHsV87zu4hxcOygMfKfSJMqh1iOSlURigpB+8FZXV6YW4IStr9j68oLTqozNm350=" title="Mekko Graphics Chart"/>
          <p:cNvSpPr>
            <a:spLocks noChangeAspect="1"/>
          </p:cNvSpPr>
          <p:nvPr>
            <p:custDataLst>
              <p:tags r:id="rId3"/>
            </p:custDataLst>
          </p:nvPr>
        </p:nvSpPr>
        <p:spPr bwMode="gray">
          <a:xfrm>
            <a:off x="330200" y="1263858"/>
            <a:ext cx="11522075" cy="5098767"/>
          </a:xfrm>
          <a:prstGeom prst="rect">
            <a:avLst/>
          </a:prstGeom>
          <a:blipFill>
            <a:blip r:embed="rId12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>
              <a:solidFill>
                <a:schemeClr val="tx1"/>
              </a:solidFill>
            </a:endParaRPr>
          </a:p>
        </p:txBody>
      </p:sp>
      <p:grpSp>
        <p:nvGrpSpPr>
          <p:cNvPr id="34" name="btfpColumnIndicatorGroup2">
            <a:extLst>
              <a:ext uri="{FF2B5EF4-FFF2-40B4-BE49-F238E27FC236}">
                <a16:creationId xmlns:a16="http://schemas.microsoft.com/office/drawing/2014/main" id="{BE19306E-84D4-4FB1-899A-B0E60C385996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5" name="btfpColumnGapBlocker806194">
              <a:extLst>
                <a:ext uri="{FF2B5EF4-FFF2-40B4-BE49-F238E27FC236}">
                  <a16:creationId xmlns:a16="http://schemas.microsoft.com/office/drawing/2014/main" id="{981BC3E7-65E2-432C-8A79-1A705606EAED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3" name="btfpColumnGapBlocker137964">
              <a:extLst>
                <a:ext uri="{FF2B5EF4-FFF2-40B4-BE49-F238E27FC236}">
                  <a16:creationId xmlns:a16="http://schemas.microsoft.com/office/drawing/2014/main" id="{782DF870-C99D-4D4D-86B2-C7CE592202AC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1" name="btfpColumnIndicator630577">
              <a:extLst>
                <a:ext uri="{FF2B5EF4-FFF2-40B4-BE49-F238E27FC236}">
                  <a16:creationId xmlns:a16="http://schemas.microsoft.com/office/drawing/2014/main" id="{39872F58-A2E6-4A12-8084-775138988527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btfpColumnIndicator763289">
              <a:extLst>
                <a:ext uri="{FF2B5EF4-FFF2-40B4-BE49-F238E27FC236}">
                  <a16:creationId xmlns:a16="http://schemas.microsoft.com/office/drawing/2014/main" id="{B34F2168-F08D-4532-A141-8C0D9853E415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" name="btfpColumnIndicatorGroup1">
            <a:extLst>
              <a:ext uri="{FF2B5EF4-FFF2-40B4-BE49-F238E27FC236}">
                <a16:creationId xmlns:a16="http://schemas.microsoft.com/office/drawing/2014/main" id="{FFF8CE08-B043-4AF6-9195-0D50B022A3E0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4" name="btfpColumnGapBlocker930431">
              <a:extLst>
                <a:ext uri="{FF2B5EF4-FFF2-40B4-BE49-F238E27FC236}">
                  <a16:creationId xmlns:a16="http://schemas.microsoft.com/office/drawing/2014/main" id="{1263D285-5420-41B6-9CF3-59ED4D0464D7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2" name="btfpColumnGapBlocker729661">
              <a:extLst>
                <a:ext uri="{FF2B5EF4-FFF2-40B4-BE49-F238E27FC236}">
                  <a16:creationId xmlns:a16="http://schemas.microsoft.com/office/drawing/2014/main" id="{CB441BF0-BEF1-4C55-A017-125A36713C6C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0" name="btfpColumnIndicator756215">
              <a:extLst>
                <a:ext uri="{FF2B5EF4-FFF2-40B4-BE49-F238E27FC236}">
                  <a16:creationId xmlns:a16="http://schemas.microsoft.com/office/drawing/2014/main" id="{7A9A1E13-92B3-4AB1-A260-3BC7A512C8EC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251637">
              <a:extLst>
                <a:ext uri="{FF2B5EF4-FFF2-40B4-BE49-F238E27FC236}">
                  <a16:creationId xmlns:a16="http://schemas.microsoft.com/office/drawing/2014/main" id="{1094D43F-0079-4FF1-B2FE-24641E06DE9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rget noted relatively lower avg. attrition of ~10% amongst the peers during ’19-’23; Most players noted ~10-20% avg. attrition during same period</a:t>
            </a:r>
            <a:endParaRPr lang="en-US" b="1" dirty="0">
              <a:solidFill>
                <a:srgbClr val="FF0000"/>
              </a:solidFill>
              <a:highlight>
                <a:srgbClr val="FFFFFF"/>
              </a:highlight>
            </a:endParaRPr>
          </a:p>
        </p:txBody>
      </p:sp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1323045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>
                <a:solidFill>
                  <a:srgbClr val="FFFFFF">
                    <a:alpha val="0"/>
                  </a:srgbClr>
                </a:solidFill>
              </a:rPr>
              <a:t>overall_0_132369400448093052 columns_1_132369395311061635 6_1_132369395462319733 9_1_132369395678315682 16_1_132369400850514128 19_1_132369402721137072 14_1_132369642836221605 17_1_132370424181034390 </a:t>
            </a:r>
          </a:p>
        </p:txBody>
      </p:sp>
      <p:grpSp>
        <p:nvGrpSpPr>
          <p:cNvPr id="6" name="btfpStatusSticker516933"/>
          <p:cNvGrpSpPr/>
          <p:nvPr>
            <p:custDataLst>
              <p:tags r:id="rId4"/>
            </p:custDataLst>
          </p:nvPr>
        </p:nvGrpSpPr>
        <p:grpSpPr>
          <a:xfrm>
            <a:off x="10102664" y="955344"/>
            <a:ext cx="1759136" cy="235611"/>
            <a:chOff x="10102664" y="955344"/>
            <a:chExt cx="1759136" cy="235611"/>
          </a:xfrm>
        </p:grpSpPr>
        <p:sp>
          <p:nvSpPr>
            <p:cNvPr id="4" name="btfpStatusStickerText516933"/>
            <p:cNvSpPr txBox="1"/>
            <p:nvPr/>
          </p:nvSpPr>
          <p:spPr bwMode="gray">
            <a:xfrm>
              <a:off x="10102664" y="955344"/>
              <a:ext cx="1759136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ct val="0"/>
                </a:spcBef>
                <a:buNone/>
              </a:pPr>
              <a:r>
                <a:rPr lang="en-US" sz="1200" b="1" cap="all" spc="450">
                  <a:solidFill>
                    <a:srgbClr val="000000"/>
                  </a:solidFill>
                </a:rPr>
                <a:t>Directional</a:t>
              </a:r>
            </a:p>
          </p:txBody>
        </p:sp>
        <p:cxnSp>
          <p:nvCxnSpPr>
            <p:cNvPr id="5" name="btfpStatusStickerLine516933"/>
            <p:cNvCxnSpPr/>
            <p:nvPr/>
          </p:nvCxnSpPr>
          <p:spPr bwMode="gray">
            <a:xfrm rot="720000" flipH="1">
              <a:off x="10102664" y="955344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2" name="btfpNotesBox983380">
            <a:extLst>
              <a:ext uri="{FF2B5EF4-FFF2-40B4-BE49-F238E27FC236}">
                <a16:creationId xmlns:a16="http://schemas.microsoft.com/office/drawing/2014/main" id="{6BB588EB-5D4F-4A9F-8FEB-39C5BA242817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gray">
          <a:xfrm>
            <a:off x="330200" y="6315437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ct val="0"/>
              </a:spcBef>
              <a:buNone/>
            </a:pPr>
            <a:r>
              <a:rPr lang="en-US" sz="800">
                <a:solidFill>
                  <a:srgbClr val="000000"/>
                </a:solidFill>
              </a:rPr>
              <a:t>Note: Irrelevant profiles (interns, former, retired employees) have been excluded; 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ttrition rate calculated by dividing total number of exits in a year by the employee base at the start of the year </a:t>
            </a:r>
            <a:r>
              <a:rPr lang="en-GB" sz="800">
                <a:solidFill>
                  <a:srgbClr val="000000"/>
                </a:solidFill>
                <a:latin typeface="Arial"/>
              </a:rPr>
              <a:t>for the given year; Bars sorted basis</a:t>
            </a:r>
            <a:br>
              <a:rPr lang="en-GB" sz="800">
                <a:solidFill>
                  <a:srgbClr val="000000"/>
                </a:solidFill>
                <a:latin typeface="Arial"/>
              </a:rPr>
            </a:br>
            <a:r>
              <a:rPr lang="en-GB" sz="800">
                <a:solidFill>
                  <a:srgbClr val="000000"/>
                </a:solidFill>
                <a:latin typeface="Arial"/>
              </a:rPr>
              <a:t>average attrition | </a:t>
            </a:r>
            <a:r>
              <a:rPr lang="en-US" sz="800">
                <a:solidFill>
                  <a:srgbClr val="000000"/>
                </a:solidFill>
              </a:rPr>
              <a:t>Source: </a:t>
            </a:r>
            <a:r>
              <a:rPr lang="en-US" sz="800"/>
              <a:t>Aura, Bain analysis</a:t>
            </a:r>
          </a:p>
        </p:txBody>
      </p:sp>
      <p:grpSp>
        <p:nvGrpSpPr>
          <p:cNvPr id="57" name="btfpRunningAgenda2Level175785">
            <a:extLst>
              <a:ext uri="{FF2B5EF4-FFF2-40B4-BE49-F238E27FC236}">
                <a16:creationId xmlns:a16="http://schemas.microsoft.com/office/drawing/2014/main" id="{A4606E8E-1953-70E3-7940-24FE9A77284F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0" y="944429"/>
            <a:ext cx="4305724" cy="257443"/>
            <a:chOff x="0" y="876300"/>
            <a:chExt cx="4305724" cy="257443"/>
          </a:xfrm>
        </p:grpSpPr>
        <p:sp>
          <p:nvSpPr>
            <p:cNvPr id="54" name="btfpRunningAgenda2LevelBarLeft175785">
              <a:extLst>
                <a:ext uri="{FF2B5EF4-FFF2-40B4-BE49-F238E27FC236}">
                  <a16:creationId xmlns:a16="http://schemas.microsoft.com/office/drawing/2014/main" id="{D4C80DFC-66EB-6B7C-EA1A-4021A5F66E70}"/>
                </a:ext>
              </a:extLst>
            </p:cNvPr>
            <p:cNvSpPr/>
            <p:nvPr/>
          </p:nvSpPr>
          <p:spPr bwMode="gray">
            <a:xfrm>
              <a:off x="0" y="876300"/>
              <a:ext cx="2327781" cy="257443"/>
            </a:xfrm>
            <a:custGeom>
              <a:avLst/>
              <a:gdLst/>
              <a:ahLst/>
              <a:cxnLst/>
              <a:rect l="0" t="0" r="0" b="0"/>
              <a:pathLst>
                <a:path w="2327781" h="257443">
                  <a:moveTo>
                    <a:pt x="0" y="0"/>
                  </a:moveTo>
                  <a:lnTo>
                    <a:pt x="2327780" y="0"/>
                  </a:lnTo>
                  <a:lnTo>
                    <a:pt x="2273059" y="257442"/>
                  </a:lnTo>
                  <a:lnTo>
                    <a:pt x="0" y="257442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51" name="btfpRunningAgenda2LevelTextLeft175785">
              <a:extLst>
                <a:ext uri="{FF2B5EF4-FFF2-40B4-BE49-F238E27FC236}">
                  <a16:creationId xmlns:a16="http://schemas.microsoft.com/office/drawing/2014/main" id="{0B9EF0A1-97B8-BD9A-BDB1-FA0C8512E2E0}"/>
                </a:ext>
              </a:extLst>
            </p:cNvPr>
            <p:cNvSpPr txBox="1"/>
            <p:nvPr/>
          </p:nvSpPr>
          <p:spPr bwMode="gray">
            <a:xfrm>
              <a:off x="0" y="876300"/>
              <a:ext cx="2273059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Workforce</a:t>
              </a:r>
            </a:p>
          </p:txBody>
        </p:sp>
        <p:sp>
          <p:nvSpPr>
            <p:cNvPr id="56" name="btfpRunningAgenda2LevelBarRight175785">
              <a:extLst>
                <a:ext uri="{FF2B5EF4-FFF2-40B4-BE49-F238E27FC236}">
                  <a16:creationId xmlns:a16="http://schemas.microsoft.com/office/drawing/2014/main" id="{94876FE8-EEEC-5F78-A789-C68F0AE75FE4}"/>
                </a:ext>
              </a:extLst>
            </p:cNvPr>
            <p:cNvSpPr/>
            <p:nvPr/>
          </p:nvSpPr>
          <p:spPr bwMode="gray">
            <a:xfrm>
              <a:off x="2192938" y="876300"/>
              <a:ext cx="2112786" cy="257442"/>
            </a:xfrm>
            <a:custGeom>
              <a:avLst/>
              <a:gdLst>
                <a:gd name="connsiteX0" fmla="*/ 950801 w 2367856"/>
                <a:gd name="connsiteY0" fmla="*/ 0 h 257442"/>
                <a:gd name="connsiteX1" fmla="*/ 2367856 w 2367856"/>
                <a:gd name="connsiteY1" fmla="*/ 0 h 257442"/>
                <a:gd name="connsiteX2" fmla="*/ 2313135 w 2367856"/>
                <a:gd name="connsiteY2" fmla="*/ 257442 h 257442"/>
                <a:gd name="connsiteX3" fmla="*/ 0 w 2367856"/>
                <a:gd name="connsiteY3" fmla="*/ 257442 h 257442"/>
                <a:gd name="connsiteX0" fmla="*/ 950801 w 2313135"/>
                <a:gd name="connsiteY0" fmla="*/ 0 h 257442"/>
                <a:gd name="connsiteX1" fmla="*/ 896080 w 2313135"/>
                <a:gd name="connsiteY1" fmla="*/ 257442 h 257442"/>
                <a:gd name="connsiteX2" fmla="*/ 2313135 w 2313135"/>
                <a:gd name="connsiteY2" fmla="*/ 257442 h 257442"/>
                <a:gd name="connsiteX3" fmla="*/ 0 w 2313135"/>
                <a:gd name="connsiteY3" fmla="*/ 257442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54721 w 950800"/>
                <a:gd name="connsiteY3" fmla="*/ 0 h 257442"/>
                <a:gd name="connsiteX0" fmla="*/ 1243957 w 1243957"/>
                <a:gd name="connsiteY0" fmla="*/ 0 h 257442"/>
                <a:gd name="connsiteX1" fmla="*/ 896079 w 1243957"/>
                <a:gd name="connsiteY1" fmla="*/ 257442 h 257442"/>
                <a:gd name="connsiteX2" fmla="*/ 0 w 1243957"/>
                <a:gd name="connsiteY2" fmla="*/ 257442 h 257442"/>
                <a:gd name="connsiteX3" fmla="*/ 54721 w 1243957"/>
                <a:gd name="connsiteY3" fmla="*/ 0 h 257442"/>
                <a:gd name="connsiteX0" fmla="*/ 1243957 w 1243957"/>
                <a:gd name="connsiteY0" fmla="*/ 0 h 257442"/>
                <a:gd name="connsiteX1" fmla="*/ 1189236 w 1243957"/>
                <a:gd name="connsiteY1" fmla="*/ 257442 h 257442"/>
                <a:gd name="connsiteX2" fmla="*/ 0 w 1243957"/>
                <a:gd name="connsiteY2" fmla="*/ 257442 h 257442"/>
                <a:gd name="connsiteX3" fmla="*/ 54721 w 1243957"/>
                <a:gd name="connsiteY3" fmla="*/ 0 h 257442"/>
                <a:gd name="connsiteX0" fmla="*/ 1243958 w 1243958"/>
                <a:gd name="connsiteY0" fmla="*/ 0 h 257442"/>
                <a:gd name="connsiteX1" fmla="*/ 1189237 w 1243958"/>
                <a:gd name="connsiteY1" fmla="*/ 257442 h 257442"/>
                <a:gd name="connsiteX2" fmla="*/ 0 w 1243958"/>
                <a:gd name="connsiteY2" fmla="*/ 257442 h 257442"/>
                <a:gd name="connsiteX3" fmla="*/ 54722 w 1243958"/>
                <a:gd name="connsiteY3" fmla="*/ 0 h 257442"/>
                <a:gd name="connsiteX0" fmla="*/ 1243958 w 1243958"/>
                <a:gd name="connsiteY0" fmla="*/ 0 h 257442"/>
                <a:gd name="connsiteX1" fmla="*/ 1189237 w 1243958"/>
                <a:gd name="connsiteY1" fmla="*/ 257442 h 257442"/>
                <a:gd name="connsiteX2" fmla="*/ 0 w 1243958"/>
                <a:gd name="connsiteY2" fmla="*/ 257442 h 257442"/>
                <a:gd name="connsiteX3" fmla="*/ 54721 w 1243958"/>
                <a:gd name="connsiteY3" fmla="*/ 0 h 257442"/>
                <a:gd name="connsiteX0" fmla="*/ 1412273 w 1412273"/>
                <a:gd name="connsiteY0" fmla="*/ 0 h 257442"/>
                <a:gd name="connsiteX1" fmla="*/ 1189237 w 1412273"/>
                <a:gd name="connsiteY1" fmla="*/ 257442 h 257442"/>
                <a:gd name="connsiteX2" fmla="*/ 0 w 1412273"/>
                <a:gd name="connsiteY2" fmla="*/ 257442 h 257442"/>
                <a:gd name="connsiteX3" fmla="*/ 54721 w 1412273"/>
                <a:gd name="connsiteY3" fmla="*/ 0 h 257442"/>
                <a:gd name="connsiteX0" fmla="*/ 1412273 w 1412273"/>
                <a:gd name="connsiteY0" fmla="*/ 0 h 257442"/>
                <a:gd name="connsiteX1" fmla="*/ 1357552 w 1412273"/>
                <a:gd name="connsiteY1" fmla="*/ 257442 h 257442"/>
                <a:gd name="connsiteX2" fmla="*/ 0 w 1412273"/>
                <a:gd name="connsiteY2" fmla="*/ 257442 h 257442"/>
                <a:gd name="connsiteX3" fmla="*/ 54721 w 1412273"/>
                <a:gd name="connsiteY3" fmla="*/ 0 h 257442"/>
                <a:gd name="connsiteX0" fmla="*/ 1412273 w 1412273"/>
                <a:gd name="connsiteY0" fmla="*/ 0 h 257442"/>
                <a:gd name="connsiteX1" fmla="*/ 1357552 w 1412273"/>
                <a:gd name="connsiteY1" fmla="*/ 257442 h 257442"/>
                <a:gd name="connsiteX2" fmla="*/ 0 w 1412273"/>
                <a:gd name="connsiteY2" fmla="*/ 257442 h 257442"/>
                <a:gd name="connsiteX3" fmla="*/ 54721 w 1412273"/>
                <a:gd name="connsiteY3" fmla="*/ 0 h 257442"/>
                <a:gd name="connsiteX0" fmla="*/ 1412273 w 1412273"/>
                <a:gd name="connsiteY0" fmla="*/ 0 h 257442"/>
                <a:gd name="connsiteX1" fmla="*/ 1357552 w 1412273"/>
                <a:gd name="connsiteY1" fmla="*/ 257442 h 257442"/>
                <a:gd name="connsiteX2" fmla="*/ 0 w 1412273"/>
                <a:gd name="connsiteY2" fmla="*/ 257442 h 257442"/>
                <a:gd name="connsiteX3" fmla="*/ 54721 w 1412273"/>
                <a:gd name="connsiteY3" fmla="*/ 0 h 257442"/>
                <a:gd name="connsiteX0" fmla="*/ 1665548 w 1665548"/>
                <a:gd name="connsiteY0" fmla="*/ 0 h 257442"/>
                <a:gd name="connsiteX1" fmla="*/ 1357552 w 1665548"/>
                <a:gd name="connsiteY1" fmla="*/ 257442 h 257442"/>
                <a:gd name="connsiteX2" fmla="*/ 0 w 1665548"/>
                <a:gd name="connsiteY2" fmla="*/ 257442 h 257442"/>
                <a:gd name="connsiteX3" fmla="*/ 54721 w 1665548"/>
                <a:gd name="connsiteY3" fmla="*/ 0 h 257442"/>
                <a:gd name="connsiteX0" fmla="*/ 1665548 w 1665548"/>
                <a:gd name="connsiteY0" fmla="*/ 0 h 257442"/>
                <a:gd name="connsiteX1" fmla="*/ 1610826 w 1665548"/>
                <a:gd name="connsiteY1" fmla="*/ 257442 h 257442"/>
                <a:gd name="connsiteX2" fmla="*/ 0 w 1665548"/>
                <a:gd name="connsiteY2" fmla="*/ 257442 h 257442"/>
                <a:gd name="connsiteX3" fmla="*/ 54721 w 1665548"/>
                <a:gd name="connsiteY3" fmla="*/ 0 h 257442"/>
                <a:gd name="connsiteX0" fmla="*/ 1665549 w 1665549"/>
                <a:gd name="connsiteY0" fmla="*/ 0 h 257442"/>
                <a:gd name="connsiteX1" fmla="*/ 1610827 w 1665549"/>
                <a:gd name="connsiteY1" fmla="*/ 257442 h 257442"/>
                <a:gd name="connsiteX2" fmla="*/ 0 w 1665549"/>
                <a:gd name="connsiteY2" fmla="*/ 257442 h 257442"/>
                <a:gd name="connsiteX3" fmla="*/ 54722 w 1665549"/>
                <a:gd name="connsiteY3" fmla="*/ 0 h 257442"/>
                <a:gd name="connsiteX0" fmla="*/ 1665549 w 1665549"/>
                <a:gd name="connsiteY0" fmla="*/ 0 h 257442"/>
                <a:gd name="connsiteX1" fmla="*/ 1610827 w 1665549"/>
                <a:gd name="connsiteY1" fmla="*/ 257442 h 257442"/>
                <a:gd name="connsiteX2" fmla="*/ 0 w 1665549"/>
                <a:gd name="connsiteY2" fmla="*/ 257442 h 257442"/>
                <a:gd name="connsiteX3" fmla="*/ 54722 w 1665549"/>
                <a:gd name="connsiteY3" fmla="*/ 0 h 257442"/>
                <a:gd name="connsiteX0" fmla="*/ 1944471 w 1944471"/>
                <a:gd name="connsiteY0" fmla="*/ 0 h 257442"/>
                <a:gd name="connsiteX1" fmla="*/ 1610827 w 1944471"/>
                <a:gd name="connsiteY1" fmla="*/ 257442 h 257442"/>
                <a:gd name="connsiteX2" fmla="*/ 0 w 1944471"/>
                <a:gd name="connsiteY2" fmla="*/ 257442 h 257442"/>
                <a:gd name="connsiteX3" fmla="*/ 54722 w 1944471"/>
                <a:gd name="connsiteY3" fmla="*/ 0 h 257442"/>
                <a:gd name="connsiteX0" fmla="*/ 1944471 w 1944471"/>
                <a:gd name="connsiteY0" fmla="*/ 0 h 257442"/>
                <a:gd name="connsiteX1" fmla="*/ 1889750 w 1944471"/>
                <a:gd name="connsiteY1" fmla="*/ 257442 h 257442"/>
                <a:gd name="connsiteX2" fmla="*/ 0 w 1944471"/>
                <a:gd name="connsiteY2" fmla="*/ 257442 h 257442"/>
                <a:gd name="connsiteX3" fmla="*/ 54722 w 1944471"/>
                <a:gd name="connsiteY3" fmla="*/ 0 h 257442"/>
                <a:gd name="connsiteX0" fmla="*/ 1944470 w 1944470"/>
                <a:gd name="connsiteY0" fmla="*/ 0 h 257442"/>
                <a:gd name="connsiteX1" fmla="*/ 1889749 w 1944470"/>
                <a:gd name="connsiteY1" fmla="*/ 257442 h 257442"/>
                <a:gd name="connsiteX2" fmla="*/ 0 w 1944470"/>
                <a:gd name="connsiteY2" fmla="*/ 257442 h 257442"/>
                <a:gd name="connsiteX3" fmla="*/ 54721 w 1944470"/>
                <a:gd name="connsiteY3" fmla="*/ 0 h 257442"/>
                <a:gd name="connsiteX0" fmla="*/ 1944470 w 1944470"/>
                <a:gd name="connsiteY0" fmla="*/ 0 h 257442"/>
                <a:gd name="connsiteX1" fmla="*/ 1889749 w 1944470"/>
                <a:gd name="connsiteY1" fmla="*/ 257442 h 257442"/>
                <a:gd name="connsiteX2" fmla="*/ 0 w 1944470"/>
                <a:gd name="connsiteY2" fmla="*/ 257442 h 257442"/>
                <a:gd name="connsiteX3" fmla="*/ 54720 w 1944470"/>
                <a:gd name="connsiteY3" fmla="*/ 0 h 257442"/>
                <a:gd name="connsiteX0" fmla="*/ 2112785 w 2112785"/>
                <a:gd name="connsiteY0" fmla="*/ 0 h 257442"/>
                <a:gd name="connsiteX1" fmla="*/ 1889749 w 2112785"/>
                <a:gd name="connsiteY1" fmla="*/ 257442 h 257442"/>
                <a:gd name="connsiteX2" fmla="*/ 0 w 2112785"/>
                <a:gd name="connsiteY2" fmla="*/ 257442 h 257442"/>
                <a:gd name="connsiteX3" fmla="*/ 54720 w 2112785"/>
                <a:gd name="connsiteY3" fmla="*/ 0 h 257442"/>
                <a:gd name="connsiteX0" fmla="*/ 2112785 w 2112785"/>
                <a:gd name="connsiteY0" fmla="*/ 0 h 257442"/>
                <a:gd name="connsiteX1" fmla="*/ 2058064 w 2112785"/>
                <a:gd name="connsiteY1" fmla="*/ 257442 h 257442"/>
                <a:gd name="connsiteX2" fmla="*/ 0 w 2112785"/>
                <a:gd name="connsiteY2" fmla="*/ 257442 h 257442"/>
                <a:gd name="connsiteX3" fmla="*/ 54720 w 2112785"/>
                <a:gd name="connsiteY3" fmla="*/ 0 h 257442"/>
                <a:gd name="connsiteX0" fmla="*/ 2112786 w 2112786"/>
                <a:gd name="connsiteY0" fmla="*/ 0 h 257442"/>
                <a:gd name="connsiteX1" fmla="*/ 2058065 w 2112786"/>
                <a:gd name="connsiteY1" fmla="*/ 257442 h 257442"/>
                <a:gd name="connsiteX2" fmla="*/ 0 w 2112786"/>
                <a:gd name="connsiteY2" fmla="*/ 257442 h 257442"/>
                <a:gd name="connsiteX3" fmla="*/ 54721 w 2112786"/>
                <a:gd name="connsiteY3" fmla="*/ 0 h 257442"/>
                <a:gd name="connsiteX0" fmla="*/ 2112786 w 2112786"/>
                <a:gd name="connsiteY0" fmla="*/ 0 h 257442"/>
                <a:gd name="connsiteX1" fmla="*/ 2058065 w 2112786"/>
                <a:gd name="connsiteY1" fmla="*/ 257442 h 257442"/>
                <a:gd name="connsiteX2" fmla="*/ 0 w 2112786"/>
                <a:gd name="connsiteY2" fmla="*/ 257442 h 257442"/>
                <a:gd name="connsiteX3" fmla="*/ 54721 w 2112786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12786" h="257442">
                  <a:moveTo>
                    <a:pt x="2112786" y="0"/>
                  </a:moveTo>
                  <a:lnTo>
                    <a:pt x="2058065" y="257442"/>
                  </a:lnTo>
                  <a:lnTo>
                    <a:pt x="0" y="257442"/>
                  </a:lnTo>
                  <a:lnTo>
                    <a:pt x="54721" y="0"/>
                  </a:lnTo>
                  <a:close/>
                </a:path>
              </a:pathLst>
            </a:custGeom>
            <a:solidFill>
              <a:srgbClr val="B4B4B4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55" name="btfpRunningAgenda2LevelTextRight175785">
              <a:extLst>
                <a:ext uri="{FF2B5EF4-FFF2-40B4-BE49-F238E27FC236}">
                  <a16:creationId xmlns:a16="http://schemas.microsoft.com/office/drawing/2014/main" id="{F890D750-6C41-2EA7-634D-62BF9FCE8638}"/>
                </a:ext>
              </a:extLst>
            </p:cNvPr>
            <p:cNvSpPr txBox="1"/>
            <p:nvPr/>
          </p:nvSpPr>
          <p:spPr bwMode="gray">
            <a:xfrm>
              <a:off x="2192938" y="876300"/>
              <a:ext cx="2058065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Attrition</a:t>
              </a:r>
            </a:p>
          </p:txBody>
        </p:sp>
      </p:grpSp>
      <p:sp>
        <p:nvSpPr>
          <p:cNvPr id="21" name="Rectangle 20">
            <a:extLst>
              <a:ext uri="{FF2B5EF4-FFF2-40B4-BE49-F238E27FC236}">
                <a16:creationId xmlns:a16="http://schemas.microsoft.com/office/drawing/2014/main" id="{409066D6-9650-6033-2667-92443E88676B}"/>
              </a:ext>
            </a:extLst>
          </p:cNvPr>
          <p:cNvSpPr/>
          <p:nvPr/>
        </p:nvSpPr>
        <p:spPr bwMode="gray">
          <a:xfrm>
            <a:off x="3083443" y="1881475"/>
            <a:ext cx="1929971" cy="4227809"/>
          </a:xfrm>
          <a:prstGeom prst="rect">
            <a:avLst/>
          </a:prstGeom>
          <a:noFill/>
          <a:ln w="12700">
            <a:solidFill>
              <a:schemeClr val="accent3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chemeClr val="tx1"/>
              </a:solidFill>
            </a:endParaRPr>
          </a:p>
        </p:txBody>
      </p:sp>
      <p:grpSp>
        <p:nvGrpSpPr>
          <p:cNvPr id="58" name="btfpStatusSticker505135">
            <a:extLst>
              <a:ext uri="{FF2B5EF4-FFF2-40B4-BE49-F238E27FC236}">
                <a16:creationId xmlns:a16="http://schemas.microsoft.com/office/drawing/2014/main" id="{22E4C670-8326-3520-CE00-028ED119DAD6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8763152" y="955344"/>
            <a:ext cx="1212512" cy="235611"/>
            <a:chOff x="-1713611" y="876300"/>
            <a:chExt cx="1212512" cy="235611"/>
          </a:xfrm>
        </p:grpSpPr>
        <p:sp>
          <p:nvSpPr>
            <p:cNvPr id="22" name="btfpStatusStickerText505135">
              <a:extLst>
                <a:ext uri="{FF2B5EF4-FFF2-40B4-BE49-F238E27FC236}">
                  <a16:creationId xmlns:a16="http://schemas.microsoft.com/office/drawing/2014/main" id="{CE325B20-28FB-9C36-A806-4B38340CA928}"/>
                </a:ext>
              </a:extLst>
            </p:cNvPr>
            <p:cNvSpPr txBox="1"/>
            <p:nvPr/>
          </p:nvSpPr>
          <p:spPr bwMode="gray">
            <a:xfrm>
              <a:off x="-1713611" y="876300"/>
              <a:ext cx="1212512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ts val="0"/>
                </a:spcBef>
                <a:buNone/>
              </a:pPr>
              <a:r>
                <a:rPr lang="en-US" sz="1200" b="1" cap="all" spc="450" dirty="0">
                  <a:solidFill>
                    <a:srgbClr val="000000"/>
                  </a:solidFill>
                </a:rPr>
                <a:t>Overall</a:t>
              </a:r>
            </a:p>
          </p:txBody>
        </p:sp>
        <p:cxnSp>
          <p:nvCxnSpPr>
            <p:cNvPr id="50" name="btfpStatusStickerLine505135">
              <a:extLst>
                <a:ext uri="{FF2B5EF4-FFF2-40B4-BE49-F238E27FC236}">
                  <a16:creationId xmlns:a16="http://schemas.microsoft.com/office/drawing/2014/main" id="{6C734B57-1AFC-5146-A31F-606E439724FB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1713611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9" name="Picture 38">
            <a:extLst>
              <a:ext uri="{FF2B5EF4-FFF2-40B4-BE49-F238E27FC236}">
                <a16:creationId xmlns:a16="http://schemas.microsoft.com/office/drawing/2014/main" id="{129511EB-BA12-108F-519C-E8012D880B12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0646654" y="6191366"/>
            <a:ext cx="1261892" cy="353608"/>
          </a:xfrm>
          <a:prstGeom prst="rect">
            <a:avLst/>
          </a:prstGeom>
        </p:spPr>
      </p:pic>
      <p:sp>
        <p:nvSpPr>
          <p:cNvPr id="17" name="btfpCallout389611">
            <a:extLst>
              <a:ext uri="{FF2B5EF4-FFF2-40B4-BE49-F238E27FC236}">
                <a16:creationId xmlns:a16="http://schemas.microsoft.com/office/drawing/2014/main" id="{7BFEEB5B-03AA-5A1C-9236-0011E212B358}"/>
              </a:ext>
            </a:extLst>
          </p:cNvPr>
          <p:cNvSpPr/>
          <p:nvPr/>
        </p:nvSpPr>
        <p:spPr bwMode="gray">
          <a:xfrm>
            <a:off x="9447280" y="2468841"/>
            <a:ext cx="1056768" cy="479113"/>
          </a:xfrm>
          <a:prstGeom prst="wedgeRectCallout">
            <a:avLst>
              <a:gd name="adj1" fmla="val 49894"/>
              <a:gd name="adj2" fmla="val 76199"/>
            </a:avLst>
          </a:prstGeom>
          <a:solidFill>
            <a:srgbClr val="FFFFFF"/>
          </a:solidFill>
          <a:ln w="19050">
            <a:solidFill>
              <a:srgbClr val="5C5C5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5C5C5C"/>
                </a:solidFill>
              </a:rPr>
              <a:t>XYZ’s acquisition of Peer 4 in 2020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DB3C8AE2-4229-60F9-C3B1-C679ACBDB3C6}"/>
              </a:ext>
            </a:extLst>
          </p:cNvPr>
          <p:cNvSpPr/>
          <p:nvPr/>
        </p:nvSpPr>
        <p:spPr bwMode="gray">
          <a:xfrm>
            <a:off x="10621426" y="808996"/>
            <a:ext cx="1144677" cy="504045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200" dirty="0">
                <a:solidFill>
                  <a:schemeClr val="tx1"/>
                </a:solidFill>
              </a:rPr>
              <a:t>BCN updated 09/13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7815859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think-cell data - do not delete" hidden="1">
            <a:extLst>
              <a:ext uri="{FF2B5EF4-FFF2-40B4-BE49-F238E27FC236}">
                <a16:creationId xmlns:a16="http://schemas.microsoft.com/office/drawing/2014/main" id="{5B5FDAE8-62F5-AEE6-00FF-AFA993C1F6C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02577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84" imgH="486" progId="TCLayout.ActiveDocument.1">
                  <p:embed/>
                </p:oleObj>
              </mc:Choice>
              <mc:Fallback>
                <p:oleObj name="think-cell Slide" r:id="rId10" imgW="484" imgH="486" progId="TCLayout.ActiveDocument.1">
                  <p:embed/>
                  <p:pic>
                    <p:nvPicPr>
                      <p:cNvPr id="2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B5FDAE8-62F5-AEE6-00FF-AFA993C1F6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3" name="btfpColumnIndicatorGroup2">
            <a:extLst>
              <a:ext uri="{FF2B5EF4-FFF2-40B4-BE49-F238E27FC236}">
                <a16:creationId xmlns:a16="http://schemas.microsoft.com/office/drawing/2014/main" id="{CE01E2B7-F0F9-E8BF-ACDF-EDE1A2EF8CD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61" name="btfpColumnGapBlocker866547">
              <a:extLst>
                <a:ext uri="{FF2B5EF4-FFF2-40B4-BE49-F238E27FC236}">
                  <a16:creationId xmlns:a16="http://schemas.microsoft.com/office/drawing/2014/main" id="{1536E2E1-BD6C-8080-E34D-3FE117DF24F8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59" name="btfpColumnGapBlocker740090">
              <a:extLst>
                <a:ext uri="{FF2B5EF4-FFF2-40B4-BE49-F238E27FC236}">
                  <a16:creationId xmlns:a16="http://schemas.microsoft.com/office/drawing/2014/main" id="{16659DC0-0914-070A-28D0-EE3C52CB5861}"/>
                </a:ext>
              </a:extLst>
            </p:cNvPr>
            <p:cNvSpPr/>
            <p:nvPr/>
          </p:nvSpPr>
          <p:spPr bwMode="gray">
            <a:xfrm>
              <a:off x="7837752" y="6926580"/>
              <a:ext cx="540544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57" name="btfpColumnIndicator684923">
              <a:extLst>
                <a:ext uri="{FF2B5EF4-FFF2-40B4-BE49-F238E27FC236}">
                  <a16:creationId xmlns:a16="http://schemas.microsoft.com/office/drawing/2014/main" id="{32658A02-081F-9722-A77D-EA9A86D64C90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btfpColumnIndicator910260">
              <a:extLst>
                <a:ext uri="{FF2B5EF4-FFF2-40B4-BE49-F238E27FC236}">
                  <a16:creationId xmlns:a16="http://schemas.microsoft.com/office/drawing/2014/main" id="{0E9A635F-27C3-F7B4-1816-77395E9C1D1C}"/>
                </a:ext>
              </a:extLst>
            </p:cNvPr>
            <p:cNvCxnSpPr/>
            <p:nvPr/>
          </p:nvCxnSpPr>
          <p:spPr bwMode="gray">
            <a:xfrm flipV="1">
              <a:off x="8378296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3" name="btfpColumnGapBlocker944904">
              <a:extLst>
                <a:ext uri="{FF2B5EF4-FFF2-40B4-BE49-F238E27FC236}">
                  <a16:creationId xmlns:a16="http://schemas.microsoft.com/office/drawing/2014/main" id="{054FD703-3EC3-B37F-5687-A566573504FD}"/>
                </a:ext>
              </a:extLst>
            </p:cNvPr>
            <p:cNvSpPr/>
            <p:nvPr/>
          </p:nvSpPr>
          <p:spPr bwMode="gray">
            <a:xfrm>
              <a:off x="3813704" y="6926580"/>
              <a:ext cx="540544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51" name="btfpColumnIndicator181264">
              <a:extLst>
                <a:ext uri="{FF2B5EF4-FFF2-40B4-BE49-F238E27FC236}">
                  <a16:creationId xmlns:a16="http://schemas.microsoft.com/office/drawing/2014/main" id="{5624354F-14C4-6DE4-B87D-77C932FC89B8}"/>
                </a:ext>
              </a:extLst>
            </p:cNvPr>
            <p:cNvCxnSpPr/>
            <p:nvPr/>
          </p:nvCxnSpPr>
          <p:spPr bwMode="gray">
            <a:xfrm flipV="1">
              <a:off x="7837752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btfpColumnIndicator864429">
              <a:extLst>
                <a:ext uri="{FF2B5EF4-FFF2-40B4-BE49-F238E27FC236}">
                  <a16:creationId xmlns:a16="http://schemas.microsoft.com/office/drawing/2014/main" id="{81362282-DBC1-E24B-3544-C31AE782A0FB}"/>
                </a:ext>
              </a:extLst>
            </p:cNvPr>
            <p:cNvCxnSpPr/>
            <p:nvPr/>
          </p:nvCxnSpPr>
          <p:spPr bwMode="gray">
            <a:xfrm flipV="1">
              <a:off x="4354248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7" name="btfpColumnGapBlocker491504">
              <a:extLst>
                <a:ext uri="{FF2B5EF4-FFF2-40B4-BE49-F238E27FC236}">
                  <a16:creationId xmlns:a16="http://schemas.microsoft.com/office/drawing/2014/main" id="{6A90A9D1-4BD1-B186-B203-A846B313962C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43" name="btfpColumnIndicator908721">
              <a:extLst>
                <a:ext uri="{FF2B5EF4-FFF2-40B4-BE49-F238E27FC236}">
                  <a16:creationId xmlns:a16="http://schemas.microsoft.com/office/drawing/2014/main" id="{011A8223-85A9-025D-F675-6031342EAF71}"/>
                </a:ext>
              </a:extLst>
            </p:cNvPr>
            <p:cNvCxnSpPr/>
            <p:nvPr/>
          </p:nvCxnSpPr>
          <p:spPr bwMode="gray">
            <a:xfrm flipV="1">
              <a:off x="3813704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btfpColumnIndicator731679">
              <a:extLst>
                <a:ext uri="{FF2B5EF4-FFF2-40B4-BE49-F238E27FC236}">
                  <a16:creationId xmlns:a16="http://schemas.microsoft.com/office/drawing/2014/main" id="{2C489535-2499-088C-B5CC-536ADC764375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2" name="btfpColumnIndicatorGroup1">
            <a:extLst>
              <a:ext uri="{FF2B5EF4-FFF2-40B4-BE49-F238E27FC236}">
                <a16:creationId xmlns:a16="http://schemas.microsoft.com/office/drawing/2014/main" id="{816BA15E-115B-974C-A0FA-252FA33CC98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60" name="btfpColumnGapBlocker901098">
              <a:extLst>
                <a:ext uri="{FF2B5EF4-FFF2-40B4-BE49-F238E27FC236}">
                  <a16:creationId xmlns:a16="http://schemas.microsoft.com/office/drawing/2014/main" id="{F2883740-D8F0-D804-5B65-578CC19310E0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58" name="btfpColumnGapBlocker359750">
              <a:extLst>
                <a:ext uri="{FF2B5EF4-FFF2-40B4-BE49-F238E27FC236}">
                  <a16:creationId xmlns:a16="http://schemas.microsoft.com/office/drawing/2014/main" id="{4AFA58A4-0366-0919-DE5A-67E80E614AAA}"/>
                </a:ext>
              </a:extLst>
            </p:cNvPr>
            <p:cNvSpPr/>
            <p:nvPr/>
          </p:nvSpPr>
          <p:spPr bwMode="gray">
            <a:xfrm>
              <a:off x="7837752" y="-205740"/>
              <a:ext cx="540544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56" name="btfpColumnIndicator144758">
              <a:extLst>
                <a:ext uri="{FF2B5EF4-FFF2-40B4-BE49-F238E27FC236}">
                  <a16:creationId xmlns:a16="http://schemas.microsoft.com/office/drawing/2014/main" id="{B15B01C4-7F12-F373-93E7-A133F6B08EC2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btfpColumnIndicator111149">
              <a:extLst>
                <a:ext uri="{FF2B5EF4-FFF2-40B4-BE49-F238E27FC236}">
                  <a16:creationId xmlns:a16="http://schemas.microsoft.com/office/drawing/2014/main" id="{E47121EF-2E82-509B-7B5B-2760AFCCE215}"/>
                </a:ext>
              </a:extLst>
            </p:cNvPr>
            <p:cNvCxnSpPr/>
            <p:nvPr/>
          </p:nvCxnSpPr>
          <p:spPr bwMode="gray">
            <a:xfrm flipV="1">
              <a:off x="8378296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2" name="btfpColumnGapBlocker832097">
              <a:extLst>
                <a:ext uri="{FF2B5EF4-FFF2-40B4-BE49-F238E27FC236}">
                  <a16:creationId xmlns:a16="http://schemas.microsoft.com/office/drawing/2014/main" id="{11BA15CF-F4A9-0755-9F2E-016631E0C147}"/>
                </a:ext>
              </a:extLst>
            </p:cNvPr>
            <p:cNvSpPr/>
            <p:nvPr/>
          </p:nvSpPr>
          <p:spPr bwMode="gray">
            <a:xfrm>
              <a:off x="3813704" y="-205740"/>
              <a:ext cx="540544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50" name="btfpColumnIndicator994835">
              <a:extLst>
                <a:ext uri="{FF2B5EF4-FFF2-40B4-BE49-F238E27FC236}">
                  <a16:creationId xmlns:a16="http://schemas.microsoft.com/office/drawing/2014/main" id="{700FB671-7957-D7B6-6E5A-A034B32BCD03}"/>
                </a:ext>
              </a:extLst>
            </p:cNvPr>
            <p:cNvCxnSpPr/>
            <p:nvPr/>
          </p:nvCxnSpPr>
          <p:spPr bwMode="gray">
            <a:xfrm flipV="1">
              <a:off x="7837752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btfpColumnIndicator754865">
              <a:extLst>
                <a:ext uri="{FF2B5EF4-FFF2-40B4-BE49-F238E27FC236}">
                  <a16:creationId xmlns:a16="http://schemas.microsoft.com/office/drawing/2014/main" id="{21BD1485-7D05-76E4-68BA-DDC262AE4637}"/>
                </a:ext>
              </a:extLst>
            </p:cNvPr>
            <p:cNvCxnSpPr/>
            <p:nvPr/>
          </p:nvCxnSpPr>
          <p:spPr bwMode="gray">
            <a:xfrm flipV="1">
              <a:off x="4354248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6" name="btfpColumnGapBlocker464068">
              <a:extLst>
                <a:ext uri="{FF2B5EF4-FFF2-40B4-BE49-F238E27FC236}">
                  <a16:creationId xmlns:a16="http://schemas.microsoft.com/office/drawing/2014/main" id="{D93D78EC-DC88-FAEF-25C6-4FFF54FA7914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0" name="btfpColumnIndicator390542">
              <a:extLst>
                <a:ext uri="{FF2B5EF4-FFF2-40B4-BE49-F238E27FC236}">
                  <a16:creationId xmlns:a16="http://schemas.microsoft.com/office/drawing/2014/main" id="{2035C222-B42B-F812-143C-A8E3B3606078}"/>
                </a:ext>
              </a:extLst>
            </p:cNvPr>
            <p:cNvCxnSpPr/>
            <p:nvPr/>
          </p:nvCxnSpPr>
          <p:spPr bwMode="gray">
            <a:xfrm flipV="1">
              <a:off x="3813704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btfpColumnIndicator941472">
              <a:extLst>
                <a:ext uri="{FF2B5EF4-FFF2-40B4-BE49-F238E27FC236}">
                  <a16:creationId xmlns:a16="http://schemas.microsoft.com/office/drawing/2014/main" id="{A7764CBE-E9C3-EEEB-EB40-3EC4C5E6C888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877411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alpha val="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verall_1_131927180506215730 columns_3_131992611824148655 9_1_131927186659300852 19_1_131992584139343063 12_1_132390953785155457 </a:t>
            </a:r>
            <a:endParaRPr kumimoji="0" lang="en-GB" sz="100" b="0" i="0" u="none" strike="noStrike" kern="1200" cap="none" spc="0" normalizeH="0" baseline="0" noProof="0">
              <a:ln>
                <a:noFill/>
              </a:ln>
              <a:solidFill>
                <a:srgbClr val="FFFFFF">
                  <a:alpha val="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wrap="square"/>
          <a:lstStyle/>
          <a:p>
            <a:r>
              <a:rPr lang="en-GB" dirty="0">
                <a:latin typeface="+mn-lt"/>
              </a:rPr>
              <a:t>Target witnessed highest # of hires and exits in 2022 with ~15% attrition during the year</a:t>
            </a:r>
          </a:p>
        </p:txBody>
      </p:sp>
      <p:sp>
        <p:nvSpPr>
          <p:cNvPr id="8" name="Rectangle 7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UcjL8kfAV6PVoSdURXX960ZMmHu3QTpEU2hrD+ylEWkT5tHWtuyifORIUDrDg5v0fVeX/xkuLP3ETFgBF9Ds1LXS2Rm0sCCkov8PMScU2L5TtQwqvxxrAocB4Aizt8nK5XyOjzAQfWftgPuItlucoakMBQ0rThWJpxYJoRi7JP1eb3nR7K5RNAtKv4N6ku4phdMocjGXnxV1li0GVL7s8TfrXlHswl+zto2BZhxZ91QeswlPkZxo6eQ3q86zdNyYU3ELyCmmbDIYMJot3z7Anoo3xvEMq7Zn8TG402ez/aYS9bryNloKGP35QVn0gMobhZO08lX1vi9LNaoYwXImkfEKkmrheUmWKbsVeDQfPlVt4MiYWmNbnpsaWLRDSsHZcho4mQRfr4IZ/4uH514pIEpJKpafgpqkkV9rIHeDRX8u22BL18Jc4ntc0cKSiThMvAay3XTKattLqBs8mxeSJ2PVEp6CR1WcOFLgK3WjlmArJFBSuzSYBOARUBG2MrQ07GySBgQ6SMxZc32x5x55jJ+npBhz7SXIGyp0HgzzJpmheKHtZmmkzAGFrrfZS/ZUiMHA6oupB0uyGVe6opzYhX4B0E4J9tFHS4E0a/eLyYkH0EghZj8dX+74oN5gkmaE3NwxcQHnbQO9pnVlD8jFHUTjt1+T8dx7iYJDxa3XzpvfIhiqyvPrdjB01ALpyZ9cBzkSl5ndG2fSJRNAETVW155A8aYStrkOSIclFoTLnmXYwNa0RQ1HjCPPVbVtXIArpDG/AhCwXdRKpAjnr9CrVny7Mr5E5CmUHvTSL23sasnWJJo3WxRFY5Xdef0APiIFkjCP2pvC3rV+BCj/IB0zYxXdsX0z2AKM/KGK7qrIFAfxnifFGib4onRXofRESqdJHI4xzTPw86gfX27D+vAJWiUH3vroZmayUjhPCZwDxCM+Uk93qACFuDlUdUU8ZUTQjnj4cAdGGHoFMIVGPuw3MUc4xhfhQWESsFx4U7yAz/TjSFw2UNi6GHIt7sB3jz14MoXLMI9lhPJFVCVV3Q9wS/FYHEd2Sh/65GTTTXTNzsIrhzgBr2kSK5SzwdYED/RdistpqZkZDyd6mrfBJmr7gdXM4GlzoXf1MNujcQxK/IkHNzIwEdY4vhK0tTj5vv/V5ItnHghSQOIQJQhTOJvIW9G2Z8WjVKo4DGujSv98DKimSpPmiuWCqaC86NT1RIFKkCFl/+Vq4v16O638qXANdDvED+f3a71e6coMG4K2j3M5u1AsnIbEequnnamQOonKpKy2mze9vm2vKBIjAL/c2jbYw4VVYiL7eBJUPzCs3x63qympHmUKCAWKXsl3gfLC4AFVCW3M9GJ9Uwbz2Egokd10T2XLrx6FP8Q0g16KGcpSxbqZz6XIqI8nI5vyVXJ8tArX1A2amoONar9l55YKNQ9eJxUTzZdp981f1S8oNe9pSiyzNpS1RiOVXdEDHqLdHDn8KNd6L1U98hD/cayi7k+M9/v5U3gAwmYtXsi3VOaq/LbM6eq1E4kILN0sQw2/6TL0cppZwD0Wqp5/WN9pGOHrdUiC4SDNWKG5wsLiBUVCtV9Bo5kc+VdX4PUZbl9oceY+az3TDWVfRgUUL4QzkLf7c6kDZJMn65QrHXVV3we1SkOFggOhXEBssMVmxrD53dld4qaUKJh8feuKfMaATqFdme/dGI5G7a8bY/uNljfb2wANJZtV5ZieBATCT7PvMgojVTGEj41akfuARfnC0pvmHki7CGVrmEDsJQwJYJJGnCB8eySEHewuJcXX2G+s2CnG+TtGwgyFDVrf4bzlN//yErDD8Dg4NxX6Vg30DvFnlifG1D1nsmR0r3jpmJx365rxv5cIuMpWEsfXPMfpMloLFPRcCbxa3OmoOm+1CHfs3opaXikiXL9K4w5Rl0J59ZkAf7VxBefyOWvY+77i63TNnTY0SeOxaLaoSagGHgoxvqS6qJSnoi62DDA7J7IDbDv/nhrkIPV++pHk7xGMg6OA6VBnJUxpAPGNVnPkT684dtRv27KM2cxsCDmXzKhGQQZDmzRzskioQ1++B/2Af83j1aG4NCBAGBlshjkRwGHlh8U/4IL3EPBc6fJfmL518DHolSd2I5Lxdwl7S1Fmehxk5l1ft5WWjOOq76lYcO/cIW8EcDmnyO6DvTb0MHq0Q5hKTJB0k5d9PPL6QWXm4EfI9kVJ7HRVF32FWl3JjUL23peX0iGeRp1TqbGzqerjZQ1FTUc9uJh2Tpzvgm8qsEZ8Eec9Z8mFty9ko67ejtjlUcCMTqSUBVmz8lbojpY/P2I2VquOHH/xXWvFEYhximk3tifXf7gwHHOwsnCtBL9qPtV1wZbOzu4+Weo9RLngMhwFd9ipKxJALFi0+5+PmFBhMER6pVbsFoz7LNJqgWBOHC4+2yD8qj7wZGOOSgXp90CtZB830f0kt7BssGDnwlNVFHL+kySmV6EmlLhS3DzCKnMDV7rH+rjb+xKQQY3ZFgXw3lkemx72ZPk9CaVYdQG3lxz75hmXRh48NymrrPw8EYz2z3ctlnKxt5611yAZDBZ5yEkCu66QymsWBer+xQSM4MSaxMMpFpQNuUhyGf8a+v5S63oJrMIjffgLfv8BNBUs1VjTNdZ9Q6S0GsXoPvwB3/tmj13aXw4WydultgF7o1P9Ue/Cs6fpMk7zbTMAwVFfow3+yMJro/w/b6+XH5MiMSQ+ijulK7Pv32mGT898+MvISZ9QyxJJ7ZMGO8pbe16EshoxF2GnWD1oN4AnUUtEDZbV+oZ+EBf46MKnWG0Ny1+0XkVncLf3vCLCI2fIYDI1fzJgod7YClVnqhPMntX3xKJH2PITL06cZfKbAKqn1QFgD/R2la6C/I494dUgPeoA6ihDWNsvBtZi8JPt6dhYmU+paWeplKDh5LbcNk/OspTRPDZYITDAZoqjwUtub4dGR/vaqOQ/LqVJcAPgdw6sAmCv8Xt8wI1fEuewJJ77GflBTzWh4Bre4AM8eoq5WcVlGNTuTCb0SX3DyYvOrDldzDWHp8ZbORbebs7rNCeipfsWLI9Ocn8J6vgHZLSa4uL2XFuhfaQcdu6+8MvaeeYCPhy1Y4a6Hp5HuX4AaP1KdIUpEEaXl5jrbnzQWsv1ErPxJhwKG0NHBo/UJAa42mlt+fPWzonQW3myt0YdpCgO2PzA10zPbWZlhFv1/wyrNnbeF9DO3a3c0+g7oJKpRZC6dOJ22MYc0Qtdtc3/YL9qP8Z5XSLydQ3f4is+t5WptN4XD9Eun6xLoyUF6HeolkuWxh4VUr6HPNJcHnFNbhCdVHnDY8SeGJePOs8P5+fjwjzXOXoY9tawZr/r3H/jQjfBzchqAX2CI9RjHQqyM9CdNf1Mxy773oKozLUXd67i+1ZJJnHA3MrSOyjpQJIrNtAa9GtOb8IWxkYfEK5qDzSGJ2hEJyDnM2dhXqyc91uQnQEIHiEBwa0yxDD1YsuXLTkhplwYZHng/9lDPlvx0a13kn2HWBH5vgs5VFmNFO/+2jaS9W4EX7A2nt2rxKUvEjnySdIGlj3lW9o/Rq/+a+iIobytajwEHQReL8M8hKhDSx4E4SwTYbMJY2cglyyUmSbvt4u/cZsEbT1DvIZ6+ixa/tMGaYQRrhQdypB+PUaOY0br0kzLI8tjMyo0wQyPQT1zZ4rj0GXBU1MfmkjGrAlEqki3S/DXb518CrRLCKCgub2bpBlpH9GseM692qcx9U0Ggz/L1WnZnUJBgTDVNtAlux5sRWz4eK+bU5zbOOUSEhVUCNFwfTLoKtIhyMsAtVZDTVXd3ahTi/B+AKX21/j4o5gMLSyD9pqRBMn1IIMvbvYHXmQ0QXJaB3RnHXNEVqVNQXwPYEi//LOACJCsltUqLGC4hvgmEeRT0GiWXS+9uQADcBrb7HalowpMd9aEL/hYUnrr9B2dEqVNLRsfCyrDHYSN1xTxx0IZ3Y9SGDMypLT7HlHUrIUwQWLX1JF6sWjG8s3wA4WTUkGhX0M4CUQ6IGTbSehXr4dJbhtcg3KZR7032hijHmpwhoJuEJYY1BAB4ZZG9e7I7/EJkNGTIWlcvDuWWwr9FS9VxKwkQNeiCgIlkVZRvenbJZs84BkURIdmspkgI1ViEoRV4mq3HeoF/7mHo2UDnYIwiDBzt9zMXNzU3UA+wHyLY3ruuq9GRYqAXNa1P+CDDsy95RsqlMN9V145aHboSAr0jT3FACpOVqh+Mj5aQQdDACxTvrzY4DLo/G68Ai7VlE2a7ifkXmDot7+BWBN0L7gzblrufAp11gqlJ9fGz7NYaCHATvHst0FNGtkKgZae0MINJhVUnkXfjeicEr7+Us2jzYcsLSsAPhFvLKob4BZZgk6DXKakpLu2dXsKw60BHuRIkmnbhKQvQC6UcXiFlJ4m4/vDqxtZoBMBsA1iVbMEPjA4cmBqyXHVPCR7LFhNNos+QUPDiVnsb8YVsCyom0/TetS3M/AZUBFXcWUCQ0//2mYd7R2POPYRrRCWKwehx+2G4XoaySGRLTNpZRCgao9VU/vCmj6SaWz+w4gpBVDxzG1zjj2X9Ik7Q3RR9Pp0lrpZF+oORROAziAzXoD0aPivv5suqUTX/Ds0a7CFEuKa54miM64l9S757QVc8QWzY5AP+STom+x4btaVtNjCsMAAhPWbhGSoiUKMiV9f6qQbmoLY3TbFOHqUC8h27CjX2uY42YD42m/1bWmPRmfkdKlDJDzdLkbr+HvZx2EfIX9gZ12nK1x6Jyk3oeKD5hiRxVUlSgrnVPaiLS7oAbi1UPwLbRA+PxJLUk1Yc7dFkEN0NQJrDdsJCEfjUhWSveRcEXzGEh0z3fWhljLMHSl8yUIMZGhbaLqjMvedd8AXPB5Htcj1AbcIw7hlgjaKvL2S/N06JiyqmOIbHDTC8Ac3BZdbcjBkOcBiS1W1+NWOJKYE+whY/vz9lO3EZsFpLzwxKlYqEe2zQIzgxg0iFfhPop2FYXwlgUN8U9cpkuzn22tCszX+QZCSrdR30oniZXsHYTwrIeYLsp+tI/u1yOtKhTJ4cIv3BaebNm42rirZKfC4L5a1ikSPTV0jgGN32hbdbcuqh9DQTs0QvLCLAsCJT/zy4V+dfL+u7CYYtzjgqoarWyPcBzsig4y8KTqBwKTRjo1ECZPyWnr4TUqbzadzJsoH7E/VH2vK+whL0uMmxv/+nlHbZkvfBEbruj7Oj++R20UMx8jAHH3e/1+v7YX36QcvkO1QL/9BKQMXSkMD3X3WtDoxQHj6vH7034YjrCn9EY8fvYNAx32RuZjscZXGPm5klqlnk1JUyrsAlCbiZcMlWTdJC31MMmJ2LIGWJReX/HbTlIDm/cvfBCqps8yrahzKUtJpRxufueX/WKjU+AT6Bcm84MrnCPtOb+RopJly8vjnh0AN4SJ3hDewaOm/+6Z2yo5pQxTqwoWIUZUZ9xBry9HU/zTz38RioBLfUAgY+0+K8KWsD5KS0bxKQZfCdF3Pe6FV/YY4KHxM4v03yMrsrow3E85ue2GQBqMI+mIwd5FKQU8ySaZ2x66uBfL+/2nX8nVilW1QUigaf5HeH9pW7OBgvJIibZBbb0JFxHgcjLAGVUt2vJaiwGB4V9UeXgDjCXId6o+Z+TeX9TdpIzztHdGYEWt698AdJ9UllE6Yj+lvHd6LZmocxJJQQDZXjUoMLBJQpn1BZ5cjqKiOqRXny3KTMPFo0FatEtXsROPqjTyYt3vCq020Ob7/fQSumQDHOH82zmPyyvGsj2V1lXz7I0bxyCPHR6zdNTD6be5UHjX87bdemWLoMT8RaM4l0SWwU7oplXX4lC3x+w66CyEZy8L+AuQEP9fiPsO4MqSq8mkbxZTCkpOrOC1z88wSaIAtDl/RtRACsIdW50/u4HHNJWdlMDf2nRpt6pOic5qGurQLExiwLW7GwyExuO7E0Ec4d4E9Y1Ovz/lWgJD9yM6SmeKjFMK2bwyb/c0EB2PvKyHDaDQPDiqZuk8pxRcHssRYgylLPOX6PPLZC9DmVa0A+Eklqw7VPGNy8oUKVet4fxya9x6qpDq07DOpbKlObjB3sycBsNGQE6YK7hfEbR+5ybS+qdWOfAIbs1MimIJg8sL74m+KROs+EH0pBBNG6pGdD/VAH0V4PxstLQHtesZhRzFH/fEasZdlhtBCeVSP87df7B+K7LxG9nn2QPvAHl+VHWK3BmEKlgC/f81puXc3adyB4ZeGtHTp6ctOEBSHt8ZiAOH4xxmo6kklIS3RyU1p+hfqJy8yZgddXaIISk5O4YCpiXHffGEqJnkw61UnmsvydYSiChA64IINQZawMpG5YZRq6TFUNWg9D8+HFLZxdF6Z5DnVsTgpNmgpl1GPf+rKsi8XEuYsVnslU+0Q90S7VzwerNIXwZtU/9jIB/NB47QQl19EXtmdhwL1Zp+YjOHUl7S/Dn243ID0cdlonKEYmP7R228ph1U6EVIizeNZwjzeCv87hfLhxNOlgsHYdXgcHdbC4TeWmEiljqm+WmDqO4iyCKiVNNMtQLnqfIrnUFOHczvWYqjyusEEkjMHpeR5CZTiNcooEk5KhPOwqidrJ28feXAPRiqYn5QUYL7eqWHoS26Cph/k/XzUyS/O1xxTeVK69nm05vxZWn4bLXmHrm7fLA0NXEyHxFvh7+KNhyA9IuppqzEhGNWNa3fgVy7DYQnPbb580NBY+A9ba8DeF+3/s5dCZiOG7aXRqWh/P4TCVcB/c+MT836LnCp7MdHxXBeLPiAAzFs0XE363TPJ3wmVNYdWXE8Jhnys1D4cHaWctjaNaLN/6rljcKzbiizSoYqhWQqUTq76ldd6yNcZrK3J2MYKBLB00js/w9MnqVnJG7DUFEQ0wopmEh2F41MUGEUkvZADCHl9NIbYfGa3zOFMeBKCoYAIA+jJlxBoIOLFKbQYYVHsZKZzaTpgZM5rsSD/oH8XDZMAOxx0KfXFRBY8xFRlkjpSEI7rCwGBb3x+Nm4VI/XYN0klD+3S8lZgKbOev2m8W2wVGHeLge9IYY/l6+gmxMgwdvzfVBp1hIAY3CNTRtDeeoVFCMIbVK2XOOfR+NIZvfXu0152vMi9BOCxrGwWwutpQWRTgJ30hy0xAQDiw+K2p4qr/vC2VKdjnna+k8osWzoEv34eza9C15Er7u0vcrAAbY8meodtyGGCDgFsJlF91Fi3pormxprab2lE2YqEPiS0wOs+RHGf8+RTw6aZqTtOHzi7T/T6YWheX+sJeKau8rTiSRBQaTa8uK8hWmgkzOt9yP7JTsng9EnpNw5R1/1EV/8ehuV64fgsY7r1QNWS2nN6gNQDbaALtPOV98uV5+XhCGYhX+VHOtB9l3WR+7qncFkayYg00oXRQlia2Hf4zCCcLNfG7859QTmBlla52SoEL3VxvsnOVR0K4tzxu7PWXtaJvF4Mn/mSoz2PMCoPvKj3J5ROOUy3l0cjISq+81GpfHNxWd7T0WKaCq8YmGt5aJhGh+onn8FojC7dQWqahyd6pl/Rs65gmMmOOFz7gs0XU3yOBFTwc9jwVElI1mSIuNMm0A/nnxWHmdOnGrCRQb9aIQXZe6YDGjou1Yv7HlIYw0COTfnfSmCZlUvwpu5ibB5yJMRmhRd9T8EWvfEEgiRT3SfjVGkNkktgs7+9M+xrEPu4ho69QfYAAlN3H8eNZEP5xuPpDDFw0Z3jRNfDyzmRL+4fkjDX78Iha8onM1zqCOWX/Y/3/9FUMdxEO5YZ3yLCZOrLl/bjcNBqo80JfBG7o+YGrIdoNMxucICFoWSDvrIKHmCWx3HCohxIrB3xwdnRUqXsJtml5qYYl7BNWibT3TMe0Loy3KSAu70ccULjaRhMqaMQVfe0DoSxKR5yQAeZ0XO/qaLICGq1oNoJ+PfuBRQ1nxDMZ8APfupHcEDebC68XWSz8M9jfBFtnVyYUwHGHVhBjZBFndoZZEbSkivgsBgP5ZfE5QsOOFLWXZe2w4QFbCqRcZiCcRWlcxzdlAKdWU6KHfd20MvomHyIT06c6XnCQdVWFoQLS3L8b1mPO06Qxg4JQfRCQwHXT2Sp4lpDjVEKJRwKm5dCHvf+KHyL/WLO8uCPNEtV1fujdLdAG0SwBwBLY4/CcntHYS7ZvqM7ROzVa5dQI8i+4b67Z0dtJzmNFdYCOkKGU3Kj5+O/oxmWL3pzzO/H8TVOHQcvhtIwHUYCBnvKxzsXsjKTmQOuMvy8d8xpbS9Sk3KOwnghn7GsRjtAR9Pv4P4ocdXJcN1jwtXf6FjUQsWiOQZe3/aGf5zs98dle64UYjwF56r5da8RG+HkM9rgnE1I3mG2Z8OQSIgSJXYbiVbAxZfPx7HrsdGYafUT+pekv0ThtrNJvJDWT19OcxoRUOxfq+9EKbrr7cU/FLyYDGm7Ofwb/nW90HLxgFxAQRCRitbujyS+L772w+G4iBlBw9wb8ERKv2Nsk8P/E72pwWdcPDiya+2iX+vcWMecOIfrW/vJWjMiOV3/8V3l+pQJ2tioTQyIfx5TdQmquT58nkQ0Mb/fqruYvIaYbwHYMuKbZVlhu2p4Xek7NYVIJrcsl7bQvjQOR1NP100Qmy86dUevc1NDqqQ02cxjsDsosLAW4IiNYmsOl7ntBEkV1Zg7nbwiAx4kRREef9/S8XWvVu9UXl8yEmXH7BS3sOlkdNyIy15qStYyCP0uT19LBE+8hGWZpvgpMtTXpvoo5ZBsSBSuE5FKms09X8gXCzHiGTI4aCvqS8zYCrjO8kwoopv/oVQGmofD6E0sMhaNmtYGsS1PQCEcejzWX+V9zOVqz37aVrCvVYmptOLiCDiDRy67rXPVaNpCGIOtiEiRE7+RELoXdJkJFIk7fEH6cMo/wCXm4g+Ah0dNqCNHkAAAR+UbbruI6qgS/9wmQo4PfpN2M4J3ThobYfVCBGXYS2ZqoUfCdNA5RxLZK4rBD7uQUHUkqW4813quazw9zGqJv7nO7XmA2/GEu7yuaxeHkcKoBZxALQqjdqOPJEoOmcpCz20kBg4Q8akaex/7FDAyurXVswUKM7qETvz4UWUxudpk6MP/CRrHgK4j1tDzjeGv0sDCZLLzgu4YTxvjB+t2eN/41cSy1OXphC1NNPdQQ03vCpETUzTAruBIHiMVz6STxU8VEOXpzNsA8KtMlqmPWxEX107Fpkl84JaQNZpbryVmFVBHTSUce/XX1+3qUPMjQQc0SJA0Ue8zgo6SJM6B57AhQP8EwmdLCH4dAblENvo86QMhS7Y35tRYpSsTRpie3tK4IIzNEnqxOYgOOkpbkgv+Ws/koAP3gLykGMbHNNRa+F4wm8j77Gq1i486wGpPRqBi8nGU35TIPhj2XFJmdf9a5PM/vTkNx1ejG4N1Tz9ZOgBsHAOGNo7eAjs+EjqnxEHrCcUrFgTI/qFmMImEfQZ/DluGKFeuMsfb/3CATw1brB6+nxwPsFmM0ulVGZuahE2pF66/MR5shEV6mlE9kzvn96Xs0fe5ZLZnHD0dPgWVmPgtDfRvGnqkitLS9uFNDuItXat5uloCEoWX9L/fe8ao3AG0FN4c/JMja18aWNd4O4Ub9guXxgFn7R4Y60bjxBvwNz8++0wsiBBQfW/IlBenFkZpxUH5TkxZ33c7BHzGz29g2+/fC+y2BoQyKhIG5X14wCmXnbZKFNgo6nFF8Xe2xK57iMpVSR4R3tGzdFXwGjiD1T+ff4/svh4u/a1rgdICMOTddqJymXYn6VcgoLattzdteTPl82gUVEGx0TQo+lcZPGT96Svw1xX7uQ92L0iAmFRnZQI2ePyDRqhlMy/DtdVjMTgBPV33WruB2aN67tN48o2bevYGL3b+j4UOkHCcmMKWTCDXqs+7sKP/XEaVDMFw+DdcDvyBM4Mtiv0AuGthDoahrt7N1l1TWDYaZ61KevDTcvfLODU8oUpoaU1RGrbXJJGo4Jo+0jI5jurPOzsTE+NC4ZJeXOwjJKn1NNV/ttNv9MvuN2zu7Iej835cXQWqTwD0HGdK4DMz06c2/8EPKLdOlOstN0Ka7yFvJ8QhF0mqh5pv3t3VLxiiHn+UtGI+xCScnM3KQKhp23luL/90X3XiyqCxgF0zJ/R+g/Fb3Yhb4WrB0aXFlQCnPL2yptTYXu45YLFRyZ/TQEjG9F+H5Mt2stoBG48F3mp8FB58vbZuz709KbsH7OtEmQonHlefQW7eerr4ZXNps/kXO4eS9SdJUtG0AZjC5X3jldt9Ny+jeiK/06n+dIMUcl8FWkFjzIyHRXeqdIYuyKCpYpWFIvtAbeLx+8IGeuVO42Xaxq3VToBtReGuQP2/0YZnqoMxbCmkR9euTXR7gAKUkGsy181sHZYBShREpdsyrJm9/5oVMPq8CGMHlDcca1cNOxP0R6cg5FUdrRi25vQMPI2VxRJ974kvVwVk2ku0hHuqy3+24C5UU0K77w1wrRkeRN2SktvN5jAeXvsz/C8pMfuco2wovyDZ7m+kTE7M0KdbLA8MTnmwgie2YYm+6Zl880t2Bv8mYyu283KZ5zAI7kBcABftLH9wjt/PZ+mJWE2EoDOu2/XBnvTjIbuWB59NKfn4kx0Drndpfo2rqN2z56rXaxyG+2/l4HAKmLyCQP3Y9cUxU3nkNPkTWjTpGsr1s9D5J3Qo3fm5yJ6neJqz/9+1C7+u4uZAxEM96tMpJR1KdjCtZlMEH/aTHfjXnajr1WLUPNYV//TwbWRGV9HAkK6DYqupgdH20ocb7P75XtfhFs/Via3ubHVZr66QVWd4Mdc8kuHODT4/jLqfcLDS5l47af5theMnyUvouUjdmhBtdul/r65GTrj+s3A8Rqy27XpohZ5xHnDaljkoVFDYoKhGm/1pOtDJkx+XWTTAL6zfV2HJwmJwRxIEFxBbT3BeUruO9JeKfJfi+O15hmmfFqfCIFeXGCa/l00VgHV0n2RWtIMsY6AhI3RgXbj71qZcrv1ALBpBtpFVQc4aLrtowKkIUCvAjmyued9V87vaEREv0jm7vyK1pUUPvC6VbLRJ55TdJb2/wTdqqDHFKE89U6afUTD/J9b60qagH6wDJTYf2LljL4gUWXssFtStSNJKvs1Nww2J3MKeFIgJdOgw2RexE9omcsoaTK/1MkPubKzRA0bt5IR0maAA244ny5AEB6hJ02+n0JxeP0+RtBvZ0JCIsdrmNwKc8u/jEtYlf0YplsOufbiZE3Bg2njQ0w9h0wnhwD33s/1MGW8eAcbq//3dcLTF5dNZ08TYIv1+u6LUSI7slTufCnX4AuYsRZTRFd2XhnMF7N6JohNZj0JtYz/JGzopFtRtXdr8q57h2YrEVP5bpqPPUP6fESUZu/Pjh4BZOJvFjlx7antGcqfMUqWxmjYX/AAYsMmMUh/Q5XCgBKF6h++F1Mo9lKVkTDsCeSRawYRIMS+QzCB6D3HKmbIwWjsSL9fDTUmaASFJGUfHxaqkH6UiP6mER8DoZ9oMES+DDtQ/ZzlXGpU+4LnwgimDZVpWWdqtstDuIS3BGB0mEHwnqa1nF4KGtK0gFffE+303+Cs1Y0ed9J69jTrV+/5ZNfujjEB7Vba3tYdtDAdd3GwPMPfBDDl+233o4kmGrXv+kFPW2brA1a8IyA5d+dBj1wuW7wD7oMSHpiVqpJIUcB3KQcEtM1fb3hrvAM+KbzL+fxnASu+As9Wq4lNjUF1eg6tFNaaZ+KCq+6wAdxAPym56S/Lr9PZNhi9Qwy985xtL9safYh2r5m/60sBcax9jmf06aRD7Xf2///dG0H9RR+J+rMNA7N6SweiWHCHA6P7va06Obev6ykpT9va5NOpcfqiV8wnl/+Kzi+0V1REIB5B/NE2qs5VBKXJa6X5t0qA4Exa0SuU2eWD5vfLe1MuxxKmuHN+Xc8TZg2fq3rAd9FJ3SiAJXbbi5VyrVff6vD1odbpj9vr8BYlybS2qOCgCJQq/ZHHTW46L85evpGvPMv0kJQThHcABfBz+8M3zKamQqNpzniP4kFMZ2lcHYNLvKo95pX+iccTFEA/fcz3iEJHYwByTXDu4O3sUBP3deF+faOxwrrJqRo18MR7qCwx8v1qUlYwgE/OOZbX9H5g6T1NEHaEiXi/avrc2yfylVffA5VVwtMReBlVAGAGw52Ljr8XfNyitVWCSbeFme2eb7yWLRVvxr8kFHneR5DV8Ccwb/1DFWDCZv9CtrZmkkBQDnfa5JAsfcDC1629q6NaH6d4swmhfhF06Gj0mgxrkuDetgOasAlmtlLJBpX22+1oRQ2BAyNjkX4eN/Qlcnwvq2J7NSyqxB+2Y79azx0C3tiJw/BQrc7Jz++6D7qkp1pFZIOOxFI7mQbfLayFCUcYGHzRPT/lu/GutOOcW39zl95TK3Z8jsTHqEtugygJ00UhP0QhsuIJf3inXsidpr7tF3mbYU5izmw3aXwoOZEkIeNz37vjzUiJ8xgMO6AOqrewnPspMOYFv7Ohfo07Q6wDH2rkZb9ULQVUU2oOcswDZUSvzjQ4NxUd3cwza0g4IOQEUj43wMAVzmmVhkVO0QE67lzehCCTSR+gG6B32yo+zFP6VnjNOiJsQXZVnqXF8wPKgMrhQZJtCyJuuwCj+UzwE0PoYi9oUXPS4tlrJAGdVDPHj3skVMs4BNGhdpNDDkeMq9virOZ8xChLr1HduVG6V4JnKAc1/byxeQfq6+hzCZUARRw+VREAqdffW9gyRtC/HsyVjYDMP6oez8MZ1ouAcZB6ejl3jyo3Fra0nNTaLBRYLQazW1OMuLm6HmQGVSJwOszTRw/5aRnASEFD+KdBgiGWiEy0AdsIqIuPhMednzHl9JJiBqThyaeRkg10JZl2hDzIbP6R3azhGs5G1rM4M+AO7CvyohJgLaRvycFbiyVW2PFLepfy9EIooDWfn8niCvRv+qik9d6CyP13YBerxUkKnMxQ87JnWOawAXlF5wm/yx9uSHUxYc3Jvoq1ZaVKgexvn5yL3j6nFLbzC4MiM0739kaWSPO43xh41QLviIclC8ypE0ZW4CIYT4Xxv8XEwZ5BdhqWeeHDPKx2sy6m6sMpdni60oricDFeEYQKNQuhgNM5NDRoupYL/3Dw5eKTqGMwM3hmC50d2k6ez3XcJk6X5vdRqiEYYm8k7D86Mvs5qUFHRZyU6UlLrMhROUdiH0EXaPuVxQm295Gpi92g47G5G3uKt2sTXKMSdtlkra+KPoHoyp7qDZqTj8VgvYeMnKscvHeiREvQ7m7+iFcwH8fUpS0O+jIT+CrMbHgOPnYQ/kNffaOFRCM+p5tnCSdukkQKfaylW74v5KtKgZZBzdgVYPc429n/dWOgKAsbLHl+QNwz2t8GDmaRCFuSuebRs2Hf6mczeU4hlsd9Ac8f+jaGEk0zltq5QCw7V/pVsDxQ6FhdHjbblrYHKq9/8S/O7z02G8m1+mzYAYRaPfGvGNM3d5fUqYMzE8ioqhU+36zC8Ik3pNnA4Hurdic25sakHtrLbcdJ69WidjasnvpIs5LZQ4F7V0frp0+mLFiExg49F7oezc7brF2M9Fen13l7fTVR9OVE6Tft5hJzCZ+NdEoMRpOvjKmGbvtbebHznGzHgE6OLT/qCADC3eBI/WAt/x9oskaCXiU4gtbMEitz31VAfj9/njyxqQWY9sXH6t6OXI3flKKZD0+zksww1wUW3ZfMnclns5V/vO6jG68GAWPNHuKpsO9nZSTdgW5Ackx7zyz0QdfDRjdbvRllR+jLqQWWIUCjfCtt0p80Wqsb3bPDnjmI8Nte+kDtAp4jGqE/0zMgzkk+CqsmDGGZ0IWfs6tr/CXp3LCUMktATZy1D7y4UtlKW/tPev1W0RF7hNO6YXLECMZGoaV0x5g33FRUPRYrlHtUQXD2eP2qNPCEy/xHKS98DWqx6zxGJeTixtKvQu6oSkcXkn/IjZx8i71dIUZgLGuSMKQD8knoUek20hDc9V5WG4YEx1T9bua2FxCLh8bOyuhmDyvSVHTpPt19TDGZxW9ma6WYmOdyaR8hO3HlredO527FT8uvqiZL9O94Ls0IsEHO69h239Mgs7F86UL8B+idRiU6Adt30Opq2gE4e6BEwd6I3EJcnxwWKuErOKAmNzWSxu4Cs4KEY9fYU2HbT7Q1q0dE8nbpyYd1d/Ughgb3+rRjsRulpTzLQCfDytDTx2tW5RvQhDVhC+FpUQSO5Tun9Ra4Hh6Vldb43rqzr8ijQdlPCPgcVvmoEvNEq+W1tcUnMZoGLlW6+EVUiSmIYUnFX5La8SoQSK1pCQ+PVxjAoxovSAgyfM4zeSXIBKO+6pUrLSKrs2BQxxV5i7p+g5BQWpdU1dsPL4X9+vLAZAIRyST5yXQpC+2kiuueIaYkiHLrgrC2dNhIRZb6rd2qipYXwjdl2s2sDc3PPcelKyYuoof7D2dcml8uwzlC1m8uE9WS1M9z/9wEhPUAdB9B19xiejoq2LB/Yj8RhRUninOSpDpSyJGZxVACFhwMbLuWYEG6wILPFVHC4kLH5YPwvYsF843ERDbeecHCqBIOkzpqZTN3fuDObpElG5PwzuV0t4+XzJ3X1u/TDUf50a3GxEsT4HxhiunOl7Y3yyJ00q+TaVvxK17whsKVe5rqzTAIAHXtylv7BnvT+aoXpRnytTF9h1muOqC7gGgpYRYsdACkBHNaepI/w1DcXIg8iswUdcJb9vNgTXo+LowlGU+Gfgjara4517lZc6WT75T4isgSlZ4iCIIdkPo6nY/jBajxjeUGf2dmbgZNxE3hMtJ1bUnMCngBS5u9RBY7qDyAW0WN0Dprb0dIiGjQzNE7xhkV1k1AHshvujROsEPYgcxCmZL0+eWmGtM1pBBoXsLH4eVfMLdOKoaLt1Hd4xdPUw+SgqSRSbJbR0dwCsPhzBnlHSPraQIJlef46vP3UliTV33TiZfcDlwmwg0B9gcPT5pXzis98OBxa0qOiZXceTM9lzeSF2m95910Nxw1xAbP1wLKNmsgdfWNySolVTQgtmoLRaryZRlN7+knPpZ8ItTPFAWKeBfRneitxhyt0g6A/803KK183Ruez+gjlhYXZ0RUila/e0Wrdrx9wwgm/yoF6nXcJLme/OxQEueJYKjz2ZzlQDcc/r2iUQI4r4JBVDpn7boXfc2d93WH0zsai9h+KWcT8FynzNoq9FzLf0BY/1mnWoT43e5Q10vJvOSl2ZaU/RzKhJzNUz+XiP/kdBP/4zBorYA8BBGcLQCpEmml24VoDwHuT+psw8NTw4uUGNQFwCBeMg90OCI5nPP/trIn4iJG64QvzndStBr2ZZ4Dy5sr8wTAnhI/4frPKA/qat8tdlTR8wPspexAumQZo/OrHOYSetYlOMyu7XTmGUsRfP1qgtFzDWQqO8RQx279JKR6dPug18r9WeFJbSLIzWmBR4BNlqO65d2mhzaajBlWXgPi3XBDVJtWUfj+K3mrUv1t3whuM2NVHPCaHP0yDR1e5xK8v8YtkNg9GLjAZnX7AP6URBWDAUPF/wYsmedFAOpDbfTdI3ZQi+mrCAatY7Y7x58Dq5+UF2Wq2f/COlDz+/7jt6HZiHfBELV/7yKmN1DoEhr0Y2qLqDGW5YWL7OIxxqL/2ykj+ZGLJsamTp5Cf1pUG/u9vq3EwFfcQayeDIVGdVs/DkvksxWG/ARmBZn5CjE1rY+N0V98tys2CYYCpoCB5A4Vbt+cKnkN1bwgYH1ZVMWV730FqeS3/swV6ui3A/pWuIiX8oYr83jYTafP/89HR7KBOYV2oU8+tCL0dSOj6pkSwDyLg0O3WGg1+e8wIMHidnKiBXcEKc2FsANW1AhKuHYCklTnWtO2xFaINIM5OsW2A1agob1fg9N5Qcg3y8SIUoz36Xhfm5ybTNWUFVbTrfTKsDHKpYaO0lUQ44deod3bWZeuEI+2VZiHlU3XPbSkyHRJkW8pViUTk2QVOJfCvRQmGRcZjAZF0eeXqnLL91DBvZlUfgCja3G21CgWApPQ6ZLVdu/WwzKZ3chLefAXo0SaAtZUlxDZ4fls0gTPoVp+qlnJ+SStOpk8q4Kw4NC/v0fKfiZQzH+d9V+o5nmvwQGKuAsRUyo0eFHFADxf+g3P3/61sTjLbY9Ti8RZ5r42k1NRhANDDFkJDlcwNvYfIWl5BT9fR1OVew8NjiA/4tr7TYC8ioJP7GgHC7j7NXr+iCqk5uMtXbmFggn3YtsRcsXufqnY3/Nk8lbmRpI6IiS4i88fF0ZKFhkgNQj80EMWxH44MoM8gnPCFMV0MS5s9UP/8PY3YppJsDK1IU5z0AYYR9oyXuQv/lMeex9WxWdb4m0UsVpQJLBIqbbQ0Bb3Kn6Gfm1pnl+blrBG+m8GRCVHNfkopuiQRIFSaYsGjzZ4PoUG5E/6Gw9l5HDIWWv2e+EL4KEYPNO/J+uQPgQFwy9n+gQJ00t1CL7J9Sx1Smw4bncXg8CU+zzaUqWS/faY5W/zTdYi28jVGMljPH+qANWn1NtASW68GFWKdPXletLHcBOwZfJPhYXiz8CqBjN71azT3lGPlyH97mQrwqedLHxgUgPizEBrNv2NvOQ3H3FpGk3O9prBXtf1VCC+pKFcdxgl//8AjdCL6UpTIKn5Dmrsnv3I751w+pmTTxAdcniDURHHL4zxFnOLVJhf6vrh9ozyEv+wgORe4a/WJeYnzC2LYRSCajSqhwwsbNbZWnmoa1ZLTMF2nuZ2OxzqYzzUer3cTKP/CZR9sQtC1F9GlFdA+v0GB88V9gB68E8NbTeGXgQrp7zzJmbFcpbeDBfBPjMa1yop4AnhW97Di/SlAdWacDLz9FIuIxtiDD6mP4ItREg/pr4aSfF/qhJ1JSeSyrNaUBhU+CEGej9zT7aDwSrWCylA7jkwxESx5Xdr2QTN9pbcbJ+bLtoi4Yb+uhYfvWjY8cZC54xdFr5huMFzdVnBOqDEcHZ5+0hkizVA1+kMkZp7rcGcwSfHyZ9xD31n0rT5VU8yXTW64aFH/p3RgX08eWzH5zylg86zAp/LxhsnwTcBwvcLBylRmTawHqFlZEQA2KxDUla/QY7phNL0bGr57qrBVtiEsV66oSk9VpnwICqCCY4he76GMA+3o58xMedM/xPJn4QapOfqQSom5ecKPvaJQiHYwTtPoKs6693HJ6jFw0RmqhnpbidhdsRCZCb8MBWLdJtRL92Q3ovNvcpD331IHoH65sxX9dLLrN+XPU+nst0lhggcCatiGgE9+tnQKwHC/NvohTaSGSDVRNZLp6BKt4Wzv28FPMJXY+Co6fSbQfu2MSTH/Em3h0YPA94YeGTbnYXYn5Pgob6RdOVnOX2RVPHzObP6UJV29w/riNayGmWW4hPioVKl9A/0zo+yVhEH55q6TXh0kDUa02XUJx/+rtjS1Rg7Jq+XwG8xH5lwz7P7u0Te6R+oyC1jWAV4vB2IHnwoYZORFJ+IxNePP4HNhYdLLOIeTESJAW4uoqNBtMyE07+ZwB8t74SuTcxlOEj6oD12YqLWojC9MOijX3Px3IvNClF/k3/ogHEDXBWMY9KLsZ9+xUxeF14FZ20xbqBEI3rTzqNzO3YRGHM2+PspdFSwgeZOzxpxdn9eYLB8RvGHEjT8Y10BA5szkEaKiYJPUAp3X3xHcef4QvX9yD4+YoA4+U9/jpwl/HV2GJZm6mJE/1TKpwmRWU18J2u7Sod3P4MyM+iuEWIqXZgHRnfU15LMRmAQzY5ETgTZkIOf6bGkgc+bCOLGtCnPFrOmDlLdvlr2/1z82XrAhEbc40VwZu/RcFi7IpzgLGcpsxpPAI9JZ4LUObTXB5i2tH/tlJ4D53PI7FGOmoynX/asZPF/Ogqv8BGeyst40a7vprUq3WcEIEXx6utFir+Emmek82Rlk9NNmwbp+zex97m73LR40nR8ksolRks6QKUSIl3rg07Ywu2a0y8cT2ql/z1zMttA4eFf9tYnDQTN+va32FgvZ32KyjXMqxVyuk+1z4c7F5j54C1OObbzeMtRXbMr0q+NcFTS1zretqTxF+eiOsQykJ2QvfnGIDMrJVTG0e86gfmj95cG+YO6BnJQCKtiZMJ4W0RL9MTEFxgXgrPmht3zp8uvA/TexrOhE3fbDTTMCaKJV07xJv++bekqer2g17GNWmnTp98VfcyNdp9Fvh8nxfQKf8rfolNFutrhicrxTYWFTLU4arfdyOmMd0FljR6HK5c8Py7QnHFirGAZuTOGlAiivbA0/MuptCoUvGlpnpYO3PeH5ep87wTgYU0RraiLByVEt0HA1wBoe/YXRyJJTirA22lZLCZz8OrMpe5Vi+2KtTJPJ4hfgbOOPBp40RYxQlJMuY2+LjksTm/MbYQGiNdyx9saPxUYK82ORn1iksVjy76vQiLf2WVKU6rBL0NbHD9RuSU4/NyCVHybjtSab+rAUH6lQoX/LEQjrBQpJ4nBBtHH8WxEruWVQd/LWoTVphnBU7OZ0dYIctkBBluQFycCK5/QwtP9ZsZxDnbTfiWt4zIRQYxU/yaO2+iI0Cgkuwu885wiL+JgReUkQu0JFl5hXJmmn7LhZG8tMcHAA+4WjevGP2R8ndWkBrKTDkeFNOy4EeGzWutPdJd3gafgAPKQudgNvNRr1/dJzGWhCwuAISTnsWf7E0lhCG8ovkW+Td+hWVmH+P0cfvMprXTb216qET7fUsE4Rl3Vg/NSL3igf/O/3rFqeFPBmXfZ1y8xFP3Ns1kp3kkxXiRNrqzpf/BUEVMfYLgBDqhkJzduOpdrwQ+nktEYU9WO4hx0dxvBte7/pxDxv9kO44EAXXs/+ef2L2/ZC3StrYksKEXBhGA3dDTC5SXIzCaiAxjpu1RVxWlDKGC7LEVQDK/KP43Zs6snCGZPd4pXevvoC22ZeQkI4+uMxpXVqLABs//T6nDEmvo0LG6yWZ8kSUPkIVo6VmnIahFLz33lbG/9uAJ1KMZyPQQLQglXZ6V6jhHMeCdIKY+KDx8PZquFrmOpkJjzxQ5bo2XtD7s+8RDq7DJJgY0Et/lULMzwJKGsHbeeqxVEV27V3OFdBZGER4ljytA2GmdEJuwiXTbeK1v2RsJxsFDdAuYXd1Evpghd/poOAL5llcUdvZmJK1W6TGG1eJ80pkGp4D+KOBWb0iZ/9Lwq8YwboGVuA/K5RJ2ThUQ4/1ifaOopqu0s14zq8Mf+JKjOwpq+vaAjNFGkrnPHCxAhR8U9Xf9hktaryae41bia+oV72wq7kaQdlpy0ufl7ZdVuJmN+k0YLyQAfXHl+p5+WaaqLtwHrFKr/+7iJAVhBBGS1QgHsvIY6SIrBZiHETw7754DPacKp+X5278RiwzkgxZ3Dbllt7Jozovo4cJnSbclxy30rpt1wJdSHOt3EudnhIZZADgGD6YX5D60rOczJCQ1kVS/Ex4JRmfolMn3MoPiM61CQc6jdg/Nkkc+WKXkzipYBMXW+uvH0ZAd9jJFk8KvcyueNStyZF9Kh9CtORS02IVZQrLQK3qzpAkaxpx3YrGpqgXEpNaNa7VfsE+wnIbgYGDW4Zn/W1iDIA7DxI/z8gO0qYIs3jB0PDoC8qw+OKcMj3nYEMOUHaK3PwK2WTvZyU1mDJlRRLx4lIfmzCMvhna8yYGcC/pKSpHi0cBqnbWMgjjfS+SmxrTTdI9XvMsGPvvdpP3XzRP3k6RX3pstGlvsO91z7QRDhQeBuqfoK2tJLQVe69sgznBvObnJFV5uLQoLDvfyF6uU6RHY3HziW+f1vLgFL1QRidfdJFd9YwjovQcQfdCS6KnOBwdvEWjWlv0NQPZibhWt4XC93h7Bw6Nr8UZBdCKea3oxh3ByCsDime2EWlRnDpl3rL6xy3gkk43Szde/5qaTLkUYRko5yBtSweW/sP/kx7nuphE9rv8273aNy+w+bBODbZlbYjurhenY/KCaM3tg6Skr4pb3fRMaH7gOLyjDSxCQxjCvEjWt6okNkVIyRSa1ndvyMKCqEgssxeaV27nxgPN5N3vuyOmJeCjQmzXxLUZVHrRRLyhHdm+wh+vbxQ3Y9ieyfdtUkO5n8X7akewmt4K0ETcSOdNcLfoLOQTG0F2S8z9dzfO7s98FfA7IsLio6LJeix2FLGiSIodPOyjWfYB1dhICwtLkHn2LA5QzshOCavU6upMEE5fvIc4x53qr9zDwZd9PiiIb6tq5F2gpjxVCGrEFNRmEfi4MXzUTgKMmu+6XbdCJ3aKKrmiXdfEgn8pNF1Ydf+5ZGSAca94EdCvwUNK0m9RWznZ6G7wytBnjqMw6vdKtHN/zEFRgbCK3WrlnGZ3IDTtd+wokQkgKKLooLyPyxnmxW3Qd/cXBPiJv4nlsM5NvZVO1AKuKwjJ6xeISzjM4nOzBD3n21jSR63uGilDIKF+C7OUbwlCxaxQRKS8jD+IBbXhkVs/Gqb+meA7RB/MOZZbuJtgOUJzJVZ2RIb9LMMRmYrWAaSm9d1lz8395sgiS40qVCagGj3GrEl27bQMdaSbjnzDOfgPsRCKtjdJqHk4C2E6wINyvrG5jxG5GvcrfyCgweOKSB1FyCjqIhiRiMYcJ9UUJ54r06HLCIRoHHphXesZg0pXsBbEFm9vLTjWGV/Wlj7711/tBbZIt8qLD9q6kYPE3ofJbcjKrUAQBtRI3EjXJjb4iq+A9hYMTpvmYYwlQ5gsfIgZ6671L48s49xyR1StNwS/hlIsqxw0HM4Kr/w76CxvSaekcpNLlCJrmm2aQtdtXku9nMVPWZaj39NKIrdeP0em1Gkkrki1yUsfWlQ050V6SEWff3V6CcKPGznrGZdJ4G+dn+NXdOjnqi40FoJGUM6xC4bZLNX8ckf0AxFOHcpmI/Ro9n4LvT75pPsI9WDaaBbH92ph7kxbB8EWB1v4e4tZgyHT8wHAN1REH7nhnS/XAKuPrPwBzCtQMUwKUO++J/dOo7XiC0pH1ztZR1MpRiz115OJW/c6tBe6WFt2NtKeZinF4Tb3TUEb9TKItJUldDI20VUexjxudXU2Mh32Yr+iGTKV78YcU8qWpcVdSEVue/2dydOgoUiEM833KvlDBIFf95mtNVZ6jn3dudqeWGB1iMJJWMlTgljFwv3nq+CjY8qQA9bxgFOsoVlBVNnp4nX3zraVhlC8SmB48DdY0vcWKLWxSvQdSoBKUWYAUrGSR/A8ybsAj67PFVLKK5pgXfooFzQa4S/HXJpY4JYkqPa8mVaTJBZzjsP7gNzzvfFuQoCRIspDHCq/jJQEOk7iL/IBEAkGoFaIiKVnQu1+ukWMRXGU97iauSNup5HMIE2V+a36hbsy+0nLH05N1IqDErudvyyO2z9pNdyp/DvMTPwF3wLz2drTtI/eTVV2JjLLJNhdsjFzq0V3qIyMAbzXkqXe6WxK36IBtbFFGkEFpQx2nwqNRhOaVnfGneNs9Lz4ulN+uRwRIzRCZ7U4hGTBotTfZtbbedyyQ8ecIBJXXMVL/ln2IAkAtGaVAgls3HMJtqaLVewzfaQWeWWZ2U1gItzRuinBEe65+YiBAZi9FRMT7LIqRl6U9fC0zlzfE9OykIZApZsxccJ2iHts/MOuUYE/e6meC2T2AtWMk6JRW9LoF7dv/D6LKinwi0gtugD+h2ZiwIUslwcMHM3qi0CB2oeompQ5JYhLc3EzYrQSZev8BfQg4bwPsEIcP5xmTbBu2FzmIiK7holscCnOBJ2mKBFThxsmMgarOePQOIschuAK/Zx761hu6zVELq/aj0nMwkfFyx8PPwpMpJIpyxB8+8JSJnVmN9rnKiFGqV6SXa6pbg/OEvm9p5h5vmxhnu+S/4JNmI+A04GeZukScwo3w32n2SrkB4wuDL0/kLAU258vbj00HP9sSdbUQODe82mYSXHuI9bsbrp3JgHpjZvLwh4BulEgnHOSsqGkG1s4e407nmSkG0NmcVAIlPESEczA157YFZhu9nq82T2JNYbWICbbO2KcGbFg4wh0CioLhRNppc+UbpaSWVlYX7M68jd6aQ8Pn8zMx7zfx14sF24ClzF5WKSJbXILUUgIC2HDSck3H+mP4aKunYq4Sn4ycRLssGAlq6Vd1jcKE9DA9TIuPiaC61kz3O9s/tETMSZRI7ZDyZXTSqGDKFMlOe/pmt9tnmQ638wWCdgvtVWrjTJIcIPIINBUhG0+znYOKL9liXWCpJh9/ulN4UzKX34U/1/ueWO189wvJP1b96spFpnAoUrPwJSj251Oui6O2iWheX6gv4Y/CgJdHDJ8+W1tO853Bnk28uUc8A6Kae/26jZGAtNpXmTKlY4G+X7tI89WOXu9iYrgZ2PU7Mkt+MkqoXdL01krXUS2BmGahLcEFFpRM9OMHKsGipFJbyifbG+ypZrBCIWciMzh8FQoM9h8T7JlLqkZdTlxoThkU17eGCahmIRfF9yCQZivgfkrBKCs2sMimzrtxMPtsWI/S66WARCJh7O1rYv9cWMa2WJt+cvn/J6PlSKinEMxwiHcmRMhA7eeZuVOPbEfqqQDfMlreIPzECxuREtRyU68HLplferp8Oqq61zSmoI6Z8OnuNpTZyGopuu7cmj+d1Sb+2Gf3/9IgNrIoZXV2kvydTsb8Y+J2zG8kjnwSjgfvB+3jnCl7PltdFGDEfT/J65FmHgNH03xJtyX6ecCuVVGb6CmjpE4ibdVlLvH0uuKoX2oEsNaNQ1OkWAnmX+fw2kQl2ujj0BNpD7YgHCyZ45BKLwv0WIgkY758wIvylmzq8ErhSfUKhu55OrtJ6PZKGSbcijS4yT6FGcvYmflqJZvF2g5Sx88f1lK60bK8Nyyf46v1gSpAcpEFPxwu20gcOq1kE/khT8fqRTLPlsfFW7qxXTbR5NQ5wcl3ZRNx8rTw3h1oKSuqN2WIfykVtMoNsnY/2dQ+rF/dNVSZo4mTZFcoNcvW0hOyEMbKAdhSFH+Yfso4qIYO5CqrhWjKVy9NqIK+42M8PV37s3Z7jxhxwlp+l13+G5N+zQFUgV1JAfREdPGAaE3R2qYGAkzO28tHfQWmI+cn6s41I1lhcfBkNBv2eG1jBBPTSgD5dTK6jWTMwRMfx72n3FYOLs24Ny2PMtrTl9BXh7oJPRoLO+5ch4F1Sh6z4Bf6XhQcr41H7M1ZZCtjknWf4Ffpy/61+50IHGWfb3S1cWzKLXW07SBRw9z6o3qD5cVlKOgajdHW0k2OBHa1hPqRXHrEMu6ZZdlooM/69hZmE8HLo88vDl0f0qBCjsjGnwvj03DiTrCdRyz0xC+Mvzp0zgUQ9rhL5RxSqODEDhHC4u39X12AL2u2ZS7ZidaxnJjLpRuxEi5WHr9k0Q+Z14IGiNfN0/yUPlynkeSy2OK0mb7dCjGQyjc/J6E8HrW1MUNDalRFKZrcDBOYDsry9xdluopVYUt0wNykD4I4DS6xf8ierdobcJ+ZBRt0bdKHOzIQRDw1hr1NUyjDuhmpcfuqe6PFMNL98G41x+ZY1MQCXnTiILQ5kHhwt3T8G3DjmyklwbO2pyt5iHwds4hfTfsUFB1AMfQT89WwDpJPhQATYtNVI0fiT5tfrhEIoYGcJtnxEemDEwtzIc2O8y7ah4lcPqBLzt6ecJHs5ojd3RHN6hvLRizepyoSMjWSLy77x0QLdZ1vxP0hIb0Ohc9KaMlfL/1QkNWwZE1j65Tq78XTgAu79KvYIVYHF+2tVJ2O4GgxmNJEnEojNIPM9aqiC5ILwZS7f2PgU7xett/oKqmGCSGLeGB0meDHx8WjmFRHMBYFHkdr9jUJMo124TipZl3Hd+rqfhoWI5EOjgf+vVmicEtYu9oladlkMs95OcD5co03I2Vqouzv5sqDBsUcKlhLbGpOugsp53vdBqbF+f/plk7ead9A9Kdzza9CCHf92/wN04gn9Nmdr7jbxVTMnJGHJxbqSdC3sSt7d1nA4y+/dMlz1WsZXiLmeoqX8nkWL9nhD3CMHWoSNKRq9OcR+E5TFxbzF3WNDyKd5VkYlC0gX0k7tuatmMT6PqyNBHU11wWFkp46rzRhlvaLNgI7rLxVvvaUJ7R3uexm6jeL8kRTQXsaG1pSmGVupuLbZtv7iRPhOkeT+zKdq05xOR2P2ClQPvHH90yKWSaK4Fd7GLjk9Fl8m36DnBWvJLhb8b9BQlHIl6CJdTxMTZ4G3IUPsnpQPG+0JAK9V2HcKasKzHjBqYuv9FADfC184ir2y3FUYHxVJopFHZAUSh5cODjF9MnuJUQYw5GdttETFu/Do7xVD2xOU1sLFg2dUTpk9zBhqzWE5wzjWP7F6UTowc/Sol5B9Dk80Vlgs3dbHH+cLvWeFk+/lXe4RF9j268mhC7Nf8Jp6xU7ZWKZPDdhJNOEoyhpurMPk9oGeU/WfjqZhsd2Djs2r56rNMU34gyJf6FiUH+SKYw7WQriBoyIgBnWjqcoUg8wm7Vm0E3JcKQGXBtJVCP09hQo9LcHgxHIBPiZEZzzAp3V7vKElgsw8L9FirguItd0sql6o43OB3ilD9dnrXGZvGS5+OHmNNW0EZwZV7+4q7CW5T2u6cuHX1bWn7iwZ/HgTZmc3Bms92I96RHstzGHKEA3+Rdp/QUZL7vxg60LLSqTn+/7thOSSYbd7ozR8Bq2RUGuMVaD5GffRao3OS1/o1HXcMiVmEC24kfq6QP7kbNa5C37xErFMpNhNYYl1H1R3h2EGJ/++p6GaAANzL14cWPe47vdlGvB2a0JQ0aKGKZomys+8Pa/2EpyCBxCrCQNPcPD2CZLH/WeQ1SzMCZGSi2Xd33HK3x/wXhgnXGo69smhBUzsTrmGwleihI2D/Vd82bWEmYH+8UqO11g7cbV7ws38F1KjaCFDCp8ue8ui0/OCXd1uhD7SlfhhQV/gDfO7NRYGEiqUY1WfOuBEp4ZjePOamlOfqVPP5vlhkhUYt7mIAVsWfcKlZYcaAzgCGVwj2Z5k1Q6Y0Re3RXS3uopg/hyJycWEUZeTp9e6U3k9/ZSybPyB5XwBGZop63CEy5IM43NElwdLBh4RZpHIUcsS349ftp9jzFq5NV1mdYeTvl2VFEBtm/2kUCaJwwRFVrWmb4ZOoTKeO+SROfEqyDdGRwwH2DizQFoq+oEYlaRuvmpDpyMQf08WEym3E5MIYdSDuNpgYbmn+j0xLWAYcVDtPWW+yzIUkTjHML4gwJ0ddglTD4qNewQfkenEfgYlT09SivkEXh4i1kQuoj3W3n1vDZYaBxUSao4q0U17ZPmKrW0jHJfD0EJdcs/8Z3cPJXncgXSucdHvlWexAOWum0m1pDKE2SYrPdTJN0qT6zy5IEr8coIjRBB65axLB4Tf1WK4NUicDQtU+hzLOOV7VjB86GjRvEfhjn+4EgZau7WQFMDyJpVhmAFAz6xb4vSGmewkoxFomhnTxiaV7N5vew1LZ5fMJdEHrLl/Lz14E9TILb9anjSRDxZRmEeO8qVDHPnDilRlXl6LKuL/WCKMzw1sdxQjdh6zzO1S2JKlCKuSRtF45Ci1UuS62AxAH6Yj2f7s2QaT3NC16roIhAAP7qpRyXLvJpKeYR7POhKQL9b/ZR3vw3xujHiH6t6+k7df3NugLOTpbu7Un8vB/RcQPPV/bq41KyKD007+FABJ2PpAwuXcJNoVUq3b0dyqsNDU6W8cVNLiSkKSFt1Hh8zR+BZfFIPHeiqkx7OoWCvpHoKz7HzKRxnJBPzII2OyIRCNem3LsFTDcFvdaxMH7AETISHAHL1kOqzasCBc8JYViPRAo6j+cqZl8h/PBsOD9t5mdccU4UXy0th+N4jcqf4vaahl3FVwnLapfUF4iYd1HGzjOcXZCElXcLz1Wl1QFgG3CDVzyRcVSSrsYwfPWyP+GH6r7gxY6ltBGEcS4rZmmyXdr2Bf5CI/ccCBW9numyjUOsow5IuO9Hmq3PaRDvksKYYxQs7cPlPPDLnu/aDIDs/HjK15cMj1ijRQcO72Jc16ytpp3bDF/ZUaQp9w6G5pHzgLYjsA/PgXHWPf4oqUOBog9Luk9sGN3yMbH8yKAzmCp3rT0rE93F/Ymi/WzpWW6rPMRrxFnnfkQT1NMTczKmtVt+2HtdULflhJYov3nn26R7/KFQJsDjv5tKNY4LPk/6JXSfaVD43agZGHe9y59Bgyu/THYjKTCcNYnPT2dN2U8mFPECU5Ww/fFfA3gw3Ll0hVTLMKisNdh1I3oBZ2okqv0/taAc+Cw5FsfQSccIHmvwey22DIQOkv4RI2B2r4vC5vUREkDk8Iq3mcZLRqAMiC/rSOgFsCU/cAMdXLN2mz5UdpfSEM1548Uu2cJ37n6rF6f/J5AbKstNEFtAVbPVf3Go7mbTPZHZHI18O3Xpxw2s7pC4cmdpfJbXnaDFF+qDnNh765YCWvH/xPW9G77srg8Tze0gQmYwedgE+MSXJ5ZaVsEEvLDzluW2TbVt8PI99WyOkHhiJSY/bN/tI0A8eJsmlMhbAYZkFOMfisdik7Gp4itUo6qTQzMJTsouJaW1csNrzKVODvZF8f6d+0yVfz/a3l/tdbPUEft0JvCcy4ouHHWAPjPtKvAkIXlB2aQwA8S51DJ8yHGovn5uWpxqfwAqv8GXWE1K3gQFoJKTVtz5NjYusWYGM0Mu82xL5tNk8U7nUyhud6FNNn9z0/v1oJGRHVw/zEtIKugwNAbNVRuyEQaM+og3gGPGYzChu9MrL9NEu2b57vdJVDwXOADyv/QjdwPeRH/jwwyFu4A00f+615uxIP/bkd/2wQLLLq+hSgsoz6XAuzlJzAQ4DkFlB3ajo05QfLwhQJ3drhekX2CFhZO6ZPO2ERxYMruyjKLUDGb00e19ilU+dvWXSbu/3XBBGvxDquDYUeWcuiQzABGuYL5u0E7S5SYM2Sw2C5BM1io8EO7vYmCyyM08DqxujIT5AAD0lMG1RcS8MFruYi2eUjkUqkzDf7S3E9zcATe9HF5+7Nx81S2UmMj0KGcVWJWr3QcJPr+HCjZQCqc1nFOCnPFFqr2au5tMllWINznIKySPYNdykvnV/Jf6YkrLpYEZ8suHR+//8g6WmPbdWyRkzmanWWWhHuNFsQ0JDMwBT5WRsijcGkisSNhdIIy38i6xAIpI/6W96/urefm/25wMvcdG5xjjXzFn//v8SSg/HT33MhAsk7QsjvTFM4XAlyUJ427XvS5dUUgCLEGSFBgfep1M7ENBw8r9rgLcOSYg4GnakwCahQg9g7tDmpgVkb8dhNHR618nWh8ubLqmtdew1XEUB4O85PKYeYbvtaIHow7+CFtXL+wX0/XXv4EvJ4OilP8rN1YTOcaAQtiGjyWevz+YFFXNiKF+zd5tFu9i5/wZdyx8u42eTcOqfV9f9XzBntBNQlT3M3Dx5qpep2Sp57GhsgSHX2xnWJ15mLEMtqWzYBglpu5lwDGBDf3RrLMAGxWqOwMXcMGs+nTcdpF61mCmVNOfxKnA+pMXy+v3qSjcgDW2REjjlFlRv727Ef3juVUKW86194FdP5og+yaLgIKc8GINGt6juZeTWKejBH7Gp201tx1+Nx0nFZpzFABM7a/Qj72DrB7tFm1Y0Q60Cix3Rnt91LB4vS2rPSChFmI2qsBWvBFhZ/6OFKNOlJqqOFSsKpkkzFb416w6o3M3KZFAB4EwpJ57Frohy+d/GTdpK5AxC0PP9/tQaPKEPiLin0qLkf/eTrk59oP6yVZtrDCnijwBnQNQ6MdXe2LNQNWfyXnH67poBPrOnAxN1azxwueBAmDyK7y9vH6EI3+RBUcD8p0hHsUYRa86hRscDWUbmiSxJBblVOVwwAkJYVJy8Gv8VoJ6jYs5SaO/UVuu30cCNNJXgtQyRnq0905UZ3da98j4qwbDmy8sEBZgmYYYhPRzIlWlWFgeKKXtBWrSzRq01JxkDFstQRewdEQLi6hW9UvFCgqqLDy/bVD1Px+KRisj+N01/HpVsgsW/MERLhA2ZFrBerXFrWveHVwqlRjiEKqKyw25xqChfmgNLxjyjZNiFiU+BuuruRfWgiRvLIJxop2doqlOnBIAh8z3IoXfEwi7+0tVG4O6ZYkfAwHDwjJlzPPqJ/d64N39Dacy1Y3ScHxMfcSe9mhbdE1od/V0uHFJhRcJwEAc2/Xmpb+zFe1yICd48HBjZmElltR/QQAy3rhH3OcT7R5KEpYrkoRJ0tu4jTzhmkG4wvbHHrYjkdLK41swSbaDT7G+gcE8L0jlIuSMZClc2UrtXcalsRcqLm4zX4KN2tBToVGo7HaORfHG1Zm5Fl/6eTMuCSOXxpKg/oOGnltHhzEQeBV8toUhuDkMkQj3hzwiuyMY6Ew5Gs+YJ8pmPOgwy3ZrzkO7iJrlgMwbdmZ1tvpn/QsgTBcvS53OBYOSYNA6cdXbU1j9PkMI/oDCCyXncKadOswDzIHjiqhDJv25S6ifIzf+B+h88ibctF8yc847jTY2b8tWzJTvbCwMvjZN4u4lUPW26D2zzXm15h+wyiGK2inctHp4bjULYbcy751I78eJidEEyewepeBB8OClqMmT0zvEu8RpecUBftz0DFbTWMpEOlMoK6ZCIuPIe2dlj5gh4DSPGlwCVRbFZivC+/egGr4ZSbKYxKjXq34xem1UFRvACWA6/PEGuC3aAqv/OrDuxv2tRyOby4BKvq35ZeBi5WlpDA4IFlseBs0YCX/dP3Zy2d7lA9VQQCzJN7lrJ6f860Ay0nHTfR/3s2cDPr5KEzgFWZAPcS0vXn9sofd1QiClUeqHW81BXjQ+jMXmVfnv3UqhU3qpKtpQFZTYWG/Lf2A0nk39kXX6O6jN1tUna8QuliWPiEOVTtzqItQB8DP0SH8qZhLHE5GA13FLCIadl1kHRnGynY6NWE+i4zX2WgsvcBR4iXqAEBEplettp+IC71v6tcYnjIJ1u+Sonse8z/Ywb29nj8YZw+0MFIqy92M5DJXXRfhDJbzANxZDvGzcNcb5lAccqclywjz59RvJXKB3dH6DPWlLs9oTWxGXKQdqUtvHKV23QPOQ/4tZ7U/lcLVH8S2zHUyfg/SAvVfFadkDKaQup6ZxcYQqmQdRmmrpxO5wzVuQ1gxpWAz9R69pNqYlj6iVAkhtyCOGN+WsUamxnovBNVooAN1Or/tRDu7emo+Iiro/cqOpdlDtAlrDJHSiIiKuTDlWfEMV/sj8QVpmkj+lTnQ1B437pqQK+JR32WcB1/50/3UR/FBOLnztgtT3C9MD2s0hWxiTmGEwaElqNWeCHcfOwCYdmdhTtyDyXenI+tJGF8DPQfkQOJiHwKFwVZTwH8MvwzTud78a1EQf0IybsFbTEd2gwTbWEie0Rs6k31qDYRBh9ibIe4IA+TnFDpl2Z4wztzIMnSJ78plQZkK5dUJF0ZcRwuczGb6ud+T+Yz1ctzZOEL3YwEKZOX2T9ct/k4ZeRnC224t6gjSFJuCDDKAfkBYVIkxzxEpAVQhpTbaf93AM2ZuG//MSeJkfABh6ViypYn6KVdQf92A/rBZ2dUTSDGg5Gt9mHdp7inhcnxNB43QmgelcsUrRW33CnoMaFvOS2DMuMZYg/CNhsZqTEOCoSDEvvBQuVnNXMai8cSJLPvzHvAc90jJul3iInFJBaIOIqwhTAReL5V0N93czv+UTHr4bBp664kQA7dkHGBr5tL/Vy/nO/Y9roi4qFY+VAJKMhO4/5zxmdSOdJeSZwnMxHgiQEgqMZN2tNLYCWVAaRjwxO+Edf0FwNjHuYvVAIEy7zwN/kbKX8CtwqpFVcqO43590NtYBm0SopwS42tZE8qleztSC4tow2z5M9lUCqH2ze7kGykXaOfr/TkOesMlpEl4ZpX8bATNgZzFIRyV+sFKvVtK/6r2lfV75SLVwnxVzQDwcXoksv63JSmOTce8SFKecgZuwULbbU2gbV9LIVyVKD0V9KyDmLUxNJNIKzsL/z69Mjvyhbty4Hh1ZG52/O3BBngQjafICOgA/thm2FizHnD+103GsJqaxYm1D6WFdiHfLDe5SddAZm+I/pb1h/nyvJc1YpFCulFtTLzp4WlVL1bBhFDfqa1dhUbS5Q322xfaSDO93XTMD451Cmku4OpahpWFDsDBm7ajlvE0TYVZaJ168dbGsVzLjbpk5FkQoxs9AvX37tVp1Nm52Re0Tv5IbNcnloe3JRjcNFUco0oiMkmazfqjM1suxIqE6qmGL+wznf/rO0x7hOJS6mXSvyDoIPz2GTUrEsstQ4jeIJckT/W0NwJSzBQR9V4mDZlPSFio3KJTcxWiUtP9exez1g31PIBWvnaDd71zlDGvdp0vvY2a599d9MdlSxiSDky8AEfrcG6EKlcsttNq4O4FTVnavP191jshddsm6LiNJdUuoYHNLFFfpT6+1lW0WIaFMrV1FO1l6WrUBfOYy2jt4/uWiaEJuC0tBLoMY7nKBAXYOkBMxon5uD5METefFOBa8jI/vuX1/AOMKQ/tyQAs5ZwwdUNkvKsJz9kEjNs2S+hveLuKfGgbjFZx95aVcoDzd6fVhIRc2ts9M0kQ3QD5y37I5oxj5gam2rGA9pqB09TbkEkBHCOZzwm8w8NYxiQOnutV6vcp5zIp/mdNkLrOAoyxFzU8cYZS64/UcMfU84qk8aLsXOmkvCHc4n9GvuKDhkxBniYfnU/it7cjq6cWGsak/qEOxee4rpmyiMNCqtJUzf3Ul8o0RWF5W1e57dMgaPyFwNGrmEn69BUXLBC2ZpEa+0/GHgb7Aj9cmekbZSAVs3+0wupjhmeYyPRZ6REm14Naj71oB6hChmDwCjuK+xF4bhxXl5TsWwgUOChUTGigr8lKTuMNZm2rZeN/BaHzESJP9N5xM9NlvOmzbEEWtQjC3FA+Wqj6+6MRFlkuH1/Bf5xDk04orRMEjveVHN2EN80m9Sti8lWvf1FwiKtXwpvLYVuEPLvqg3teeSDzxIcyfB8YY95InaGNHXpDPWnoeemw+rmvl2YAARsHLO1JO3c9hKMVphjxTa8JJZX9pgPdEKWBC0IREM6PJVudy1+e5ATBCc5J83Odajsf9yHs+sS8RLzTlnNVEe/T8z00D821m1rYwdbXEJ3VL4X145psDczIeWiTspTkhUltLecCTA2g4ExvvAbF7kgr4+PN28N3s8TS7a5dkqxUJD0Cjodyy2Qj1psBS4CxOQsipjkYLhK8QGcJk95y+fBBWTJwXII4htJ+wm4KlJ2WSQVfEc8uPjMN/pFT0jp98HOMiijWXEN4IPmY+AfRzrY9lPtyGk3ok9b4GTtI4ZTeJSCLKFQs0j4IYoF5xKI2o0b1MN6N0yNuKTOnD2FWUwV+TW41PCjLU1nTDVZXq+RtchVCbkFV2s+1ywcbAyZsRkpu36KMZEa/FzzGUU4R1V2fpsToC4UNDzIlSPieiTn5wx4BMH9l0k1nOdsFG+aH7qv7z4ijXA+7+Ply736/YKyAr5CFj9JU+31pGT1ggwdc0hgFmS9ZRxXi2V+HUUtRlBImkVrX5z9YqT1UgyFIig2vDJRZStR/953nz2h8izjknjfn3Cy0a2vrnAgA9AZA4RXs+gHYaxUYQn2LppLJYJWyxq7nbTS9ONV1socXX6cQjXTwafPVnDSgK6j6gkeNiaKcuwIdWquEue3nvstOW55mjO480/agMAMzEPJeVLTTGFPVW1BhMzOfEpWckSgpi6huUHmBHli876yG76EK4kvc2Gni2vcbbG6RLgEokmfw5QG5oeAjZdXds6QmodNJRZOISL6T8lNYymziiloIKFlpRbI5mYu7FAETHaXbi2n/Ni56lDbavuEESFPzqdbNwOJWT6tSJJfjh/q/HaBaAVYqK+HoL3OYPlrTKuVN3jyWLZLwHiuwKfGcCIeWzvHqMJBgNP/p8O3Wa8qyEdWp8PinpvE0OjOuAZdCW8HH4nqYUPROmVw7T3gLpo0ulUVamm3XLDQkbguPljvcUDvRODBF+h6GMAP4LZZb9YoncT7rtu4XdP7EouHCU1KPVCNpN5O3fDR1+8Gv15z/Hk935W6ElE3+ywkDvSnHzyf6hKjyLrcqfENNal1PvTS4tvB+PBSXM48TByjN6ozS6Y0Js1nwP9mr/JvHoDqBqsUKN1uzVjS+DMjRs6oUT5Io4X9ltmOrhACrXXYqT4/9s88/bGqIHNEzAuU2WZZU935Uzje4wOAAJi4CLwu+tT0Z9rCdHPMPlE7DcVQxyk7kTcbnCxALijbdEQVPnzWbsCJszkGwHF3HhmMTEIkl9gyMkEK/2MVV6uWFRH+9k2ljhNY0ngc2/IcmjCqUSfhYG2CB4TjEhZV5rfMkziORhCAGKmbUKikJdeYS4+LsPq8PCQtlz3QLU4EHkZpqPa25SkxX1hIc2pGQBWmMG1ANmkBfW9wKuj1VTPY57IbK8mrqst13jw2UUAqAjILevPQnVHVXmhG3lJ5vPAs54ZfROfC7wuUsA1SuwlFgxBoAyjz7KnyrATYTbPaWEtcSre0v3IMMBTJq3b4Ac0DxaibIIdy0kZ4UStYXzs+TLs1pqw+UAYwFkegnJ9tsUvEuNyH659yMx37bF92REjwI3U8twT2JR9ZohVU3bU91fGeYzjKDcSjO5ZHXGCoUwPAfHoI54x4tS2ragLuuwu88akx3zxAGhzAh0Xx6KdTmzwIxh1c/LU9B+fkeP/hOkNCqxA0SZQGRXtgraLy5HTmd0KaHNN9vPka6IAonr7tRXkv6H6NdHydRu3MrLRyKStPCByoLGUEWV40ObnsrGloJqJ8omsJtDF1Bg49Sfjc+eOx4WSsQM8LH2hSLytTiFzj+OhubFI1mJiVGaLIk6Ua//mg+D67F5mDwIO0zuvFzyfG5DXl38TRVgOxpt6F2Q9KjA+5x12VoECG/Bs8ijoc6umyhmnDVSCcTc3HDPb+dYJaXOvsuhKKZOWGH5ILGfBZbVi2uoF5nIQagRDhbWQbm815P/bJ0UApQEtoPjVH1GWGcfojOI2GC9ycQeMPGhjzi9R3ha4gGuS7sHcHkr+3h2y+a0yOYBmK4gJ5nZpGXj9BPWXdnNiaXz5x93S2FKDeSgmFw6dUcBU5A397XSfmt50MCeRyOJsw0dbCeD7HoCT/zNXx2Qha2Z8WK5NwUblr1BHzbp4s6BN168zC2b9EdWBhwRRJkCuNXzdovnUgD+zk89EsxTF33I1jPJoS8D6ic0K4ZiwBrS5qHRg698pYQu2WrnUUN8abggmY1vBPK7ipK7bMQFion/IC62IfoP3YdFTD8SGWZa3xHGhfC9fOJNJRH/KrdctXQsHO6Zl7PwgfXsvKThA3GlapWDZq8WEakr2weA3S1FDik69XRypODYCPDqE032qU9KZ352bpoK4E+o5uRF+e4wniJ853MkHikTN4u9TaNVh45wOXcLB4P7OhEQGP+BJQsHWJ39RytXY96JP+4ESqCeLYJXOKwM9OzaDGkCKOq7QYlj7nVKV8o6ootRLMWZv6gyW2c3iOvob9YqbDriWpkOZmuuSG1SdfnUkUGCDWPKeSiSjE1Sprtb+XC0uII4/LhFTkLmef4WLultZO5dY0zjskOfDIV1LfgCClU3aqFR5tJx/uDvFB0By+KqYIFZkCe4IFExXyo94W3tNlyO1hqup64n3doNUFu+8H6B/E5gNrLDyV08sLwHRZXsiJthaWSN8RXzSF8XTMk/0E45dASGf6f2R7zoMIykocVQZTa/kBuD4Ug0BSYFcg6+R7vmAYW7o0VbwdRWEZ2yXN3XRZASonqFHEMS/pv8QBp/SO6ah4vGbiq4yM4oX5grqhtzJ+5UPsnjb+RBBXbfGKLjxmaSRCVCyxDY0PiiVs4Dyqlp0s3JCp6gF5GjfgrX8g7wJUiEpopYNbQcv2rNzYp1aPkaXVSUk+SDSdBXX3wqEYms712CsdrFs8xJL6eJ/M434jgHYRN8pVMMTmRdDCrACkBb/IrUeGnX/z7s37V1zBErVbVQb6uhVme30RshTceqdnhZZQw/oBwD7+9bnBIzrW+KtP/KGP+zTFffm92++DYXSNmQ4oYlO3KiIgpj/klNmRWufsxnDwRA+JOU290TKRFYSfOU8NPEwhCCUt4L8bRVZGtiVJwpM1uC6OwMm2UO9/s14cpy7uCdIfkAcN88iQ+/xsCJxSScSbtc1dg1bYlUElwpyfyNMAj0LmOAh8oKVwQcbNRM33QJAcszD01Efn1qqqZnSJtcEiX8MTb8tSk0K9n05Duxua7LbEteyFAG30w34Pnt4vmb+RXEgevTVME670kgnjAv1UzxYoyMCeVIx9WN8oSayZPwVBDYU2vkpI2LoLgNlhBbumuSonV2PI4ZErDyJWRx+C5ukFG7f7qeu6UcgVK4krlXCH1qx1pm65KL5P+zHf8JEfdQwkpjtPSy6SsqK9S8owIWbTS7mUehKqFsL61Ul4Iu8XcrnbVohAW2rHQeDCxV/TymdFiIlXczD8RfbpbNFO03xQNVbXJW3TVDVpygEtXUyfe2KyvcsmlEPxK9vVUkUoAxpDyifXIq1YByjtvEcaAS3fpwb2/mpjJlIlShKMNRlF9fdch4chMSZlhHT5Fd7I+ONOkkEZgod7XgemNXQtCIatFr7f4vVyHdnazKODRlsGYeAcHaJ5BCxIr/Sr3aZg0oGaE36tDd6N8FoTSdlwYc3HNsg6DMGrDs1EQ/faBdNLi2JJtp2xeIo0nndSPF7wzFtuTvrMcvehuzq5EJpwthiqkVAI3uHuQqG05J4ahlDIxhX4z/seuL3FuHS5yA50ujfRg0zaAH4p4Kxhrcm1mJoGEL01q5ym1nqAR5trXJoKYO5XKseonMcZ4zFcRCDyyHD3MHG0X3/ihg//LnwDt3EsnUoauwJp3OEJweh+yZSdaciUo783nLuYS65HE0Id8ui561haZK+z4ivXqAJaSw2Pkyh3m4h3CRTkPCIVzT2sZsVZBZoqKd0I/x2E/PGkF8Sd2i6nJjyT2FyInHIL94cbXlcyPA6p0fBNi1Q+VKvliUWYmKXv6LU99UgakNT5KEvLwtKzxz9ylRvo1U/kL3xrPA1csn/BKLEHeELKufJ8hyX5nHigTJ3h0Z4Q8XTEFw5A+Ek4Jo9jK6RAjOVj5kfFCw6Q5f1zBQNkjO/dx279qz5TdAaWXAZzp44hgRFHNA5c5fdBxNVbJZubU9FmzPCC3n0Ch7HUVGuKWOQWtKoMuk/3sr4tRh4E19AdINUy9GWoYpVXY7orzKRSfFa25FrqIrj/lhynnQsU7gA+G3lFwSZovvQZTJ8DpDFbbdwXssj67tWLbaWjfEGP+4hmFMvgkQ4uBtQVzTBuU0SHDy/xkWOylnhR6Mi5pazuOTAdCmiqgtTilb+1qUhloLsEznIZcMjID2OoWa34wwwpxVPz3wm2vwmRNNI10ha6m8Y1C9wUtWg9doI6s79nrUuMThob/xPjd9NRFvPwtjfyyZoRp+8kIfw4624w8Kxdk1k0XUyhTv8RBZYhahs8/B2QGS5I9Zqk74YKo+hiqZXaqEUcfKLV0jOgkeb68qktQ0rqwZOumZc6mGI8S9b6iOxLlc/4u//PPO3N8XgcyRqH3PEWS24PKngXOUIgdv6RIj9pB2uggH54zwx6e4vGFS30fllpgc/w6fW5m0pWrlDluH0V7dpaCWwJ/GZGs93YUE2uqkB3G+W6cusGdFSpt9NWuEsQxrHtRrpLSQ27u8J6UDNJDNqZqW2aXg4fVh6b1qVy960W15rQ4Dh6/OxJSJGmOh2RCIoWZAfHU7ybKmWalOqQF4mFPr8YKP1hbXnuKaT/MSAUb9Q0u0e7lQ+XVKKn8KqNBtQlqVDuXu4IsPcczmrLsdDBj+sE7wh18QpBqlfuIzC//W7mBcZ6hM098m9D24smLowbugXZU+pNa8J38F6zSyMITiOsMgDgNoDglTz+/GKSziFVMzI8H+NmkXCcfYgKT4MBQ3+thjyvv7TdRkH2KFRdHzVTP7x7ZwgLsJKJVufUS1u0qmcbCy5GSsmjXcsFVCaMmuaczjSZNLzySwLjOOzENvYunenSxBknabIjr/J2kCqOZFmhw/BTvEiEYo+Zm4nQDIorJNENzSWehxYQzC5O7D7EFB9PX89RXNlZ5HKZ6LkI1xzc7H+cDotVHo6/4e0mDS/js1W+iBZLjZu/DWg/eu6uf962AnRzvlF3GDxuN18eV8A6Dwk8KnJLQREI5f0GrB6cLZMRIFQoAw5E8UXlbE3dIC+xaFZE9h0sZIMDuf0TIW5cW4ehbrR3jMrXhipFPIiuMAbcWf4EKvXlU/HkvGd4oow5YbmUNL8fOt5vXL6Aebkf9ugIMi2nxcdGCqKMOZSEzukJcFA/CNvEPkrk60reF9SGRKBNTWU+NYtY3XfSGTMRu/cWFgnd1vZe5ueO/2yLZ9Em0TvXEpajVZ37zWpDQgqzUX0FNthd1/bfUFqby/lOh8OiqZ77G0cwlt7OWCB8T0YBx7PbPJ992lLtv+y7Y3faWpYHa5wuWv/6RDVbo9MkEGTh7LqaejX6Q5uhQOotupsVGCtmoFUm/Clqm/yjd4dyO+7gyY85yQYMkg4F9EuEiKZS6LNj8lbBJ1JkZGqcN4kBxgxbQvG/UvIpInbaZgQ4aYKv0B2jD3VuVft23v6f5lzgXxPvxyoKuztOoHu0evbQDYf+QsYVI9bdeZ8p2cd/JH8/MTttwiWSBjqeR6tO3mSfyvJZvlbQaIugy7OkxId9ItwRawuo1bJpfNwEb6wHW9VRREcJGSmRa2b8u2prEdCHRkyRU006TNcR3q9OpEi02O48xqrALmbgDeD18cbsgNAwHZF1pZ676w0pkIbVgDMP379KVsF7F4uh2S4zRYFFmGcvj/zD1Dwo3GygD1oDlS2XBt6qKF4jD7urmlpPqE6JFRxaG5tFHeJgFsSXML/KY0oAguup7aO//It24iQ06LvqIdVx1oaVufMPn+3i/JyjpRawuv93SYBJmS5PBfjh+tdfd4jaXlU/j2fD1RkzOu4gI2NMs1LhhSugd0P1Y/Fu2OZBCs3cEFv2MDYdyBb8MQTAaKzci00Ci45GxPOR5K83YcTnVBnuRbU3HVRUaZDgBe2Ifl4ludAJYI8oc6lNaN5/cnxs9VVvW2fauuLSBvZFVVCd/4HDptXLjQmrtBVpzQ2yfVo8v7UEBDBRYYaG+B7xpnGm9RxI3lXsIwI1EK6b3iI5+szNtL2lElnNcjrzT7gWHtzkvmCrdtgYEIZXXKJ/bf09AC4SGpqr06TAXLmn/MEF58honTqqglhaQv/TYvUVS88qXNlsnIx7Nm1owIgVEANN9nKxOHgDP83vbIVkcUudwzZ7aTDi9sn00aIxD+Brlvqr2NUGg5WJw8PohvLJ6Cqjus65UhOY1WWizTW+CRCe+Z+J0FT6RxozbqI0xYqWLD+6gAcIkP6zJbgn7lHLAqgePpW9hQaPrHhfsz0CG/OWx/TjqS9gK3hdtzaL+BkFSpy2DM/D4FOmSq7KajURyhKQPSMIdck4B2a/46byIQ0Ct20QcV4pp5rhcOJqkYoMiaha3s4OM0pRQhRrgiTv/cFm4q/U5yLQ4wnthkF1HgQNvkZncPabQ6A8xTs9Xdd4EIuteol4zuy6Wbri2NTCGRaRmh9k1mKvbKQBizNcAfCOve3RMSvjzVsANy30V2MMkiURqrJaTuoCKFGBV5fL+E6ScFRBwRFw+x1BHLrPrk5YEaW49WHXK4yVL5RPHpA9UG7uVa9IlySq5a1wrTfDheWhAlzMtWBGpJp0OR9Un1juEo0ObENQrDPgyIZAVQvDubEWv7dA/ywzPceUtZv4aQIPyJVAgXUhy4Da0aYel63bDQFyBVIpLih1DyLMhektJv8h6inBXaKaip8emT46KZAuqcGX/3Il9wRjb01sUn9ZdA+dE5uF3wB/1Ycy9H3c7DdPDh8MOgrboPuemH7yZWJ07LkSkwW0mBiJU1lVVqf54r/jtg88JeV1Uxx+hLyk93yQLN4FSFVpQY1IKXWYmB+pnU++wM1TNrXzejR9C5FxR8sfIE2QuzUiQALXWBNBNpxM2cqxv0ZTheoibHDuY2iHSNuitZzJDWw2tuxlFH+PPjqt0qxKa45L5YtUqo1KPZy7nQ8iwxoHe/u07y8jZneF1GPx9oywlwF69j53wNqd15jQhEJI6LrnW4O2FkmGQ2LW1lqnzgzMxJt6RljrdbHt/GkYFNKaGqthBHpxrd1nOTpgafIej2QJ1rRXYlql0FI0eMNzIVDpvInUMTRs9Xmf2nDl7fBkM6OsL2JjvL6kKlJMqF/X1DzMUl4W9fY7BCWnpGhiNfjPSwJr1VM4ZjGzuHg78PxYj9tAclk4dmfHOEbEhj57qDRQKTj7qiCfQZNb7V9MuAFV1yA6kAnF9pAHSZs9piJ9GCCvQcx2O25uVz//QzKyS/HUIlmCaMHPOS3Y7t6UUkE4lUEAyx2xN+RB0lHh/n56crRoF0D5Exm9MSX+/8fU8UU0lqXjVQXR5EAIIt1XZ9jMfsfxpmjlciNv7RfCjAXzxxhcVJUbMHoB8g9DwLOwnAUbUIqmQfWuGDmu/epxF+Fs3DPBcHBd9buuwShwCebzeXUUJSY2HmqhWv+IOqLIFqiMelsqkSvaqDg7bk4RGLIjKefb/DX3AhWqq8AUfNO718qw8ZLxLc2M6/ChgdYvdM7LT2wfGAmfpMm5RvPMbTBDbSD320xEIV7bIhzvcH/RJZyo9dRKxjcSgfx2FeBH7qSPc0dDFYy3a38XBgzgna8OcyKs+WO254S/X1j2yXBWbPsDFwgG68IinN3mK2RRQ9U9+rBFlhAzMPNWFIxD/4F6ILmQeWVHVMtebMmas8uQgAmg8hde5dHsimQ6eGqMBxfbQv1R0reAwJTYywjCkDX9buRhDdtJUzKMqfZnFIuhwnsaxPT02hRS9llpWTE5f5BXfPwHMzO4oALLFkXDrrRxyQijKp7vYaS7WeHA7UY5y1HA3LVSb5KWf7+Da0g3FLc+qemi7ud64i7KOI+Z1tQPPZcT8+RmMYXLt8STyq5AUt7bYEP6u2FwJql63VH+Hma3z796hHp9xSm5A8m6ShQGeAzLB/FlL8KnmHc5Of197J4NppGVvzRQfi5wxq+J2XC/gEudyrLnIK/8MpqFYCqK7LnWOv/wPCpJDtwaVxCiv5knsC2RqMI3cc05E/BKzRKfCe1Pxb80G0aRW7zfeQM48zjBEjPve/q7XwOFgQuXHMLph5gQU9PBq+ontC920J0jFzh4+bDSZOL1fR0AsHmvI+Pjbdxv2TLffT0791Mm2uMx23sDWPCKPnlJA1qRzj218Gtd99OYoRdYVnOIJM8TqCjnmVqgvhfJjwp8XboUPEnfrIG5c394GgyicMzbxwbeDP/QuRFVwqLnXHfTY7krQRY/3OpSuAavyY/WlrR3bVfrnqyWQAN0xEWyfBDI6HnA9eUXA6WXhfF1sg/2iklMJWiZl5EPbnLzpGEYLBb8j4bICp04PhJKMjk0+IY2nd1TInG5QMKVv0uDHPVY7I6a+G3q8Uqhv0A8vcT0DXJc+pueoaNrihQKUv4GKMLGAbOpgwswInYcfY4f8ld/ITi9QouSMJDYeb0F0lRyQNT7TOMVW/x9eDVlqlhD6rnLUvqBolprggWjh8jfR514S56iulzcylOd9Y7AUXyr6HossqyUjN4/Ere7b0weENH/VZ+DhjbRZLuUNc+djpZ6te3vBuw/cyCXjeSuUbk2qE8wIb/03+92F91rR+SM72axbN38G1MdyV8SJPkD4mOzq3eW8hsaQwyl51usm7H2zb4l1Bh0kg6CDWCEhR2nkkPkmuihSIzEk+WEVXLwyj17YJzDhaTIayuTFhMuvHwAtQHV7UYgdvhczKSZPiJhUUvR5PS/FKHrrqo5RgF/mIDC50kTOYLIU7zywMEkAYabGJ6/Q7J8ap0UDmrsy7wXYxGiJYlvMrQXa5UkRFv0Ycexy1RC+SQ9YstaLVD5lxTmSel2ZeRhRHOvbGZcPfftW55PTaj5Kll9MSnxwi5UHVQ78qEX3osxnZtEPf3jXeDGo0p+Noh8xQio+PN36CGYFz+fHEKCcQ+K9PUZ1XyG4oXtCEwQmLgqJnR1fahCuJ3IyM6fiv+fFNNuEi9/P7FuajTK1KMhLZepvpiSMKX5VQny1fqqxdzBKh1TJ1Xiimfna0P+cKQvObjv4JwAio0AEoFO/SOOlnoeP3/LFaw7V1DJ/j9z7xGG4jAt/KNk9t/Ib8QISKP17Tgru37IS0EnEmjL5H848KWAFKgD/3jtv7gBIOIpBlAy8kqnDaiGm2HZlY9x+GRs+QibrGya3UlNF9qZT/UfRC0l2ymEI7lWn2uCU00qzSm9wvhobVGoHzEa93T9H58NemqcvRDPYlLIiO9KWvzA9G3QAwbW1hF3zjfmrplFyYRLYktDIZUYQrVM2l3A9S6DaGUH3lWQIVtXK85+MHG5YudZaOAFxnMa880UW13Hg1W35E3KQjNEnybfcq9Y/fuPwIW/SqCi50fek/B/07JYlJYngyLWQ319VyvAfafCkBPacJZhzmuldX+VWi8z+S/QXqV6OeZYWZuKZ/zRr07eBAHezNKoTR50OIBhlobmGVp+re8gnJLrdX2UcENNvlWzDvc5NMEiAG7pYMpFgCDfTsyynVLx20P9907zIeYncs8N8chKFAcZm5K8sj6scGwHa9UZQx2hp5LpyrHpg2+cLNNtdd/5bIgVoX71Q7hJ/7SSFi/P4wzS47dw6Hp4sSAVKlAmyUktMbsURTqbYblE6v8Nvzb7QgiN0bkqwc+LEAk+AxgdzvoyvSJUzYyJJvlPofpaaA9eBIXls26DW3h2HtQCYxZeTPgagpP41zAuJeHC8FSgz/2iRQXX4Dy+YgnAMLlerxfLDsHtzGfrqh1gQWok5cYwY3vqmMZo7OA5223l+2eqeA+s1pTO+F7lqDZv9ZA9PhHhAPUxIo8CMhl84ZEXseiOMtqoWPoFI+Io1DExsMM2/oZk0dHTfVYJmlVfHRhkOjGOz5pKwAk6KD/r/Y+f7gKANodGRb7I/SKTUmiu3ReIn3C7D5gq2hOhz9eXhWqSg8p19Lb6/2CpEsF80fnRdysTkcHZrj6CHQLMGmN6hYQTL7TFtdjDJHfCo5AfpS+EzL/GjwMotdrcVvurraznOgbUgLrNyYakdMx/LP6V1sTm/n/dlvJdAzYhKuAEot+8Hzy9i64c2F+gGAwQarKQ6HF3W7Ika9z9HyrJB+lTSrcd7IqGdQSK3ZbK2PozdyvYDXTS8gSeghJOg9gqx70GYuQRBOyPO+LZwzAGwjBHG+PrbDpDT6C/uWcoEyrqiNdC3/uhijuLYV+8I6v3qgv4iy2fczSD/aFX4SqhQJKL2c83gekyyw9MbkXuxJ4jH+Z8naJ8rwZfH29ipt63b00T6pfb7YZwvAddpzleDBIt/efWqe5E12Fy3qFKOPVsy6jb591f+q4iXWJQ6bePTzIF87/dz8r5FQXz09xC/mdaJASCLKRGC+ETy3J/Ti/y+4GHL1/6D4uIjmlXVJ6k2uDUXZd6sM7zOpMnuO9xAl2r2NDnxCxvO4lq85DdQ1Dau8z2pPk4itqqVUX+5NWMFdOgSt5gVnUEZ8DDGHPXUY0POG9rG5iyZnBwPwJ/2IaL+xfIIQSe1WNiY8eoEBo3d65TU7CQ+w/j2F9yrZMBbpybbLatWt48JBBjFHX5ZXCX+eXYP0+TtwXlIJNKSWnNtpwlR0Lz3mU/GK44jgAkp/eeaVCPrTuhFdxUjT1U/trvzBWmlQ4EK+KLpwHTXUEZ0T87l+KTvSmLgDO2rh529roHVAa8RyWLTIpqri19XUtak1+yPkQEAnHEzMW9SbHqAZUtZys+M2NKfEeZbunBMC5y6h3v/FxnNEsX6XsN59jNFl4J/i0c2NJ3KL1Ou+KdIBxTZ7OuslHzKPWtyN9pAePzKh9nDjChtOZI0fYmhIcOQUYADptUZW/HioI15rtmo8RLoNWJCkAywUDN6QEBRahH4Xq32q8ZzFX0jzQtY0pe+agi25KMnqbFigLu9YRaLcU5uO+PFSM29mQx1ZX8QfFgSAMZmvdL0DtlcFOw2Y0OzSAWRgBkm5rDkmeO3RtFCTNnfRp2GaNfeuZ62GIJm4wzaHwrXFnfa7vpGNOMCc3kt1oZ7AwAMA/PrBkGu4eaImeUjcJTeunU0x1HdbhAvLMOkQBVlUOafPE8vKFZwfzf6Zbt5FgSkNyNpFOcGZ9/HczL1yW9OfmIITAXz6IUE7VQ6miwPnezzRVYrE1Pr8lwkf0F3FDmltG1N3nR2kCOBOBygzTnSvxo6Y8nt2h1g12M0mS3ftHnv+zZ65slxkcuhJ8dksIm4327P4y7JR32m/RH95xZwS1txMk8TcjZQoBcP7XyeBd93WSOnPLhQzJPx3tlFeTAhJX7eYpjYfUDusE5HGN2aMQGhG0K6LaxtuETaHkpDFNcmcCpNACw7QKiQcEkC5YS66Dnsh7PpUeQcyLhD3A5Ty5Ak9ta+3p+gROsNhgA/w/7eTix2OJZvFhmmae+Mnd5Mdt3UsdGj8Xo0014eFfNsq7cugnm8gO0ndbYgfgTIQ0SLc+UbWjcC3vn10oJLNHNHet/28yqj1BQFG2KUh0KiqRbreQkltZdqTy6fEi9QNH4iCyebOmA+460JmKjko1E4a/kOI9bt/07Kta6IAiHSyF9xvNy2QS5gEQIuq7emQMSgjLP06v8OSU3vvuTLRdomr0Wz+8rdj9vBfwjKr9LLCuavO3cQCnkuK/EWP1v8VoR+IpUnZvZfyVaJeMZFmSPE4kYePzgf7IIripkUy3qslYUQFyqzHPkF66XAUUNShAq114KkBCfuxnXYE4nhZm2mXHcVSi1InNP0t01Wb5LA2EupUeHM+bKuR/PonUX7q9W4GYkI3bh70kemv9B7j2hi2QUVSQppMmamOAUfN3W3eGPT5jvCtcvzZ+4pw2u+loGk4OhGjjzU0TFJV0y0aWcQnQ0UwJ2iuY6YVxhsQKskhXFs6iMBTC3nBza5oyquBZkxBpPyWWH8x8y+JTbafrpvcHh9lRxnSC2m27IRKAFAwBZ1zRasoo/CsCZ2By+PUE/vScGYPSzB/Ki7R5GAvlukqqD5bWugXh5AuM59Yh0CcdkLlirzhj2uRZmFwSznl2ubF2/qVLDjojkY44QLXrPyi+G4EvvH9E2uiKO3Cohk/6M2SEp4oI1eCnNNSJGoyXAZPoctfQawFFYYPRm060iKEacm9gkmrAX4onKMP8KGyI6sr/Ot1+DzdAoKc6rKU0APm24ZNAzOn94cZji7sQI6U80ayENxtb3nN3eS3LYy4DcQFKVbjRfZIrl7HzxGQqgi3dJFU8ePLHWgl4uLlahXoNW37gGbKDwJqdPC1kWWUPk4/Prong6m0hZvoB8JFQnl7QXaaDFoSx6Xcna5dZgzTr6IMtrcFthsu2P+D5O8+4cucrqq3m5DiM1No70Tpy1NwVxU8HAA7SE8QKy7I01ieuAUaCcIlk8aURL2rTZEr8PKONFozhe7mt4InqdK7sYP38deTHfNktQO8bvgqtBqUvnXPrxzcXcPsG0zX/Hb0RskQLR+YrjXCDFA+YvSBC1ACFz07T/+PiqHp6gSNStMSXmVUL2nv7yce/3B4r4FdExWAULGWPaUtjcMinS/KyQHwvnUUrAQyq2UuA8oLPDq1+dMdrSMsMmicnq22Ktf9JNh5J86sefyNRktsjZNO2BAhI4h/pzGXvaGCo0SID7Q2jBUGXxJ4d5l7bT5QZDIStHp/fYuhuF6q7qpCWvKJ4XvXlx/xgPep2zj9aGmdBpn7nkwLhZ2UuHviwsGJxhmKf4GJ0+76aWwZF5/hBmGAEVoKNhUu5dwAcese0cwdb2AKDOL4JEMs8TZPWlYmrlqiu90ShixAG4k2wnHg6PO2zps1fqNleebanlY61ICU+frJvn4Ij+iaJNK2BFeHbz+Y4OQQZus4gYiWDvk7v1T7xslerXmjhx6MIodZCWbEcdNaKc2V9pbnb7NORR8tvc7Ie/6SKrXujxhaSk9d47jJKoyGC/kiwUP6icVQGQ8Km7gjAbajRDPgbdEi1n7SnXu9XAu+AmvJc7rjktumR2JZd92JIpE3eEdtZXlAw9XQgQKwBhcUBE4npvVZC9lAHl6pjhNhI01zyr11W3qiNX8CDFMHgLtP5PuvQv8tMTHVT6RzIqiS4qE/GRTq+lfgev5B+SncL+ZxPZkLQu8gtpvVhL3/nHiOZZAHG31Sc9UupdG0ix5MY8zSAe720aNP3oHUoltznxZjeZjAbC9a/heafth5ABRJbaQPG1IhlfDSG1sMbvT/XUsFy5F7GV5k/H4C+/RcXi1x1uqAHO0dWJ/2WOjO44yUM1cc0cMHItH7/wrKiTdhiTrGWPzDnPTuZFOtvCM7jQBre8p3G89yFBTjihbYVVyTZLsv4Tk54f3Y6QDO1X/grx9PNz84msuc8r5qAlZmzJw1wWgQBqQuru9SLHP0N/5pbNbp3Hql5mFEYuaolnnEC0cl56BB2v08W3/vF9tOE404RXOs5zqxuWqn+XZB4/1MpopbUl3zH3UgVVQhng2Whz5Y67nIlpk5Pg4wMzXIwfSGqAWZG3n2uEBFnYs1EPQIZzU47xhoauKn18NJ61EYapWvUOY+FKchq8lx3B9ntYB3px8fdTfbnY+6PxDMWCYqQwlHyt3E0C28PvrPW+Uf5ZjBwSgRFZwh27BHUA52UGwkEeh0n1xjHTLALNM0txLDwsLCWK/U5JeSPqZRhWHtZWy+6RwqzqlaxJ6ivRGqeXqMxCShVP8bcBsH7HdjehfdvYcM4Ps/xZgmLRAT/MNoBk50nu4n+M5oEc+kKO8Nz1UDqOMebjciqDSOZrpYkXoPmEw25oV16SxnpPOwYFb1BKWHKw9gv7K4tGE7Rto732k1OnPxzhvdwJThs2uKItJUg+RNUqEEaeXMfFJP4UpD6RY4IVXAaLNt0XP/fzWXEehBQyUzNHN7IvtpSh19J1Smgk39y8FxAevs5OtSFO17E2QhofrxF8c3IUdxdB4Ow0om9GkUz6u7231lWZuF1b86fh0e/3y+tJM8lOCyHY987qSQDwgdG6MWBoZ/K9RkmnKFtDyJLiyIUWKAik/DHbOwfJuEYHUevasXpY/GPoGe0DldVv9H2T45WrpAsHI7oJ+YSayqvnC+0Pqh2CQnPok2SZWgyIdGWkLNH6FxkxbbTwwM6HKe+48Vb6gXnxX8DZgmKqO6ZobZKEQKF8SQGfW57j/zeRkbYP3kbHOZyTx1EqksQqeJwuZbMDhpHfbGyNH2kzIqaiDFylRiLo2gkrqwQ/O+0nFC/5CZjgDl5ZTTq404DxBU7iISBVJ+6sQjF2ZSi6mrM8xanwoeDjRvGOOu/eS56VefxfuHKUkWvoQum4Ft+vmPRaxmsZEfF1ecNZiECQ2v1K8urAw2uDgtKK6AAik+JgyU8IctcpLl3TZLmZsDTQV0gdFMlAhqRf5rq9MjlfFjlj4S3nxyTMfrtKna6fs7pHWUFng05DjBaxeqeuZHG275JvOz0JB9E14lC5Xe0itZXf9G44QtayzNger/00DzUntUNYmle/zAPFF+jBrm66Ax59C2H7J4OuYPbu/X7tTArEJOjD7tFPR+sUtVwWC9Z5GVhGPOYLR2T2buqxP3DgJaTMAcAuVY4dUQetXuVCSKmn9PmSSv+O+XBHMO/i3R6tai2VfIvNVUHeZR+2N99VnYM1ClHkSvVa8kqjMH6KlnDOwTFMtUDiGU5YVV7KmMHEmf3cwEW81LluhbsKb1parHraOmnFSZbrmvm9UJP99edE0Pgqke58p8ARo6AVIp/1T2eBBBTwJSdNa/uEdEMcHKX/H9CqgozR+hSgmFqn7g73VZJjWNbB3NkClQQ+3yyHLgldG8TlP4e6X0J0uxKoNYjQX2IEh80nxndwssKZwrCGti+MTF37WnYVHpUPx1+GJ/9TCJeum8sBLZUoPAvKjtV7p11EiBWaqsWb6723OycLqhSQ+KUh0diQQ6uy/NfayfbEMnk6MJzp2gYmuQoj2PS3gw1suWrc+zRgUVxW3ozfDi8goSdDKKtFLC5l52DlnfbdZBB9/r7zLqMRhqfb1Vq9nUI1yHW26d/AEoIBR0pGlHND09CG57lhRkZyKne0dJt4KBbSNvQoLMdJgpnDaELbFnDaC/ba/hZBlC8aOSAnzVKGGKUg78VisSXGIrRVtN1wuE81ilqd+VYU++j/Hm1E6JniW6g9BzjFd7uvUYkQOJzszTzkl8rKkPeYLdkuGa5SncwkZnaTc/QS8mIHbFoVmdjL21fCpo2MT/PWNpNg1hEfszZbiu+8t7NIZwPZXoSv9WsV6Hh7tdlclOUtPdx/+C9gpVxg6iY6ZN75YS87PApUOz97WrEYSlBgPFr/suCYZn+OuyTwqXIiBCJQ3Dd7HbHezTbDJml/rv7DWE6D3/OAmU0BxnaV0FmaQ1bCr80LNxGB8PRkjObKONqoezXqIH/4O+a0/RW5d4NymVsEv/LHKYJY6ip4dg4CZyVfAQnej3yIj5lFOdRcRjZtpIFV8FcIMYyzUwJrvU+780nUKl+9EC7g3WG6BtQVh9gDC13EruMIJJbKCspkMriTuox/uivxPLDR6vnqfAz7UXPMgb1d9LDEKyCV1QuTpw+msxCTUGMDSuxbS19XN+Dp5rKL72C/RuePSRHxJ1W83Rs2oYAqcz7GYKU52JAMPKVcs/Pxovkvb/dGSR4VwDXdMx6WvfXNrpYOsMAeduFKVzOYhIr74dVPw4mazwgXd1eJpVYPOPkElVFEDBxZ3BozkIftnsXJOuJiP4VKD9xGm28lBGggBWbO8V8UY82PR9d5gU1Ix8irL9aKpyQRC6pWRXMtB1MFPKlJtkFZM95xlOOiv9LzKNyUiylfFy24dsSe3eEPZ8iKwrufyhyf9cJQ53AMe/zV7LxCeYjn0ggxHN+1d9YjA5cZgbamz1N4PmmXIvb3yxVsf8gscHNOmFB70SvYD4CpnWXHSbYFNV7Vvt59WFIkFX7SesGbNJx4BvbywFg9mPMul/8t+ojRe1CBY0ao612XvsxQrcs8VEMkr+jXODnb5eXFhpUZhZfwK5l7kPKK64h74zAswGYWPg8FcftVNNcHKNq8QhzoUKP/FW5W0EH8zLBoGH1OEIc1B+BgFWFmugdqryIDQ+D3HtV4Tb/uRWqW/dIn79xi9pHACatGlzrFSzvRvP+DHaAcu9YMthaFKzTBHdPoC8VwqSEWuVX/1h55IKHJnZ+WRvEJfzrF758+1OD1aBFiML5jEZHfW+/n2uGsbA1XT9DkOOccXfrr3a1xuaYj1uGhdXmKESwZlixaovkGwPaaeLiVZ3XrTNWXDuvXO6eJjBBIfK/m9NEL4RVx3YavSWkxvUjZ1bp6vm9QNBZSOP9CARjmPvgR7VNp9MRFFEfh3vxyf0EI64+zwprBk57wSODFvPN1N23RrG+BDxT9YslYBGyl4mK/C6pDVe67+3BUCNq9I/r0EgKIWj7O0UkkZkyn05A2eGSjofjMPDlIm34jmTuOAS3LQMmMWce0JUQRY1KxPVNYC8F9LVkteJFMT5TMU1rK2lT7hLPiCb5OvwhwtrmUyulfWuhsKUBkdx/YLPYZGZKhRu5bOcqATxJFa56/8HI5YOndC+OfN2sNVZMeOXwoToDvsBN6IsesO/g8QVvjuLF3wLGScFuLsP8WSpuwlLcar1a4dX4Q/WmL0HImqUipxHbC9hEBIIFBokgmnIzR1BH2W/nnwBf1G3q0v/lmpato5BYJ9cbYBSgebwbwBcUpGwF8eNq1Gnh2s/8J6jiUo3ubF6W85arQ5yW4s9BfFXVjAqh4WRyidvKXEgBQFItTm/+F/mpGF2905HDrqKJh3RncagJ6Tbbo9q2PEqqLW/Pb5PWzDb4egjKZ8ZMf+Uukrwo5uI76TXuREvlfoVo4D4w2u1aE6nTyeqaTvIJBbuzo11k9sKBxqxPZeQyNCKNrpyeb5J8GyUqpcYsoUqKu/EMANPKzmRDF8pZMg34pW2TKu88AAnJhhEGAmruP9i01zfSTOjXnqjniGlbV36cekqfpSLn+nZWaOHIso3lU7S65/F2xaMaRs5IvXAvWLgqBXv6ztXDBqiQXzWj8q/RABQzbgVA3hUZfzRG2UOucyEY9Jwjx1D5RbqLJoJKcYfxOz3dcTsWGMduq/DRcJNXPMbWXkXAGhGs8kROsd1c1rKuCOPZ3E7OV+5I0Lku0frdWrMTsCz1Uc0WrU6Rr8zKSe5aynuBKCdzn9MxOljSTAKy74DmKTZJr/xiY64j6YVZVVYGdbPfxP38ZyrAiAOVITMOeRJF+hnUUgu5mmOM/cHdoSZEdQRK5he2GKRHmDvgeB8uVUT66cQNU0kUfvukc62uBy9miusj+GzFYi/OPPznebC7NA1sIHV/pOvUSMCtyYQ6Dmql1oLgVx1ehAG8nisA==" title="Mekko Graphics Chart"/>
          <p:cNvSpPr>
            <a:spLocks noChangeAspect="1"/>
          </p:cNvSpPr>
          <p:nvPr>
            <p:custDataLst>
              <p:tags r:id="rId3"/>
            </p:custDataLst>
          </p:nvPr>
        </p:nvSpPr>
        <p:spPr bwMode="gray">
          <a:xfrm>
            <a:off x="335223" y="1268413"/>
            <a:ext cx="11510929" cy="5020372"/>
          </a:xfrm>
          <a:prstGeom prst="rect">
            <a:avLst/>
          </a:prstGeom>
          <a:blipFill>
            <a:blip r:embed="rId12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btfpNotesBox685223"/>
          <p:cNvSpPr txBox="1"/>
          <p:nvPr>
            <p:custDataLst>
              <p:tags r:id="rId4"/>
            </p:custDataLst>
          </p:nvPr>
        </p:nvSpPr>
        <p:spPr bwMode="gray">
          <a:xfrm>
            <a:off x="330199" y="6319679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Note: Attrition rate calculated by dividing total number of exits in a year by the employee base at the start of the year;</a:t>
            </a:r>
            <a:r>
              <a:rPr kumimoji="0" lang="en-GB" sz="800" b="0" i="0" u="none" strike="noStrike" kern="1200" cap="none" spc="0" normalizeH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 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Overall bar numbers denote employees at the start of the calendar </a:t>
            </a:r>
            <a:r>
              <a:rPr lang="en-GB" sz="800">
                <a:solidFill>
                  <a:srgbClr val="000000"/>
                </a:solidFill>
                <a:latin typeface="+mj-lt"/>
              </a:rPr>
              <a:t>y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rPr>
              <a:t>ear</a:t>
            </a:r>
            <a:endParaRPr lang="en-GB" sz="800">
              <a:solidFill>
                <a:srgbClr val="000000"/>
              </a:solidFill>
              <a:latin typeface="+mj-lt"/>
            </a:endParaRPr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Source: Aura, Bain analysis</a:t>
            </a:r>
          </a:p>
        </p:txBody>
      </p:sp>
      <p:sp>
        <p:nvSpPr>
          <p:cNvPr id="13" name="Rectangle 12"/>
          <p:cNvSpPr/>
          <p:nvPr/>
        </p:nvSpPr>
        <p:spPr bwMode="gray">
          <a:xfrm>
            <a:off x="1500921" y="4896224"/>
            <a:ext cx="1216849" cy="21121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2019 Attrition - </a:t>
            </a:r>
            <a:r>
              <a:rPr lang="en-GB" sz="1000" b="1" noProof="0">
                <a:solidFill>
                  <a:srgbClr val="000000"/>
                </a:solidFill>
                <a:latin typeface="Arial"/>
              </a:rPr>
              <a:t>11</a:t>
            </a:r>
            <a:r>
              <a:rPr kumimoji="0" lang="en-GB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%</a:t>
            </a:r>
          </a:p>
        </p:txBody>
      </p:sp>
      <p:grpSp>
        <p:nvGrpSpPr>
          <p:cNvPr id="12" name="btfpStatusSticker516933"/>
          <p:cNvGrpSpPr/>
          <p:nvPr>
            <p:custDataLst>
              <p:tags r:id="rId5"/>
            </p:custDataLst>
          </p:nvPr>
        </p:nvGrpSpPr>
        <p:grpSpPr>
          <a:xfrm>
            <a:off x="10102664" y="955344"/>
            <a:ext cx="1759136" cy="235611"/>
            <a:chOff x="10102664" y="955344"/>
            <a:chExt cx="1759136" cy="235611"/>
          </a:xfrm>
        </p:grpSpPr>
        <p:sp>
          <p:nvSpPr>
            <p:cNvPr id="15" name="btfpStatusStickerText516933"/>
            <p:cNvSpPr txBox="1"/>
            <p:nvPr/>
          </p:nvSpPr>
          <p:spPr bwMode="gray">
            <a:xfrm>
              <a:off x="10102664" y="955344"/>
              <a:ext cx="1759136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ct val="0"/>
                </a:spcBef>
                <a:buNone/>
              </a:pPr>
              <a:r>
                <a:rPr lang="en-US" sz="1200" b="1" cap="all" spc="450">
                  <a:solidFill>
                    <a:srgbClr val="000000"/>
                  </a:solidFill>
                </a:rPr>
                <a:t>Directional</a:t>
              </a:r>
            </a:p>
          </p:txBody>
        </p:sp>
        <p:cxnSp>
          <p:nvCxnSpPr>
            <p:cNvPr id="16" name="btfpStatusStickerLine516933"/>
            <p:cNvCxnSpPr/>
            <p:nvPr/>
          </p:nvCxnSpPr>
          <p:spPr bwMode="gray">
            <a:xfrm rot="720000" flipH="1">
              <a:off x="10102664" y="955344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2" name="Rectangle 41">
            <a:extLst>
              <a:ext uri="{FF2B5EF4-FFF2-40B4-BE49-F238E27FC236}">
                <a16:creationId xmlns:a16="http://schemas.microsoft.com/office/drawing/2014/main" id="{75CB172F-D55D-4642-AF05-BDE2689DCC60}"/>
              </a:ext>
            </a:extLst>
          </p:cNvPr>
          <p:cNvSpPr/>
          <p:nvPr/>
        </p:nvSpPr>
        <p:spPr bwMode="gray">
          <a:xfrm>
            <a:off x="8165237" y="4671531"/>
            <a:ext cx="1222707" cy="20734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2023 Attrition - </a:t>
            </a:r>
            <a:r>
              <a:rPr lang="en-GB" sz="1000" b="1" noProof="0">
                <a:solidFill>
                  <a:srgbClr val="000000"/>
                </a:solidFill>
                <a:latin typeface="Arial"/>
              </a:rPr>
              <a:t>12</a:t>
            </a:r>
            <a:r>
              <a:rPr kumimoji="0" lang="en-GB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%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32327BB9-4E8F-48E9-80E0-550A980346D6}"/>
              </a:ext>
            </a:extLst>
          </p:cNvPr>
          <p:cNvSpPr/>
          <p:nvPr/>
        </p:nvSpPr>
        <p:spPr bwMode="gray">
          <a:xfrm>
            <a:off x="6535926" y="4392654"/>
            <a:ext cx="1200330" cy="20734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2022 Attrition - </a:t>
            </a:r>
            <a:r>
              <a:rPr lang="en-GB" sz="1000" b="1" noProof="0">
                <a:solidFill>
                  <a:srgbClr val="000000"/>
                </a:solidFill>
                <a:latin typeface="Arial"/>
              </a:rPr>
              <a:t>15</a:t>
            </a:r>
            <a:r>
              <a:rPr kumimoji="0" lang="en-GB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%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17DA16E5-DE08-4C29-BB0E-AC78F9D2C4E2}"/>
              </a:ext>
            </a:extLst>
          </p:cNvPr>
          <p:cNvSpPr/>
          <p:nvPr/>
        </p:nvSpPr>
        <p:spPr bwMode="gray">
          <a:xfrm>
            <a:off x="3176814" y="4878878"/>
            <a:ext cx="1216849" cy="22856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2020 Attrition - </a:t>
            </a:r>
            <a:r>
              <a:rPr lang="en-GB" sz="1000" b="1" noProof="0">
                <a:solidFill>
                  <a:srgbClr val="000000"/>
                </a:solidFill>
                <a:latin typeface="Arial"/>
              </a:rPr>
              <a:t>10</a:t>
            </a:r>
            <a:r>
              <a:rPr kumimoji="0" lang="en-GB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%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0F6C099-FE41-E783-9BE9-D7B00E4F1368}"/>
              </a:ext>
            </a:extLst>
          </p:cNvPr>
          <p:cNvSpPr/>
          <p:nvPr/>
        </p:nvSpPr>
        <p:spPr bwMode="gray">
          <a:xfrm>
            <a:off x="4829059" y="4650315"/>
            <a:ext cx="1222707" cy="20734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2021 Attrition - </a:t>
            </a:r>
            <a:r>
              <a:rPr lang="en-GB" sz="1000" b="1" noProof="0">
                <a:solidFill>
                  <a:srgbClr val="000000"/>
                </a:solidFill>
                <a:latin typeface="Arial"/>
              </a:rPr>
              <a:t>1</a:t>
            </a:r>
            <a:r>
              <a:rPr lang="en-GB" sz="1000" b="1">
                <a:solidFill>
                  <a:srgbClr val="000000"/>
                </a:solidFill>
                <a:latin typeface="Arial"/>
              </a:rPr>
              <a:t>4</a:t>
            </a:r>
            <a:r>
              <a:rPr kumimoji="0" lang="en-GB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%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7BA31275-354A-C619-B914-6B66D11477F1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0646654" y="6191366"/>
            <a:ext cx="1261892" cy="353608"/>
          </a:xfrm>
          <a:prstGeom prst="rect">
            <a:avLst/>
          </a:prstGeom>
        </p:spPr>
      </p:pic>
      <p:grpSp>
        <p:nvGrpSpPr>
          <p:cNvPr id="28" name="btfpRunningAgenda2Level181418">
            <a:extLst>
              <a:ext uri="{FF2B5EF4-FFF2-40B4-BE49-F238E27FC236}">
                <a16:creationId xmlns:a16="http://schemas.microsoft.com/office/drawing/2014/main" id="{9BD8BF44-FC37-FF00-C139-664AC61EE5F6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0" y="944429"/>
            <a:ext cx="2645176" cy="257443"/>
            <a:chOff x="0" y="876300"/>
            <a:chExt cx="2645176" cy="257443"/>
          </a:xfrm>
        </p:grpSpPr>
        <p:sp>
          <p:nvSpPr>
            <p:cNvPr id="25" name="btfpRunningAgenda2LevelBarLeft181418">
              <a:extLst>
                <a:ext uri="{FF2B5EF4-FFF2-40B4-BE49-F238E27FC236}">
                  <a16:creationId xmlns:a16="http://schemas.microsoft.com/office/drawing/2014/main" id="{76FBFE1E-3E22-CA22-0395-9C48726D2F5E}"/>
                </a:ext>
              </a:extLst>
            </p:cNvPr>
            <p:cNvSpPr/>
            <p:nvPr/>
          </p:nvSpPr>
          <p:spPr bwMode="gray">
            <a:xfrm>
              <a:off x="0" y="876300"/>
              <a:ext cx="2645176" cy="257443"/>
            </a:xfrm>
            <a:custGeom>
              <a:avLst/>
              <a:gdLst/>
              <a:ahLst/>
              <a:cxnLst/>
              <a:rect l="0" t="0" r="0" b="0"/>
              <a:pathLst>
                <a:path w="2645176" h="257443">
                  <a:moveTo>
                    <a:pt x="0" y="0"/>
                  </a:moveTo>
                  <a:lnTo>
                    <a:pt x="2645175" y="0"/>
                  </a:lnTo>
                  <a:lnTo>
                    <a:pt x="2590454" y="257442"/>
                  </a:lnTo>
                  <a:lnTo>
                    <a:pt x="0" y="257442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24" name="btfpRunningAgenda2LevelTextLeft181418">
              <a:extLst>
                <a:ext uri="{FF2B5EF4-FFF2-40B4-BE49-F238E27FC236}">
                  <a16:creationId xmlns:a16="http://schemas.microsoft.com/office/drawing/2014/main" id="{441B7162-6931-412F-82D5-B0B355D351EA}"/>
                </a:ext>
              </a:extLst>
            </p:cNvPr>
            <p:cNvSpPr txBox="1"/>
            <p:nvPr/>
          </p:nvSpPr>
          <p:spPr bwMode="gray">
            <a:xfrm>
              <a:off x="0" y="876300"/>
              <a:ext cx="2590454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HIRES &amp; EXITS</a:t>
              </a:r>
            </a:p>
          </p:txBody>
        </p:sp>
      </p:grpSp>
      <p:grpSp>
        <p:nvGrpSpPr>
          <p:cNvPr id="29" name="btfpStatusSticker288847">
            <a:extLst>
              <a:ext uri="{FF2B5EF4-FFF2-40B4-BE49-F238E27FC236}">
                <a16:creationId xmlns:a16="http://schemas.microsoft.com/office/drawing/2014/main" id="{998C97F0-86E4-1BBF-D8E2-2253F5784FA2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7985375" y="955344"/>
            <a:ext cx="1987980" cy="235611"/>
            <a:chOff x="-4374530" y="876300"/>
            <a:chExt cx="1987980" cy="235611"/>
          </a:xfrm>
        </p:grpSpPr>
        <p:sp>
          <p:nvSpPr>
            <p:cNvPr id="30" name="btfpStatusStickerText288847">
              <a:extLst>
                <a:ext uri="{FF2B5EF4-FFF2-40B4-BE49-F238E27FC236}">
                  <a16:creationId xmlns:a16="http://schemas.microsoft.com/office/drawing/2014/main" id="{5C311B19-863A-9B83-8E06-B889B1BB103F}"/>
                </a:ext>
              </a:extLst>
            </p:cNvPr>
            <p:cNvSpPr txBox="1"/>
            <p:nvPr/>
          </p:nvSpPr>
          <p:spPr bwMode="gray">
            <a:xfrm>
              <a:off x="-4173065" y="876300"/>
              <a:ext cx="1786515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ts val="0"/>
                </a:spcBef>
                <a:buNone/>
              </a:pPr>
              <a:r>
                <a:rPr lang="en-US" sz="1200" b="1" cap="all" spc="450" dirty="0">
                  <a:solidFill>
                    <a:srgbClr val="000000"/>
                  </a:solidFill>
                </a:rPr>
                <a:t>Target ONLY</a:t>
              </a:r>
            </a:p>
          </p:txBody>
        </p:sp>
        <p:cxnSp>
          <p:nvCxnSpPr>
            <p:cNvPr id="31" name="btfpStatusStickerLine288847">
              <a:extLst>
                <a:ext uri="{FF2B5EF4-FFF2-40B4-BE49-F238E27FC236}">
                  <a16:creationId xmlns:a16="http://schemas.microsoft.com/office/drawing/2014/main" id="{337B3230-71D0-A660-31EA-D78E56BBACD6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4374530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8AB19415-D61C-3AB8-7773-7175C6AA7C24}"/>
              </a:ext>
            </a:extLst>
          </p:cNvPr>
          <p:cNvSpPr/>
          <p:nvPr/>
        </p:nvSpPr>
        <p:spPr bwMode="gray">
          <a:xfrm>
            <a:off x="10621426" y="808996"/>
            <a:ext cx="1144677" cy="504045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200" dirty="0">
                <a:solidFill>
                  <a:schemeClr val="tx1"/>
                </a:solidFill>
              </a:rPr>
              <a:t>BCN updated 09/13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9221303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think-cell data - do not delete" hidden="1">
            <a:extLst>
              <a:ext uri="{FF2B5EF4-FFF2-40B4-BE49-F238E27FC236}">
                <a16:creationId xmlns:a16="http://schemas.microsoft.com/office/drawing/2014/main" id="{3D00A305-7C5B-D0E1-87CF-35C522687DC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879637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84" imgH="486" progId="TCLayout.ActiveDocument.1">
                  <p:embed/>
                </p:oleObj>
              </mc:Choice>
              <mc:Fallback>
                <p:oleObj name="think-cell Slide" r:id="rId9" imgW="484" imgH="486" progId="TCLayout.ActiveDocument.1">
                  <p:embed/>
                  <p:pic>
                    <p:nvPicPr>
                      <p:cNvPr id="3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D00A305-7C5B-D0E1-87CF-35C522687D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btfpMGChart516462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r0lg9IPP9y8umrse/9AoLT5R0GKq+XM9pr/aTyOTf0wptcuHbHxeyqBm9svU01qeeEM1v0hpSHUgirOnAK/wusZqSFrEd0VGZNwglwcoUtdsxjAINgPj5e6KtV9P05XUB+6W39OQ5mTDih1N442J5f9DromPfjhZ1IWWThgWHYFgkt4bBCIf0Swgs2ijVYkNl2GZX1RFVxCyvPerFOenWg2Oc2lK+JzQLikfr/RwFYzISiBYeoSTUd4IuE8gzmh3ton2lRrL0iQopsY2C6U8GdG6NXahf/3/2rUhv1q05aqX8/pFTS0cEX5sV7FRm783uEA73m1jLxt5FItx8pO8OchjEGS9GTZcLGQzFQMq7oPGIcjENu6ztowJW9n4146esFUdrX1OqTzyVwwXgURKcOsPho7HJBloQ/y59I7wrgkI7PlNs/uLAK04LxqWmJdH5EZsTxLm/A0GdA+8YmwLZD/RqkCzXEAN5KA4yjgohCZRbyrAIBemTOw47qAlzcRC8dGo8bvpf2BDfbtkArjqVpdxmZP+K/5EPn+67ePBuKX6iKqYX/6EO6g2Fu+gBQh0Sy4L3VsxWWhyVdMFRfXWePQxPmGa/+Jzll90EJgHcPC7dE6JFFBtID4MA3Bz+C0pRictm1MLYhIHO3r9dZzWR+3JjfdU5zcCWfr51S2jD05fbDm7aip0dUqiwGeRlxdcS3lh+Js622XbNiqUnRvz5ojYl91KgdAlFQ3YtwUVzhRzLGvjT5Yj2OXoyFYGIvOekagfsFV7ByezK53vQdwf+7hx/M+iEJDtKkgWR5VdgRwiSq1UwtT3HXwin6OUg6TK3NrwjwsvYQ/KPDKnBoBLotMwQc3JzcTeUBZ79x/V8dLc3gEDEVhYQzIFkIOoAlbXZ+c0mOkHAabjFHbjNj6AaDefv9KbHILL5WfVLsMSQcjWdqgZzH78RnBMEDMwb4YVZIuHEmw23yZGk4XkyaH9DkyGqPHcXFeGFpQC/DFwNqYKUGZ5XRkUGKf9ZoulsIxskchakCtsxMLKNddcgk5aR3LmvR5OmU1Rll74+uH7xBIds/BRIil8UPTurlFbjGI0PJahuoir6NNMLCChNn95o+78aqiEhjKzMk9y4kNqatLfkjKesNkx1OjKYytzwU8LXJNcc79jXOr5Zu/eL1+v9XSfwivsBEsJtMMOVLajzkC4iVu3dOPDBkXDEX+mvNTniYmLVd993hZ/SUQxDOaSdwG2qlQaX9SNSDX0FGXu7kAKUalmAT53hH1FdFhl9HxBqG+SL61ThkQNUUlIuD0AXDPLByuOqb9WJXvcLqqd4OwfHHGjRJeSR8itcrKsXLZKth58zuFbuKcaLWWNbOa6bvpTMBol8M+lFKb/QrDfmyQ7pKLCa8TUL8WW8huIPO/EJh3MiRhs7pJfKO3+O1S3TvaH6euEv+VbmBFE7KgD6OfvgaweomDQl+ioq3wnh85ywmfeDp8s8ZvWqFA45YM62ZpvyhaXbAZiFdXDau23vCFnEPdg+KJeNCSFNDYp8D7zhcmN5PLeskTn5ZA0OXTUHtNA1KaBOh0wXATl/4tCCGSJeGGEkwYElZPj6uxoJYoxMEsHPjrWiFV4sjooIXq9M3oVh1Z4cnwXfq3GfWRKFU3SSJxeZrjVXWGbRzhYZ+QsxzWmH+VJDAgCWYzDAtZsTGwYlyHCIM4Gt8gyD+b4Es5vW+IUkbKF6QNnbeWm6VDwEeC1/9ReAfgc2a2fRkE3CPWNmRDOdj/QXeO5j6j+lU8R7bGVEbmPoof4sEiowpmfb1pVjQ1Gs1XWJkOVA96CYkb7gA38+gMk3KTTXl/tzkrmyn+wHLuZOBZW+RgKW5a65XtY/yOawzJcWPey/JVLKnlFkeyZaDtpp/UU+Y6h4JNG3iPQWzU0C5z1qAIHH2ZAfyhIQ8IFwo4EfbrszUKvxOvtVOobUdXluRT8WSH8o4QSHWIldhM5UBMuHd6RQvJc06IHLpS8T8jJ0goj5FyeTPs9nEBIvBNuLhxsNSoA7qBo57IfbK1m6Hl1ht/JjbTgE7k2vnqfTwjWT48cSrtikywxe7rjPtab0Q+BLST5crjjiYw42cTKYCOGZInB79iGlWx5f5isfD/1iteBQTtpzqMFgHxaiOIfHnuntNEz43HmiWUnNm0PsR+jI6Iedhggo9K3t/eEWjOTXjTpGn76IUIgVxUOL8Eax+IIuMyoCAPhKWo7gpVdV72rvxLR5PpLemrGnexERFH2ObeJdkn53xYjEMybipbBSFSujU//NRNNBoeInpPwscNt49LGvVAUR4t3zA3P5sVxypHZbpyZIUTpO/NCneVqxUXHWG3Y/AaBIZ9Hr0WV7NUI0A3r7ELahpihm9lqKg4bYqhDSSSCTfje96iVEjgClppZKl8R4PVfTGv/B52UL2nzq/USbtWj+wuG285JTaBntphUnPnwSfxgQGhHPW8JY+NZnDcV/AMHucgt8L517lVQc+G4L0AgQOLV26Dlvs53RANFucNySRMJk5huMpFK6EAfIxdGPAa4gokf0o72T8kUDg54BhXN6f1ztQJ+j/5IBgaCXYOEYYxZu9hpoAT3ztatDiZNj0hr9UknjnaPgMC63lLk63sHq8mnlZHfW7iEELwWP+DFp0u7VPipEdi7d4SFYdviRZiH6s7XBCo73+CyrzE72uaSMEsyZdwlNz2cBd7TJ7hND6vgdGjIRECF802FVqlN8Ca/M6zKHrJjDhso9gzm/hP+XFhEGdl/xYCx16UB00+NX322xMyIoknrSstleYHR0bZm6y6wO6JMAStFlGbUScCyTL2cGCasatChX3mNzGpUV12ApY4oem2Pyqg4q1Qjm3ujo3IxBuodQC/CrwAqy0JrpIwCmVRPpje63sbe4XD8vJQPKe8YmtE2f1LVuzFxEB12LA5ic3somAALtirnytpy3vPRf8oPImC4i9Mtar+ZdqMG/bRJVnexPht44X4AE7JYvNCp9SHlbfIt9KqA2xa5nHxkOskvqUPQcG23YeTI2zg+W77y6ZMecXxfgYU+MvB7oPMJsVI1e2g/VudqlvqFL5zxPsv5GTpc3nfWbVHSrhrbXBWqXForoOpU6npOxG1KPZ/fw7JiUbIcchUtpxeXaImUmj9NNvO5wtt1S7GfYjL96dwFiB7+3zP8LtbefFnADOMUFhab6QITV32qk9vXyB0JD/YcSUwz9LywvZADvSHWRwxmBciKxLYcvIQex+Ux4eUtee7nQDDgx5NM1QyfgPT7QdRn5qvAE+zDBjjGto2TMWpI9XUJb1cAp2Cidqy1u7SsSgoDhcZYOvZrxG8DnVQXKdFgn5LIKDLOyPO14GjLcqoWSjyi8P8AT1hOrE4CYoIF0DlvTHdVEz61fStwqR+2Bmp+OGvwXLEhz5Mtay+6uG3mAXoLnLbRVvN57aBJCwvfNOBiDRvS9zvN5thvU+kp2Agj0pPXok9ZuJrtsfKDT8QeinOKCsur8ym6iE/j2fhGRBm67H4UcS4dmXBeDxd0eMbDAqyWy8kN9/CSnV1GAqseqXTXA/lpQyq2XI3HkBbwN6+J04OQ/RT+RCIidhGvIdBJJH2H2YcwKOJ4HolMpHabA3erw97i88CM2qo8HBNyoy3OrHp1dhJEp7Wre7JOKR6WoIv8el8yeoT/WOS3UAfasaP7ihyX6fKRv9YC6ftx46iG+cyhKTnDNrASytsyNz1YdfDCf1ClIjTmvQjrxKi6lg9MnQilUjDsVz9RAGa4vDe0y+coSglAy25DeJ5SG0qrZklOAYO0b1By80mZ8HXTkQmX7VvHWK5nhMEHhSliDVyMLm9fKs8No8tcpF+w5EPfpzzbFAlF1KAy1EQnuum+vvs63LvuhRLiEtaHpEdD8Xfx1VFDPHI9xQYKZzD0hGvD5PNj0dSGV31MSUK+psFU31Hen3m6elhyc2TCTx4eirhIWAI4CYhADBcieSgKA3vkjQKECnPlEvtcWD0VRGfmbtqu2W6IEHSlRTawL763y9JWkfr8JuSBmgHJg/ODPtg63g5Ha+UEXtNbOblgp8FgNSedJOXGLNkw+Zb9gYVuC185mZKCt/xvtDCVnVdCrcoVzXA8q6Og3idBXwYHJnfzyCRLVPv7NpV8cf/eXCKwARQRPYTOftgxjqZy+v8Rq35snJ14r6sSOuhrQgKBleuJjZjxmMvl7+aGDYYJqqSLN8N4uEiPyN0o7Z8l93IzJWPfAphXgUbgQRG6oXvJkLk3qWI6Iv7zvZIm1P9TY8wslOZfe6iA3Ipt9E+IWmrSfA4q71cQEOuUPQkC+FHz9KicPJv+dY8S1AK4tuTIMxsRUZJt1WY2EWMYhQkhXFb3mOSrpA/CKphRZXKJCqtV5PzTvBdz5/qRdf5MRxWTQ5qnNXQch8xBWrH+ztWDKqNh92eJgNUEvlQLuDF9+qj0xFT2nns8+3XrDvAqOHRgww0pQx3LrH91pPs0S0c5uRrsWmjpttPvfg5rgYpCJlnen7A4KFz5rv10E36h6WgwS1d72zVRWwNPFPDBW6rJn/a2BnKXUD/zfFazEEr+kku9WxInv4kmE0bVZLVPmZxrnsTGH7YutjaYv9XzDNNPsxw+k2MfKJH38imnYuWOX8F3zcXoHyDiiVmNEUnpi2sbt3I/jjyN2dh6wnscrKSG8SdCnoWRBR63SgOrmmGEvjC2msuByymGJp/k2LN7ztl1gJRWzwOmBcOB5Sb65BM605bY0o1W7xDr8hvzFdq76DDg1kp/l7ciXBuBlesmcE2UkCGBYT5Z0sW3qMzwtC2Gn5LIU8/6xbkTtaHEdLCvG9G5ocp1RQKqqODjJGiSLSQRwd6NZKRnb3BaJPqqwPz7qyyVlsEaC7WGIsXvfZYyvPhTSucxyKPWYs5tUoWLfKO7M2KBei1MiwPdSLkVCiswVDlhtUoRjfciDZS5HGjH8WSK8gE90Wlo0fsc6cZ3QLm6cQUd9MoUSUShxtcDAZLpGFw4zdjf6lZbQISGbP+GgJnvn5X+7rb+fAMec6ZUmvsTscDijnKF5vChagsuG2hF6F+SW0u+PAvj/XqRqpC0Zye4DKTW7ampyEmNbAz4Jejwtl7OW9MGjlKlvBy4B5fAP1MwguSrFEktR2p6NH4uBfcYVY6L5EDbexPIk7a4lPuvYQMT1xi10v49TtCURMWcxsJ+LskLZFjoiPVNjMdnBp1jpQB1j/2OopVMsVh/QVBCgazwLDIkKXFtpu+0thWAybekXYQq4wy+jTM0BQ7wuYNTuPbz7UmgQ5QfH53WEdGsANl4KkXa97Lg6mDH6uRT9GqgCPS8Nszt/l2qa3PhcgHfGIp7LMdfMJ3nSB1vAdjaAG0+lCwhEQtsfVD/JI8zr0v95swUVIz2wXHioA99yOeyp9bESByt1DZgo3bNxllHjfYHQHdWB6aSYB+CigYSey2Z6NorSRt9XgokJCGE7f9AjWoo9RLYE0WUU27w14hNbfY3+d4qy909nVTu9uiwL1O49vi1E43ag3pDHI0fPanb9IUSP/HybEsGsb9jl40W/oBQs/wzhYx8PEkvlZPBTrpd4opAXTuQjlGVtnRmH/TDJaUhZ80+2hwZPz1yfJJaZ0EXNxO22OKMpygIDMcEWmn4t1gn0vvSYN+n+Hqni6Vk2bS9WOeDRQnHEl61iReLdmhDtIbj6vYJZaFg+dECWRuuSdKTW7x1yyIu5q36x4yPQbTpWDfuUDrI0hcKwRBDCy9kAGP1ov6YDOVDLYlMYmjYNKOSsYeHckQwnxzPI4RzLIGxN0voVRGpfLKdWK77xR9ldaezw7j9EqWdtqWjrao1lUFX3Skwkx6W9ZaEX2Irggw1ZESGF6uyFKkuzi5Sx2LL+WWRiLDutQcZX1SUz0OBbAdXjrsVoRSDVOA1EkmYGAeXZaU0iOqbiqV13b7SZu0hzi78i4j18apy5ExjH4wUjMFhAnWYPSVzcdUulxto/M+X19ehibb2xN13vbv5dNi9x67H7xGZx3Q8Lf0R1zUTwbZ+fENgS8Lv4iSXGR+vkkiu0g2mTPbCBWKUXAW0MzP+LLYncFACuLq/HiX3zAnUsqRfHbqg8Gkqei3ZYuQ0f4G+yZUp0Ck9WrNJg/90ptbxPbheA+Uyaxro+0fddW8/2cQh+aloGMXGFKlhHKIiZ5jKCunsdixz1UvfZduu04bAyMpM4QuLqmj7ugw5VDqgqMUdwjG4pT7UKgBiKr8qlG8aosAjQK1w4XgBBom116v60Op+wU2fyb7WCP9fXbCP/e39o8rgHMZORD1qwqaBkWAzeFb74QHkD3G+GRIbwZDTlfvaHpNXPkIqlft1FfXXLpeBKeYa/DA+yBMHBtzFWGRUg0wMGuOqVgLBjrkne2/rlu5KqzXsuVxEqsJQHikROtpSPxDDgiyOB2HdnL3A1ChhJWOgNWGj/Mx2Sv0VarN2kssUuiLyrW6yuzA1zEzmoR0jXLBWfPwleGjs4Bia/hMMuuow41D5QiLM+U4EgWFdCk8c2Wz7LP6OqhZi6VNBUjVM0FvUQvh3TJaaiXaQqOrwJBl4HrQJ8wTDQax1Wp3W03QruYCzzSJn/Sblztgbn85mmmyHFgjlxByZgPa8xv9CSftaTXQRp3i8hPhnskJjQtbeGQFY0+LwIo/B8XrnjTjjprEZshBXa0QTH/3UGpMJRVNmZnxkBdLsgAJeyTVFikEEwqNBN/Mqf1RG12b++Jb9omp+/V4zR+0siGK7/qp7dLaGrdUC3W/aJ4tSQtMEhJ5QkCTwKeD3Ho6C5DnKJQL0AowJR5BBn+XvMlVR56tUCuVdffp0/SAn10eNJVGOpu3uhJtkUceV3JPKzI1a8suG9Tl+YNLjQ4go0fIGyi6Gl+10CpngGn1eg2WI40nWz2ba6GJB8niL9JbqMKXTbB8FE5wdxcsoJ+KxVbYRzyA0xkEXjh5doBfsAbp0fNhYzPqTJSBfnmgC3RAdXnNQraw4nQlf0g23P13aKQ+9+0KKLT8OCpF+7Jnn9l0HNd8efm+wHdTWM9EFoIFwT3eYzRR50xlwhou75f1oYNQiA4SI9P4IyuTKka5Gh013uThP7jAOOiNBGXyzU83xiMpSiB/0uEMNkSuUpOJ/u17e3c5gHPvTzh757c6ceSQWftxdeVhfmhvNt07XKc8cSg5yG7VbuvvZPK/hn0M+loVnOhtUykDScXA9PgABSVrz1cktd168c1drYYhozi4MUA5F9UcTvCvYg2M+c6/Y5/uJdeOAfiBxPiFjNewzWRtZO4NW77++M7iF/ILVMSNAfnJEcSmvSNxVEsKLIsYwAL+WuRXG5xoAigcpipm66ehczlo9YOgXV3nRUv+NlruAq9q57k0ogUzkRu1ndGlt+SfJdUjB7rW9eS+XoeOKdetQeBfIzsGIrTFpbRtr4eDm/JsvyvVaSCT9Hg5MEZGYDzLfu00cvuDZISb+F9ku+xTySLnNZKy/2fLDlMa9YmY2t/W63imxJxt27VVyNeeoc22gMygdNVcjSkWXVFe8nzOoTOMQJjrjuFSqCzHmlGX0AjYyM5FA7GK244bqoUoLcDbqdrm4xP/EYA883Lfvgd42DDBMtsgJjnxK34oSniSiafkIy0UItSjY/fIuIoE1/IravicSBCxJk+boNsMWYoVn5DjtLjhVrg0I9/imeS3ymFkygrMzJbUcyFStnPG3kYVQ5/8icQ9Qtwn3v3ujZQFX5NoAII6LcfftVyPtbLOxl9MrSOiB9XRuyckjkF2DZff6aRc7SCDhZPnyciyZllZHwV7djR+LguQRyu2ldtqCx1quXxHUH13MU2VO5NtMYm5TLCNFZhnGFxBdDJSMsP7qYoilhT5SKcLCFUJNn3DP/OzDU3hfg7pn8Cl5ZW04rySoWbsKmUSKDQ1BRIGLxtQuXo2RU2WPJN3yTqoBXzH40E89NPKqzg2K9l1WB/2SPgJ5vlawAhFp9PkxpFZbM1/0kyUDVUb55LPxm0rD7ILJOTwiGzqP2H3bsG91OdpUIADSuBsxxCXunRxxg5fajsZpYKpPriK+QTojwQO46W6QcDBhxqGYKAPwRiQTiCusRnBM6qqZlww5V7Qh4O6VdZKYBBkIzgUeHG4YHK6+uEPRHUrg+cIHB2Qk/a/UyYNPuh1KhtChdX344jWN/3r3rnqUo4OKQbXN1IVzenz1p3i8HoRG6/j2FW1XJphwxe/Rjr0SHdURl2NKOWdxFwJBtjnPXs1GiVMvcShwkoL8/l0GujUYsdu+2JN6Cs3EDgphvV5/tcZHpm28ibk0lE/DKBy3y1ieBYVb/WaFgapoxSvMW0W8DvR+z0Uz92ylxuGe3Nlb2w0GmHiIUGrGgozqIRI1lb6XB8qCKeFaJdhEWc9ChQ+5fWRth24gS+QqabqAhp2N4j1BIHsXNwM/pXCYSO33d0mIVo1/A2eOyCD8bRj7ivv+tUwZNrRgjuyFFr3H6ARmKPyshFDsjAYMaNHmuIJufLgsz0S+FphsxwqlgI42HygBsFMD6j2tJLWsj1FYnJqjb3jrs38fYWSDcVx3KLuqTC58Rd9Wo/AIySDoRfL6xS6NKLBBNdIFEfUXpAQp7+d3gvI766faeYp2mrbiDt98tEOvt5UC6xirAGt9DNc/RLNKb3yRHcl6meC9kaj1YL0ie3d3bDxaCOYEkb3cTW4Gzcml4TXQFCF/T1qr4bA/+rDT+Up39Cqh/MkSwKYeWRpITYKFYIhOpnEKEc//0+QCeQb90SmM2cOhjkwvHMCUng1hf8v5RmRa8ORO39f1BHDRq2DUZisuLUhskWLuUp6mXWr9h6N4vHfQP62xjZ6SnumwEgIsSE88XAKwvwuJOFmrhH+QL0PsYSgnrwNk5Ug9/OSH8roUR8n5n677gX3QU0P3FNOEJJcnL4SKm23tSTf0WImt0r+8CYZffzj6b204fiMhKc2v1+3Ln1ogCCqeib+P6FIuB+VaGLjc+YCfxKNm5pY0qasKEX9J2mjuNFYYQasZ2NgMZvGSZIliQNinktEDXVVYBLZyEZBXhaGvW+1w8QHxpCBu3u9WExC5CNG1TDDfwwj1kaAWyFvrW+QCRp9ZW4qTm/kcOPYHdffw2TBleb0L33BUD9zFoWDM/qlJy//L885KIkVFtXTSnYOyy9P/Zq5S1gdf9BIeEPLuXcJnMMlAKoUJo0TA4tXrwSXy42AjZFaVBRbBZ+dr2X+epgzpSYSc0smoemod5w0G5owZWIqvBMWN3D6oHuEJVa301oOb33BkI+PkQKzl0HZEUcdSkcZcd2hFI9sHFBBCpgqA7FFwmRTnAgBYVbrN/VLvOSrfuENxn+SAcI65tzXUUjQCIjsSIly8TR587qmh/JFNO4s5MgunjVzPtKWxaBenFV5FXsecJvgWXrDTxEo3KLmMIXIR2Y6y99qRWlEx2ypkEiM2aBRhhv7+Y2bKW4ofR+BUCHvVLysOKxxvXJFU3gXquoteLjyaDWdj1L29FkmjvMK0z1Kf6CMHnQXl8CRKp9kZ8WUY8myDS08Lsi8QumQENDECDVc8SSgi8NNei8qaG0NHrk0hMNAKYHZK00jS9XQG/07EO09p8heqvghp9ETXumujV+lA5/0L+alp9CvXKdCJ/+aGDgzV83i1rKuAFl61GO2bsbZQn5G3smVHyI8pZueE3ASArpfMjTgTShZxbZVpfnWbXmUfCgzKuSvLtGWdS6gSoPicIg+nWhDfi3dCDdsu3v9yMCwfnhdPkow7W3AH1D9NG97bgQvUVSSL4l6cwAF5nYXdMq81IF+o1oLqDoyxz0rCUyqFwjeIdBzyz+oD9Nk5iRu9FdIIB90LTyJuGKIyEIVIHSkOdvlLQBVdBvl+hQU362rbnPvpyZGn/HnnMtF0CHIUMnGZYORBxbxoJD7JwlsuPXgfofqIOXwYnTPduK5VRTRD9ojTGHnekskUNAMufSVZltZoZgV3SfG4IYa3VHjZhtZYjZ/DPeBLcI1ka4pdJ5/ABAaC+v9RR3mHsOLFFqYe3z6wYPfQdjvnoaneATaA++Wr+PCOpdsTTyJFI/ao/CAepwLfZJc4dJvc3Q5OA8Prb3GS4ejLR2aZZqNC19aK+gSvpIFmU+Fnl3x7/Qwi+Vl27bE1C8rQYIymL8KbLSI2Jsz8O/DQC7dufus+Q9/HgkEKh3htpyYw5lB1bqCLK3CWvDrdewxDetEQniPjkzngJ+s6N/O2dZT3LsdXN1w541YhW16kL4D7PHOUVwGfl+J4S3dWyufPEXE8wF8yFQ2yOOLXcIfLXFrmFuyXtfkQYrg3XEY8bv/cAYmInrohM8vPR3B7mYQllFN+kZed2MKM4nIHU4CH1+lW856f29ae5JM1SS/gvNILFQI8prbHFsM6r1i02NNFgauimlkl6WD5W+vquepfqq2xv/l9yygrPeZ5ojv5mSxgjFjR4E2LwnxWaMLArtdgi8kAWaXTcPaMqVflft1ab9s/VejxpydAj+ds+ldSoeJS3dOEnC0ldy5N0HwMfKLdQC3+JVzSbGBeQ/WtW1yPdecJO/oDpDRAmlGmxPdqVyB+Y8KAiP2pSntYpVeY5e4wRVr1InHwtN+/QgjZO/ldHHE+je6Sfdpe9XAcSyO6MtaJtPZX6c3CGY/OqrIg08mzLDCSv3rAJVzZELYx1xzuLH7h3W6AnXRSHE9gv7v9JRERNLSDN4MopmZOk2UU1mO7PoQBIbkR7KoDq/07ispM7rBpb5P4jurTv0cNnWt1RBi19B7ll4F8H5GkuDOpKCO7JrUkpfxgvOucUj2sgBiXMBpZ5k6Ye/k4Td4ChFBNHtdIDKNepn4faqEk8CkowJMRWkGaSbaE8a1adEyhBwURvDZzVcd91wxDjGXstN0G22eveAqbTWG5gdw+wgLE5EWUl/ch4qGiR6Tbpu2RYJ5ZkPAiry3h0YFMTzDLqa47vmMtXCy8YARdJXauO3aPL3VK+oQGywsKS0ByhvhZIxNADTo+JSvntTOcDjp2vcph+Hah3vQZxV2B/2u5XIU5v9hON21dlby5OgVkia1iqxZnAG0bpdQKYkzyBfDGxIvYnCGnH4mCQyjaRrde1XhflP6stsgF5vEAyukyq7hf2EakjXOG28Uzjv1Fv7kBA2TJbcWUa/xk6LOJSfKqPjvo42O1a5h/m6ZNzQjEDNLSCgDilgKQiWKbWm0ubKgeDkwsMVoJnluwicVGYsykvsHOzEikgHUhsACH6JKQ11RI7M9v36yMyRFNx6DOG6TOP1wvu3u/wzI6Z979vbPz6zBIAYbrcnqsNDpBJykdBsB5aTg9IPGwc9ZC/M9Ckh60AjANWfolQZ2i3oWfi0aZuLVt/fkLxb+gub2uVzyIkXnEo/bnmsMV+Q7fMIGKEPm9T0wT+amZ1hCPaLyO56/Eqz/w8rgW4YiT0Kcx54aCPV+uXSv9BfdIbjZestR57Vy0rKzBInZYTBFOseaFXIe04kv4av6ANd7zGPRej9GQmY6DQTh2N/2wyBAov1FqpscJuQA30F1kofdAcFL8Z4x7tHdaLPeG54ehRzoGopDgSxWLuT7H2eZ0SWj2D+SI1hI8m4cu6Wu+67Pe3f7lIC9R/SN1YDGbA7En1C4HyzK2ks3uLnLrICTH7HwrwWgMWBpVJ7IDiC2D4ErENNMnez0qRCOXYYuO/6iwZp3dr3Wez9EmSVi2uqEQR6WzPk11EaEwc4MszKE4ykFuqm1gqWUF+812W2sU3k50YoLGOQJzzaTP5Rwhwicq6MDMbOPCDYE/VU4YNXmUjVEwN9nfqMVe8ThmQ4vxcHmqt0VZYlXqFidhhg72Wm2vd/io6TbKEiBg4QLLxDr6ac81w3mfxgWDzC88vAcyntYHEhOL5mT8Ix272z2v8HIwHydS8iGca5UblbIw5CUdqGyP55Mpj8k1Z22Ces1Dlemdepf4KtQQ7Mhg0CgGQ6ayhJ1gei4d+jBcvrS+nBCriKjuCksQCLzmGloO7DiCO2RHv0JQLzhrOdEeAjiykzTI/BQBHlWTQXaV3EskyvR8QPbQS+5ASdzaBvXn24w804SQW68kdUt8RH748KylelINpaW3NJjuJcLNwMuQvTMfejMO3ASebOSYs57Qp7ssmiP+K50PKj7ZX5bnQFF4IRDAYF/a0FuTr1pLAW51Jcm6vpKiqRCNPNZ3Gb3MLyI5jrzBWbnTJ39qcA8bZ02YjWwimuHfrn26jpYfXy+u7W72py4z4P0DDnN/MgPiW/x+n38jH8iLl8HK0S3jYFumlHDwFqgB166OhNOLVlI0cuHSI89MmJ5Qi2LIz5TPBGQq9NGSKRSnwIVcLmPPcWlHLMSf+/Tbn8so1FUHlD+gf+99C++sOg7jXckfJPgM+sHI2rswCAElwRfKPxkmenbjaen3twjsYTSVndUrHTrQwl5In6TMDzpwg+Wn3/JDZw4hcjpn6K+B4l1Lcj/3+xTsZyK1Dh2adzeglRnXBetArgUkBVCg2inbFey1oDhUKlefgh/ojpaHy0VaOalzeR1FnKhC9+EeWXQYUmmpa/Sm0owkOwwCuqAGT1eGIgZmRMAgKgmZUAzZgoiUNix5iBEhdGbGfhchCnoKMQ5C3sjrDet3CYaxvLzsDBzMcCD7BznsxTE7U+w2CeHZgttH1olePmrRwqx3OoUr+93SFPA4vIFjonwo8g8BKPhubzXvy8ZQ4YosLwWTTkP4YBXrE54aO6S0qyyLwIhQn3IXF9wYEwC4gUQjJ7eofgYV+KLYGijibBsP8ZHDD1+mO18sz3KYVukZYkhYb4Ldm9fk/TBQ8vVz08JIoAthsadGLjRCH7tCh1nlO3hZpjD8XLORDbdirqH8hgwPnXcMpgzG/gWpn49wCCr4/w4tnD9ahbiXngm42m/PubgGk4RtjJSG8YCOIuDgS0X3x/gDiO/rnod3n+JDdmPPJk+aD6cM4Vh5wyjUn5ik3FukuKBTVTS4pHQgDnmMjkgjWOBAJLDdsjfLdnEnCZVSJzqxAAOq7/J4VIldjnP/5QicT3h2+S7y3xhDy8H8Y0Ibk68ADXbTO2SksZw0shqZ3t7lr/zAKvauks+95qUwI9ElbAgW72JEpt5/X0DX9taT+52Yn7ckKSjp1i+jG8yeuW/UvNEiCDgJp8nMUbQnjxx0XXvigWc6kJw7rfXiykvMmZkY8MTtCQQqlvWQk1AclL43b9sf9rEWIyZOSq/jQMLb3CPsfTGEm9wAtBedGDNM62yAmToCm+kANCwycFOq8KBnsJAaZOWRTWdgfxmZflWaIhb7fo3oPgBt/kh/2gsUAK4pMxFexyKsaTRlPTyXLEwhSy86XkLb1ZjfB+rVXcxpdey5cVt9zqij8ysjYQIVMZu/xKRoiDdRD8wp79d8xmjET8/R5DofPQK43wh1sblgMpd7VB0epa+rBgK1L3KosUidRtxzvrp8EXU7R1Gs9kgVKjeiLVEeTf1zeJH0MZejPtMFGVc8sUlD1fxLcShKj4n7EjUpkycp6C2EZE7oN9Va3U/UFge4ZPmjgnLzpeJU+E/mBhekDX7OIotV8xreG3qZorMk5ed94L+gQBM2/EVluMGG1r+AV97HHSUAEK8F7A3iah+BKuOC//0d1/poAtEuh9GGSEbbvGVaJcZ5I9GBkFM0ThwlaDavZ1PirBg6iuNVpLRjzm27nF4q0rUG9xttKbXwyok3wlne+aCS+/deuyl9gVLI/kBFNDC7t79U0GK6n1h7TrDXYZXf1dfkDu5d3sEzwOP/vCqBVbCqdacR7eELlbARDMK49ZCMl4KTDOZzigv2ylBCWQ7kDwxRTw1j7Q/xKfGNm/SpAcG6YtjgHC5lLHA+g2gJZ3dx5klYUyPY+q5tvXA2+S5kvdemetOCGmeYLFoL8hc+XKFa1dIeuj7FJH+uoqeVNsgMo5LeuEOvPIOHmaKB6G2MljM5Mjzhhs0CwZFBzoby0EQOGe2w0BGk2CynNQe7cPb84uYUlkm/ttx292Whxe+LT+eClEzywlYoTFwnNXhZVh6LaXH9HXsk2Wtq4nY3ejUzCgr2DEy28ZP6fLCdS/XHtgm4pRyrrFnHcdWvZaa1zCdooqcsgMMbcKRp3DyTQm5zZGI8YojpVT7DNuINvSvHddEpI3mMfr1o9Xwx70Ssx3B2FiCS0GyhpEZ3KRdvEM59M4YqiOnko697PFJaf4its4X6HqtdtV7FgVvCtQzZF/al07kAX8B8rCbIdqg4qUqPMTXt7xM8VKHMwufVRp7YkNeH8PjXQmWdUQClMzAJmMb9jm6KagaWgIYH4xLYhH6UiH7hJpIrYnRreLLtV/g3kuXL6dkTgLyT2vCzXJPa1M6CWDEK4va4R+8xuv4lMKMPGoSyiDlfRqVkMo3mA4EYTWhUUR5kCln1j2+s5mSUR+a/Gy/Z1oOmJhK/vq/85alpj1L4nH58e5PylWBaFnf32Hl7btu5yJ6uLVNwEW+KGd5Pdyhzz2ydmkBvJsgDDrxOVfHQY7FEiBBNqzWo2o6sIU5A0SnB3vzStZQvrNQv5JLYiSXX1bBgpxxdw0lJUl3lPXanr7gJo3XCRDEA5ObFU8RgZt3HnVv9ctwFtQdDxQbE0DCdzo8rzY9FyunMHBoilyIoX3rRw2DbWapERw7xw3XO5poGvQE6utnTCsCHsJM/jNOsFelpB4EbuKDbG4R/FKme0I628OzWTjI15AbXk3sKyz00cfgzB3E6JkiZboPt78j6nXuOzz5yE5JkNmQlq8Lf5VLn5VIAyGTItHcq+3nGZjIk0sj35ACXwe4CUE5od6ahPCjSUN4j7KZO0LxYKApanGaWI87BQs61YHjibWig3K3uvlHPicgSRcXY1gqzm2Q4aVCtVlNRc0eWB1ChHlUHgZiZA/66GvUL68X5szvJNulCYkgHUeKG/p1HpWyhWeDdJiIGjrh6JeMsS1tmXwNg072p59RPHVFAlvFp0P4fc8IlEDJZ29psi3oobX2YimER42NrhHhbaP9xBaLvv+/AxbApatwhgIFf2Y31TqNn5PrB9PKe3B9Q0VJH4EWkAfOnOsuPLCNsMC6y6JPubZriwaeNc3Ht6IHsAhRJqcZbWOtk+UuBFIpH0Al1xm82QWnZKDDSZMz+w6QC7Zx8XKjAxDSBWUzavs+4q/rLfqyzsjqrid1BVTu9U8Xlywl1w7oJY91R0V4i+ePsYFe+d1VXb263Cx2DrrXv/fFWAwQJzCu5BGwCyBRIdTu3j4gOs5kCbWvBtx0vglsTYzUa01eMnCqZU8lL8pBDYuRp8ZSS8uBynGtuvHZW5ZvYYo+V2vxz+Ikw+2dTuGVVw8AzyETa/YvRHQhpxSOnMqEEB4qiJcbjJGqTz+6T6ZxlaLb23f927dxG7KuxRKCAYhf2/klEWPpoe5xmpGEZDwU3dDxjEojl1Yu6PNwxbuFmbWQhtEPutdqirm3p3ZGgt5xNaXnGovDg7UbaIRa7o0KunNW5R4twkNR1P7PU6HIVzS5YgPOmAq7hzh852XuMaDV02cnXtPUaieCD6i1WI/WtKEgnWKiUefaXzNASXn9/RKUZQ19SZFGA7oYpJ7XQzFeOJ5JJnce7NOF3lD5VaAMpm1+yyaeBCSmMKbL5wiU/5wHyXBfuSSfUEVdY/9E/wqKFhRCPGeGQJRBxvKDExLYcghkqwyjaGVMbK0CyM7865/MBuPoqptZ/vno6Zee5u6IfesvHlkkPuGw1RNioC8AjbKOhbVAwJncSm4ecN8xOO+6vJVNpmU/HI0au8YNDD0546hnyXQf9KwmNMlL5VyLQcZkJBAclexM8UYAywvUeFIxJBsvONDOTqPKaKRebVYjsGfS3pLtFXRG0+8FlbBkyUtRBy+MIq0SieS0OXuo/3FdcB5j10O+4m3vy0mxtnYzhGgNN6KC085yYa78yD3DYZ2Oz2Weo3NV4b4AOfM5bXDtWbbK8BzEo3cfuS0Nf/zXcstR/9yJIya9P+RhjWUzBMrVYoi/0T7w2WPIUYmX1V0dgj/mLfwoxrPZamF/OzNw0bzl3uTKHOCjrs3eB5HEJSAJ6rtAw0wq4Ys/rSVkWyavrTq0O+jeAiHCNf9XTbLKvfBXLPP6l0HdL/bL/lj9A8jZvlr1TS2we2ft+wg5gou1CNV/B+lFR/Gei9lADvm0GAQMlETnFS9OR29K20qqg1kXjV4Cag/u61B/FXaxNQ87o724xDjx0wsImUAP/L/gmPBZLq2fKzJ9NbrW26C1+0ywMdHjo2jPqysL4G45AOgnRjSR7yeo3Jcn71JYFtTIx+Mvxzhf1Kvmb5r9cDbXHqWy+pLxy9GhbVA5L6+jHuUxV4rwC0EyoG0Tgz21+svAo6XjoAuNVAYKh+dtvDbxy4p/ulgx3iOhgPYlq84qjcr64MsY9aKts5YDtF+mv2XFgQD/bFmWeAs0r8zqS+pPLH+SP5bhscudSPHhdjDRGopui70V568afy6FkJs9beZEQnAYRTgxdpG/ToXWcPCWdl+ryhvdjPw7NjGJYEkuMbSNPfJi1B7/B6ZLA4PqSR4gYYwbm52dU++GBkMn1KLHKXP99WIibSB9q+QJ1+RN5qInDFq+LIkiPGo8HVPNL1mdEBeA0t5e/B4purMAXBxlYa99evGEXDXJUTMr/iMKqNMxrZaZwD8XbIzNkTAgHuzP4DKQAEyO05KGySpalyV1gAC77CajHYq267Nn8E931pdXm1GQxRYj62auCWoVdX+DdrlYvbB9iWQrTSfonpRwktsxBgqCcZNvV3VcuIp1I3XXcs6WWRT2zUocM61D7cciQYICzRmQWOd9ibwYzEvK3oM2aDB/9FVQr1c3ld1rv0aR+Y7Jv1V0JJsoTYgCw1++xNBL6g3VISwTU3iU3aPLaSYLAQg0bk0x/MvIZOZNopeUSyztrJUdV7kyeuXl6amYX7YrfxQ0xPNDLJVZAg/eI4o0dC67x7KC6aZjj/qsZJekJ6Onxmg3O6KkzqEXWYJ8/MQddNQfVOEsr3jUOz8w+3wTGFVaXwQtcGG8YYbEf1e+b5xMpJ2fwCb7wFLncVSHWAUMd4tGtUOJKQjqfAUwNBlkbkcFFDEvQOG2S4w0G1NNG9bz74xRKqRVkNIMFzkmqLPbgWs5WEfq5FihF9ILM/PeDLkVbKt8SUUDgLzIzeCrJdmZFCdadLSCwwi0/3Q+DBB451k43OQuaWo3rZzEn5S0fp002apfLC0GtFj+EEfNSV8rOwlfVy0/SAWNclL4URdBpkvwow5orkT0RwCWSqj1JG8xUvqd5cQ09vDBvgnkBxK3x5JgCjqJSc+7zS+qjseMyOAAMNdKEcbExxHN2ZYKbGxxh68UBgWmp8VsNyQWzfEFVkkdO3TSFS0v9cL2XBcWBCjydsoBJ3v6hYSeWYT/xowGEZN4+hZxmxVfaVsM3D/oNRJgLUR53+PUb1hVRvwQB9GUajKSYfakIVWrxZGD2LhJe8iL+6Kgw6HnKlRIDdCQv0QlUgaH+bZ41UadtCL5KL2lLjBHfLWld7D89Fe2n6hmEwFOHxXZMHoTopBnhuq7eKuo/DuMHhdok6csPg9WsyCU3iIqXCfCh8qo667fkMnK8MJJDo6qlVDQgJjxSRM/gj6nO1u6k2vSu/DZJGRmkq1+ru/cneUoI5rv+vviUiRV1+ztY7KyNhncezIwhFAYgtqwF1RU5HnvTnFWJ6Aw8PHBkgzsmIxEiuChVZAQcTnmzMuO7sLYvGdII9rhk6ugS4rfUJ6CGLWuXl45zzmfK8mZHbsNV1uH6BbnfneEWxGfuFSzjc9onXPOIQUrtY+hG0A2nGnzcuny+/XZQFzMUBMQu3oC7xtjYA5oODa+OK0HUQISfhVU5VGygwmvGeySkF6qI1/E/xmT3HsxkKdrzH6DwWunM72yS5mcjJKGobGTj4IqPLtqGzLYBY7Qz++1/eab8R8O2W/D0JADpdP5OFI5/g7s4IefbFl1zmpkAR3citC3Iperm6HRawr1SulmbaYoTskDLHd11C4tyVowhVOWIIaxqyrFa2tnIRbI2ZmMdFyuLB1gcs/7bcD+bTqYdV+Cx/IwzKZ1ty97eyH63en9ysjx6QflYtA2gbvXzheSX2Hf56oyQEUyo0G652Bf80aZveDPRyMITfByRZ6dlxrjdJHyDYxqW19jOzlEDy9dIokJj5oggwQIe2S8u0THyze3DvemA1rHVRX3iQi7b4f3/NITA9to3wnDg3pUBwr/IzxBgmB4BCpiT9iCYCzfJU89EU3WmgUAOeDqUhWlqdkljbePye0PnDHCjVFb4c8V+UYz15QdKxABOCN0Un5P2+Rulxm0OYC1cnNtQw/AxSFymVpeKFnGK1sumnQBQh7sY3aXHh3GbC6h5zYDNUE0Nb+qSF9lzsrYNCP8LPJiJVtVbCPKYV3gjmjmCo/gQ4lgxaieEfUnGVoTERveBaWPwsGeu4YRhDSIOwnlB3rvCfuxPc3xuff8HWfORLUjK56UMlUkFKVAGBbhOUwwRB+j0BwVvUcBxQvfK7vEWDsrhewoJ9YIL4de/A+DrsFOoltg8UBgxSuUL5PzIqgDGPbDDNjKW1F0h6ewXElyvhyfhf8GWeM7kxUssvWZxbaVCJYc1/XVhN0ILgCAdRcAF+iJgQAfBOJpWG6vwMLktKVt/rMJ7iAQZMpGive8py5NiOb/jXsUel5kMtT3fsw5C8yn64fLgh9oATXofV/dh5hAomhoyNZfvYNxA0XFXIp0EAe/q6hpILhVQfxvhG8CTRwaYxWnJLTr75ZNj7o17HPQnmqH50xB3+2NgGVkIBRYNBp4MTNStQaMocddCyR+Hn7I7P5Jo3BgfLSpSxtjEI1/AQPY9OEdbEu+wburIkczLIazNuMUjfFpb2LpV8GgW8Uz+2YWuSbvVaWmH8VmQWS5tXogKMDwyHfCpb6oFGs53o4Yg4KPGGg0ZHp4qW8pMCNlF0UuMcwyMcz1MyQnoRG3cJEw4v0CJvaY+dKgplrUmZe4DTuvFlTWR71WKM9IhW43FZo+XgBP+eRiDBEgBQ3T4lkTjbsljI/qrCDM6BnEkq33BsYb23Bq+pm8s/3r3uJ+CKttN9fYEHZsNHMQgzrD7JC5oirLzkPhaJs5v4uhQzd5gte7vBi/Pit3kbynmmACilmiq8eU0W3jcrLiGwW9ccOdVw+iiYoIu3CfxryECigXV5M00jSTvGAUdsjLhw3q6b4ZJT/OnapESGobD/ZfrNEG/gpOAc6YYBE/IlzQEpqfHOmq3PoYEzNx5OcQUuP1tPAmJDaaFzi1TS93vH42j8W0okLjjULoT0gEvixA+I4k1NMRvaoJCwbPV1kCTSfxm7+X7uLOF2cjy4g1C7v+z1E1x6Cbx4tcRGDpvSGagjvrCr7kOxQ6yDoqLNbMUaGhOdgKlZwcXaAjO7O31G9a7sK9frLC4xtJ9c2J1A2ZpXZJSvhZgVKnBt+Cbbbpx8JXnEOhrCTkeBm6d9oAMl1ed4EjTcsv429aPvI6+Qwrskybd8blJq1rN26NJ39/O54/REbYuR0+Knej6ApwllSkKAZwzzKppkVL10Mh5HbNT4VWzir7QxXJhc7q+MkASPc+QpoK7cTgOnTmvQ+pnBKG+aj8f8zgfFyNdgafNsLIxGUe9HsYlW7rOtL8w5hpWvzKp2Jq/nnxsaFMnxS9MKcME5HINVDdhVX6xHENFp7BUSlYA0ucNZ1SdEcSURwHzN4ZDo+TZrPXSbshwNnDPJiUEGLMpMTXwQqVTcCOxE3+scrJlIyYX8aY+CqZ/7o22ww4MrfyhD6CodfnMxLgBvHcXgumCES6ot89jc5kCcy9mlf7N1lf4YZ4dmviIrZi4VK5yOn59juDW+DHi4zNkw00Os0oxIcS21luGUPSweGFNCoPGGsE6yTxcFlOdMIjSB7IUTGmQuBmhDudhwOohfGaExRm528mW8c6bZkRmq+FJ6tbAKBAGuxT9Ru9G2HcOAm8Nk7jnfT0aM9ZywBFhlCt3OtZjveQjdRVfJRRELg8o5SBRaLImlNvm/2WCvb+852hvxFOdV5KEwQ4pffzrAG3GbWcgdtevFY6nKkR+CGCms1nO671wCU44CelypC6qEV/dQQ/ZowfayE0jE2kROcQaUEsaicLksYnnCn4PI3/OE0Hbb8B0NR1LDtdCVzX2CKQCNuPZJc1jKkOF15dCbEf8uPnRC5lw6Atck6yjbvr4n2e6VWJRyjt+idogZvTeQJjx+NZUIq8VUVgHIW25b0le/9Glc7d9ltyMiJXdf8wnxhJePPKCK7nqB/4XFeYOVKbYtozM5YU0SRbPKWuvsXu3IC78qyXin6bVftgH/7yKahAd8hfb5u/Xbw6RbJtk7qNH1mVwDp0mSfEm1NcqUOwLbWNg23ZP7NScztdjyQuH0OyTDcKsx212fEW+NBU+gAHxrZ7Qkux+yPc4+1lBrNv2TZLmoIsKQvmo2VTegDdIvJWLKj1EFJyhjRR0mM8a0XQr1U+RIAdyJ06mj09YyUmrNgI6DeZC+6LBvzLGvZNYBskBbR2CSG+Mk6O/uqqAyf1u4ZKpai14l2bsxU3CuErts0qAnUvGtMi7LX5QgShdLs/IdxnW6+czpQ+7OlXNNWam+NfVPkmHIvvmKBmSaJ9eMkc64cfY9+td8Mel5PiQzw/waHeMcwp41BYwsEI/H1Ao5gw7soeEpQ/lKbs2HypdsklB5qw63EWZw2m9IrKqbyLJxExlTx3BuBAteOG256nLWb7lJm9vFf6QaNSTsHmWhDZ72J+CCbb/D2tLqL4l2eQfimQVKbiq2f5Z/xPCUd6tgZJmucIDhRFNoRgT/JnNNFqjI095ZUrvGzIxSKAIxH58Nh+oBQpTSYeE+mtEkx9kvtLV0cy+iQjFasJ3VN4gOpOxAXFCTlbJPyXqW5ytOylvUNcQrhQDHmX+owXvagFX2a52EDgbAFflCuq7KtomsQeyfKFERDRF7clOXoiuI8WQxV/0JZ5X/a3gsRU+b9tZ+10nZtLxYBNBNcOzCVomRG4FwMmL8Pq/SGlCMSkCHgsEXBlS2yXtbzuPhnPByBaBqzvc5adcGIVFQ6ePMvKzQClMk1FnfKdrpsoLftOZR19wQgvHImJnGyg6lwSOs+8bHGckFzl7ri+fh/DlE7PdzLiKhHW3pMx69ljBwsdCWGlS4BfsfJCAPwmWBcSaMKLQIitzACbaUjy1bP5L6wOH4FTjRhSOLFObi4C2uiaDgA0iBsw4bEpL/z7S0CoeK2q0KENTjkjKxSJys/3u9jC5Ttyg5TuLQ8ksX+pEfL5Iv5wGDUxXJLOdVWVjqTNFofXm6dNp0eE7Jxn5oH+zqeR2UUe7ahSQO5tGty/tk7wZscZmYz736jqTDfcHSpOAf/ftUeOXmUwM0gL+oyKpfsRB7S/m6+6hRpdb8JH+vBl8m9rqCuA1SFlIAiANy8SqBbQ4FAFKM3zEHqI9P9wkqVUtW1rA6xT03D6D3aTebm71Aa+fwHiLn+GT39MaA3yaS8awUrsBFLhUd/I6EVm/5hTJKSPkUCxo5b902L3ro8dYWWgF4Jx+kkOStXM5wuaI5IAv1rKfN61TDSQPftLCixgtGzeuRmE7Db0sXSHJxQ/47X5Cp2Z26PEJyhlb6XsBDkKaIkAy0cUOq7B7OPEs2d4jyjLQYbOZUDqMmEXrXKuRPz0cpp8B0KqJ0jD4GzAUIZ9pBWZdRsNXnShqqYoSa99hLUjvGBbJH8SQrJon9ifkslK+HiXpNitpntJ9d0k1PhTgaTKswOElL2ot6qqXMBEl+4Vkq0rm0wmObN76sJOjVBLP5SXK5L/ss+hM9e4nmh1DDE6E4wEOFl6+wN5fhlWOFSaAiiSJjHDEdydEqSFGrV54RmFDJwmU8LINURxwQ3kzt7mMeDIoKOWssh6tbn0R3nZF0h74vYvA6gGM4Kt7r62Fg5u68mdXFGxgNIRm7aHjzc7P/7r+dQmLj3hSvCSkCFLe+WYQFTfKazjXvXC/O1qbJlwuecV2hfwbZ2Z+A/ck3LsuqjQCNVDzuVNJGYEsDbJF4t/aZ6ePPakq1OjGbUvP/xm8sbooOEcDao2UQ284js33N9vmjALtYbwHx7SMv+nsKK3Hj4qsjMn6bU4w0GDR9AwZwzrbhbdJuIEwX0q1aVTYRhMIanNEN9IMPpCwuM/ZGC7xBfZ5XAuWiFOY8KCESNsGS7/Ad4YU3Gasf58xzYNo9w592vHBZkRUtVhRdFbDvlEOQEK+vm9W2u0cfe5z5ticZjtHmmRX5+Y2L6+Luyz1KdFsboaKc47DGAYgsqYk3uuQ9SsMLSEfU9fKtS2sY4MciEKjfNFF+gAfp268vRTJuyWtTTucaCMs4qCZ8z9b4LLKdE6uKyO945QgztMIS08IW+Gdx0W9u2Bo/TpJwIfn1Blrr12/NBxoLCOyAZ7VJ/rE33q3IacxIsro8QfwPoRzhMF04ULYJsX1qJLgjfGS27wag+T8BbUz75/3QSVnaAYiUFjtXHF+ZwRzOq064MyGCzB5aqNoc9XbxODjh1yJg8cOnndEaN3Gkne32Mk0WXDm9D9T2LLsckBVuG9LT7y/ruCoLEhbRiStBAc7VuQgXGMLiIkS3weCLpB39R3xQ37f58EN877+ehrhZtfmdwXEC154JN+Mti3DjyAY88hOJ68qW4MTl81QGBV/OHSOSCtolU1O5sNKD7u6oxUjlSfO2LCaMG/pbvUkORzJ9MbaI+YwRhg6OXvwDYqekLOfCAFUlBIeKIIwnCRY6+4dthps2h/rjQM+sEJtfFUof/vU7X0BUXNhoPE1QJKTAo5g9rrG2VtQJexyx2Ncru17Noj2dzkFLqnq7BvWFXkYJNOnwTdzqgqV94ZocC7P2gdl+Q8clI/Irq5b3KbcIip8vj5//e0FqJV8Wuonpn1RfjugawCXd2klNt14q86ADKAxLakCoJC4YJ2R6IRHLLYYz0MH4aC5V4/sz4gCqkUkcP5uPAu6pdifWP+baL5pZN+NzLn4D1tuDx0/gAcZdohJKsw8L6RiTeoxhaXzfDwoiIBVm64NXnIo+/XaWs3kA7QxBWEZbMVi6VXbEt9NUYuhKsQitq1ZWcy4spKs7VS9oUPNRAkzYpwqTn7DyoYjthQ/JJcich8re/f6klLtuRoXxyBhadFWpOxf/BxJq9lkVhEiiuX5zGHskjSppFBw/wVioSCSwEbOCkiH5Q+7ef75bybEattloXRLrNWRN/z7vdxiP3sGir+Jl17ynLEYjBLbqF++e+r/jEiqm2Zs4O1V88hNRVaB57q2D/U7+QdN3COu/yBs7uzRjIH6zW1pqlmQtc/fpbZsKj7nUK4pzdNyJ+BMpZDzM7Mz3cXI17Y7ntX4K1NJ5iV3P/HhnLJd1zorzkwy/p2ptEkKEJZxgWUHm53yTtyN8++Opbi53PsOWgd+4RdhLZNFW/jqisSkAYr9fmBnMRWOq65po2DwIlHq3giQ7AhB/mdG/ZMmdIj8LHrO+swW2cxcujLZkZ/UG2KrfgdG1PNJ8qwrc31iMUfuecv1UQa/MxNaxDu6k6b3k+LMjeg7vHmmD/vcxIM+P82+IuxMzeJKe2DJRAB7jBG7VGc0IKuRfEHy5y81ulR43lkqI9JyKtQ7TSSQp0u9OUkrnQokqdHbxoHC/onoutlgfzaFT7b3+y1hbnFockYiF8osOd75bwXShUxXzMeb1cRZP/f4fP1SFX4PHEDqLQgULUVMnCJgLUo+nZ1AudFZeDTJ4wr/BRabXfgL4tzs7zlO6BMb/jhFJamcT+/feL9CKH9eVN60MIIyHFMGK7YNSCTp4rPpXq+fXcIGn0x9uodT7bnc8r74QbyHlVdS5mPs7XGqToMTGEsxtCftxfCTTCdIAboG0SjvvMfh25JJSYsbMN0Ifc29rb/gYavoZp5reBk+6WrrGZHVPOl7G1UZ2h7VMp5WKAXQzC/rW3tVcTkhOBqyiRBj0SZsqe1sbcQ1xQOLA5emTV620Ee30/zR/4b4DLniXU3OleT/Gsy/FODwY+7NdVdxGJcW72781zZ4JC7XVveY10GXWl7enS5D6VmvRPdomzrV+1xwGBQ4ABKwvcN1MRt+xUiUG46dUEOIkkux7zlie4S4gPo2T28M5AxMmkO8YGTkAFN8O3nyFwVqTuzhbtjkOAuSO4eTF1UxUdo+veZOUk5pDik2NBdhYUhhkrSGMT34bgtj2TEk6wSC3T7WJBXmwW/mpxjfeKC1ad7npmDvz2J/soRzp7LSjBQkSqOA2rLSjOEoL2PRrXLFqkutM8K+rR7bOME57Wt85KPE3ht7w42+jO0W1Jj+Kk3K8ayGO8xf52CwpYoV48bv8aUllLyxOsYyRMNPfV0MCYky5jrnLGpNmUvTy+TV4F7WqRvebKA6LuaQAgCF1tQi++eoPubcUfdS8cagPMK5NTePwIcLG9O1RNZSHXM6vUIngdJJ2cchTxOXSsZ301siUOz198JleZVJax6Hccs1WHeEhYLbLfzahalv1NSXNTNROjz9bZq1zjSuemhGRMHdZNBBKoPCqV6FmuyGTOFXQPjX0nrhjrZt+QcEhBym/4stjhfjKkXtxYoywaoMvMlf6oIxVO49541arg6kiFeH7QORlMYiFd/qDBnOcGIkAm1Wn5B6xfDMhY/5c5OaushafRMUV2+jH9bqhXtmlK2uYByTK/8g2HqIsgl+qN5eApPPePjBqqRsj+h/iIgU9b/esXaW4NicZMRz5Uomgemnt2R4OhVX7LmdAWHUEx8l5vqiFt4nlR6wjcGGTYdiQncLhyAnxpbSoShj3QeDZAvYhT6i0ApJwatJUNnX8/2zZdUVCvvKhA9rLgZzCcmqAW53D0cbJXL3KuU866v0gyf+wXcaonR5oFqPif6qrHkgak6vplpXYndepukJNoaocw2f5tVchDe3lqtNY5lNeoGSyJrkEglQQQKt2TCOJ4BWZ8N/nUNx9+K3X1c/5v3OOqgLgSRwJmmw0oH5xraE+yw3K+eG5gn6aikzykP+ARb/i0Gn5uTWLMT5Zf/oQhBsTM37JiHe86VoC/bG0RpKAkcCBLzvJiqAHA7Ze/OW4tT3FrZXp0UsXk/5/limsLiTeoG+HqHzXqovxBf7Y9W2xYXJWY6ZjjTygEDjqj9N6vlGDFspQlBDO0DqJWbmgjUk08GVBc2uM3mrAWMvXHslhWswVMRzEQg7CaQ8slaO+ukIaKRKKCRFG6DylRy2F1P6QVo0Qp4bXK+dcStjg+6tDuSQpAA7bQPbuUZJpeoFT2GnI7VSPzyj/XmDxYODkRk5dpVdlAVADKkKDMHKptKJNETksgOFXSZQq7R2m8FFfJ8Grk4Ljr5Tb2s8iF8iQN0H0iTouctbkg44jcQZCZ7LPD1EjLupofQ/isgds2KyPhz79vRs+yc0KyeGI5EttT7ETnQEdheijubd3VfujdaXqOMMXg6KO1D5mhU5ZQoDBnX7AqOOj3JThTjn4kSFrYeyuYC7/39dT98aQdSEb2drO9uSYRR+DWF4ZVPiExtna0pQXTuwYxLGj7Hvi4EjMrpdZ3yYWHYGp0WVIgZHnw4fP8ZnLj1PHkuZPxKojlfNQYy/QJraUQW20V7UesWQyGpVgk622+eLcZ40XKo5Hro0j4nhAqgOgOfR6hI6Kq5HyDyVTTFmQiRPSg1cGBbEQ0HHT9bull2vr4c7TcreyZqQ0xpltSYmOnkZ943nr4bai51s2mSs82waFDWNhjxiDbccnjIRAe4pDBcpyFZWSM8Dr20GTfi7m1ga74WZzgaZ9jK13/kdm2D/e587c55wG8UEVWBRyw/IElTNaZ6ZFnzDbaaTYkND0NWpYmNaxc55iMYn4dOTLUtuKUFFr8B+Vx6uAKc4ikvY9ncR+8/hK7hrE0pCl/WAQCH19qGptm0bF4h3bzjDhrpv03+d4X+5nsbdbwJYYAy9IfXMZZR/ZoIZqVd2vR//Bu6hik1yk+O7snKRne42ZvWLD7vC54Ep/kxU+WOW3g8Q45OO0u0niWoQ7bExnDeLasrHfOj+1E0kaI150aRdMhBBQXIEMtygpYSj+q1Ppu15UhtdX8JbGuU1CWydvvK5H8k/litV8ZUuuSmhCeojWMdoJ5VaYT1N8hklM61CK3sRQV7KNY01rE1x7N3hQ5JRCFGXVdcxBhPomBGhwTGVDPG2lU/AqXHw1Uh1OwWRc7vsI7Jp3suLe2DdiP7qmd7GYc9PYYC9bFFqLqvJet35UBGStY9QSdplqS1+ysRpanuH0KkUaEMP0NDeUDzHOERwdsCezHTmVcPuAeSx3c1PSkjiA3eS11JS0AyXWKmblaJGn0D5I6i2Mih48XeKrS9cUPqDKvhEGuyP806s3Op+//ZfUh++2TcJar3LS5PYu187mtIVhBCZdSIQMyCXtAlVI5oNvYs+Ur/DoACYgwjKAEUZ4ii0I7UtWzTCP9tNYjyvqtQMHPODPI5a9lD/tvZZ4kvwOpf7n6SsMV7Zrj5ysxAyRIHdaSLqeIlh31k0MWRye7JnWsttZYd1Pq3PvlBb2M88EsFEU9/8ui0ZEZYC1Tz+1K452SK78yCV2NHebwcVomTacru32V551EBF/wNnICKksLO/Eqmm0NcHENZcRDA/ZjD2d0zeMhXhi/gwbeR59Hfx2auWm1T5uxVtbSrUkFN5n5Jtf4LkMjx6cKTmo3p1ea/D0kASCprwe8ak7s9cOk68Xd1Z5rjszFjw4vi46XF5JdEmb3NhCzS1Al4FZcpE6OyMgPAS8DKvKtbKEoMJi1M7b+FdnZjbAWEn0xWNLUSi7B9sL1eNxfgwT/NkqU4AUSLyD28o+A6XfYpbZyRTzMKNj/4KQ1h+XQXInqpoJCQQjyWiAZkDlhgMm9sdM07DcCDC9WyCHe9S0bQZexfGBzjwVNN1XRQiiEbxCBxqDmQuc1dCcInABNeCRcxhSOsuiQNjvty1E1bMpYJuRaLRd7JJ/6W3k8Zv+8kDmq2Yf8WXWKMIZyV4J73AuAU0vIAU6nsBZRDHKD+UTqYUOA4lv1tcde2yo3O9RbjS1MiPEllpb2VelpYhSzv0kgS9ml9QRYPXYOupH46J7so212GG2B+JbvhhKUOja9fe2+HC/NfqoPD2feml1OklB4QKXpXyYRHlVX0hbCJFarcvSlc9raWc9GY4/oToYiJ0uwUA4qgloX9DAFit7bzx/aqo6IcDVeAsIcx6gOWWXFVjVSr2IdFaoW8eqS9DuuMThgNhqcKoPmbTTPSdV4Qrbf74Mth/qZQvqVTTaMwcgXxrkObCMckOSgb2E6YKg86NZhtQ7XrLC2dyr32ez5OH4pHOZqzpH0yYsg8br16bUE13/GHpL2aRD1UKvCoD3RQpDQqsmyUi4GTJFVrDD6dhW1vStNZigANFDqzeRUwYdVLhzn4VKE+9GV/Hwga7lslnQkHpqx8Vr0iqrtJ08roy2V2+ubBvZSbcAnS2yk5hs8Emmbo0+r5eII7ThVKUtug0p8mrsY6orVNGTSTqakZRSL8tAz3Elf3V6w9tQq3eemBLfPAXtWtSg4/mj6K70F2NzGMGQcbbwz23kPv/G+dcZvTypoXzi6rJuMvoKcWBrZTJMv4/tlaWz580a4YUVwmTSzOXuSK0lQJrHv+W54D0CbiIBvMTX2CaiA9zS7qsJDoQ4BVkUJjEHoMikNMPRIZE34vJ7F4AoEbtUkP8kSVfSEoHrRHT8iDeIeqwa7+B93Jr2h0f5lT9Eeutzq4BIiQqPoXxkBj+etejiCh+ChiQJdG3S8dltIBLGLPWEtka9zfONNFW+kzFHWd57TcC8E+WnEgFcLOdKtHIVFnG5lO5wMlq2OCBOxuaaooeGcktBZURSRVr7FYp8JaZo1CP1szkXB/AkWKac/PGPdszP8jVs8vgJMZki3j0ruFlgbVNqhR8E7jH4GTsrdYfzWrDLzT6LmBxavz8KPN1qafJxqLS3C6722QDds3UX5n+Sb29WWoR6d7jldIASCEieBbeF9ShLt+JtR+YtPGvqDgmRVUXw6Wdh5CULuG9h3Dyvo7Sw6tKmxtPml5KA2hNVkf22Xrw3PscnrCfOIXK3fFyqLN1+1lsPiUIOdKXY/1s3dW7Vm6wsY+EoM5OiYO2hX2ozf1FICUrHNxMsw5T82ouGp5ax0wI4xpkuOK78/qHZZ1FGpPNUpRftZgZ+5To/Y9882MFHY+0eem10smntW55azQAXLvsu97u2v4pOvJMAWC3UStkTmXgTOluD1XEXz7nyt80pvri41RiAnPjkZtDoHN0ZW4bhizrLLndg5WEEbXdnCFLy5dMR7jOlU4aFN8Qf9aiPQSJpJTwZwtFzbqlSq6wA6tTStFSiICXR0nmqYZH89rtTMyCyQ35gm3SANbZaegP6xa9Sj7BDNMbWLO6z89MbLtix9ldcbwN/KmwwXK0SkYyZdDGSOy/x3vxyo/wfoJfEeqtt+iDtodkDevxkLA+dK6bWYwP7ovzoWiZHOfpmxDexX2/6csxZK+3rLoiR0ovXp9IeWS7a6tnpUH2b0NPv4GLFKMR2JNrzrj/KCFzNSXPH/FKDcuenkQUMBOXwGaWCRc4AoFq3yS4Ixc/F5CYh+/5vT6Wieb7ijF2mSOb+7pBBxrYKBYRE/rxp/Sjr1fwaA3PMMlLHonrW9+DNcwkDQA2T4yDPbMrYG5wSPDQ0oLW04vvnv+C5/UVIFYPseawoPI2IUg+0R+5A3AH06FKhVeiMrytRx55ZcwrP9DM7kv3m/rJXayK2AGRBpFHgx8qwddrWMGrf+mnhUGOghxo4+6LT/hculXKPQp0O6G8psJ9OpPChnA5RiqSmq1Iwm2tdTIJWnt2410OpkNGm3BFrSABxkGaFTNgyZ6HPoGnXutr6iB6o90NS6U17DSkrlUOLN/YZcuSSlxpPIq83wWlbSwoew4T4HFTU3NNiziikiD/Bw3kS8RjnLTAeVbzrB17Zbmf4Bv6F4iYsKSzag27WUhaJpxC513+92WLKA4gO1Wz6Clx3ULLZIaZz2Iep+Wvf0dR/xpbQmYr4+r+W1vx/uyPoo+ViVJc/Jm7iDFqXpWoQlVd3RpmZ+gdD7yLIrpVLeaUu/fK96DbYGL61ewbvXqmQquEP0RHxfzNb/sKTnMCJWssm/OZv1WqTyufmwqagXj1hH7vxSLAHtcTtktTyNl/t9aFHhfS7+TD95dJDyYFG13dNLfVikS8oIHHNUzkbKaMgY4/OxN/AOsOH5k62k2lIKFgcbv+41WchtZmPq6sXk1E3RPMfRWbPQhXC928D2KmjIwhu4D85e51kpcAZH+Ygp/WM8x+uNNP0UGNLJQxpsxN89JkwQELfhb0JtJEziW1a2QotQeggDojKoFnCrwHXnMCqlXZfuxDn3st6B+NRz2QYBz5zJKyhaNKagm5rU3bxSkGm6Xcl7dKyGESIf9lpRzWiJTL4IBeM/h30IJWqfZOGxZuu9lZzEtNytc6kyEJ2QL/NfxZzOf+1Q9q7LUnI5GeESaKNWfsFIT8SJKSPUTDnDjIIsy0DBbIibnjvkENcC1XLQF37NqMziBUF8YyL/X6SGt1IDKSotKgJjUKdnFImD7g8wITnF4GJ9bi/WJP4corGuuNbdSur953crRVe3zI/KP3IIxL9HBdGw/jWjJ6B4DuoN71jLcLOxnoB+4fZHyrXh4S/H9Wcdaxetst/42VT/UFmJcpDNNx43PIHfd23Jtp7NMSajD1nARhVcrYK5xn+96OBQcfibufBVU5M6iiGes+15FMZtIQvsymF/tAHeIVcPGnMoSKWtbxYXgsP3p86K4j/HX7D6oYYzkYRYy2s+JkqfT3yWiWmEI0xp1OOavmkZW3E4vPxiee7wCbfqj4e/YzEkuAUM17IBJSR0s2U3bIqWKChYnxlxi8PhMRDDA0k04qIFXjV/06tUdTHgEUhB+XRx533MTAtzws4sHalulU6jiGOuwdtZZ3uDHCmwaKdXIrWR9ZQWJ6ANiOCYx7m7B/hZOTeom9dRPfi9OeNW3YB7ymYY+XjvvnNBlKen04OLknONvlgqSJoLaVT+8UDE5x3gqXAvPVevNsATe9fDQebjmgHghTQubIVAfbKUSrtnSu8Aqba9rfs+yfeRUoDbRl9riIMhVq3tUjUB4YDREWXLc9lQti7sSxOrYcdoZ4DMyyp2W7buPd4Nt7dWFX0IQNICctrVd+YSy6NEERA+IbMiDoQHNOKooUQrv3frrfWZDyX5zzf2Kf8nwatjMceo65oZHdBNuQbi7N41QBQopRPMH9rfJevIUt9R2JuJnbKRYJcp4ChSv9/TNR1P4p2R8fuYk9utF8cdlu+AX3j8dU+2XB1IATWu01mXqRYc/SHnS81JrUHPffAzkfi2JWcTzCY5ldy5+yIn+cCKszLyHZCx2APeQfSM9Dw8rWB06BBLuP77OfFzWZABGIjxxPCyn2r2eQJjoIPJNvZtlgKfEpJ8Laiajtf6OQR4SZ9T0ePOiJCtYZiXSgPfnzR3AuJti0FSWigxejMri7pLiZnyS1Dubi9PjPZEWn+x4PZjsFoPO0ghmWPZECw8O+0NpQ75JO/0kL63kXYW5BYMHsQCIgDHOrWvR5/hmy3d5Lc1BM1h8GVv+4RrK++39egtzSFzN8IByXZRN4kU7r2/Xq99/Q7iCA51Vd4wO+zfYal+XxBst1eSMO4q9Ho8baKjgCmuhkG358+3+G1VJrbt/fzpDCjJ5KhLppM3CSkNNjbtF3EqE6/+ThzIYH4lb8kJvfsilClnijH3O0kcZ9Ipbztyk82T1DsvFXcwV5lubojFreW8YtBhqSowqT+MtzFaZiYrcTWmTEU7pLZf4KptKwJajV6jzmX1DPcg4qYKM+rIFGIzFQLgdmZB++0trTWe5i45w36WZteGCO4xa3SdU8C5erI0Va6WNcRppGhbCdn/YT8EJkdiOz8aS3bph1ouZZD/4dXlG/uuICDWbMaAbFf3DZT3dZf0jeHpycJ/XfbRUyq8cSXq1bNTI95NTiIalpzwM1pqn/8APs5I7C6I3BkOMF0jD8SQwSgv0Zfr5er8ZfwLvAHf9dBwGin+fBfEqE0X3CpEh5GIizerLGkZiNuTf8km49LPOloxSKvN0uaMPd2eKJ0j4ZF+LePbaogd2TqLJpRm+eWXEjjZnIPET49OtTA2IB8NCoyp4/TCDyIOKfdSi5WMtDOPlr1QVVqJjKgMlLg/qm4ZQg5dYX1MdbO6wXJaO154caBxV2zaltghLiSCEwgDllEM5fuZGO11FwPbcT27t7s4HdHRbLd1jpR4OIVYYZl0dZ+YkEAEfm16x1tRjJYUg3ZBF5o2/V2Pj7fmxgq5JQQYEDy/M0BYVD1vnmh5CgvueuNcxyUYTA24cbR7CSTaX9DJ9AN1+5P8CPHP0F3w5T1xTzQH/q78lkB6efgsPvMkmOUP158jXt3bVo5rgFtoxvUt7vHajfQA9ZgO33cVMQRGv+4nLs+JdJDBBHkQn4+i8Ub3gM6Zt+ANTxkR6dVJKy99OpoX1CME7eM981acWNPP+T4n2uyifoLZYzheaSOc0dH2+SQrxp1o+lKJULOaWa6aajFVTz48ztdBD1A0I4ljMzpI4J2MuWKN0tF8/HAoPbOO1n4RE2QOkhn27ivUQjZBKT9d71hZRNfC3OU0BpzuW0g+8ULfsVdsOjvWSqx4dyw5JEF5UF/kq9Dp7e8orbGl0VhgWN0NfDGfP0jpwkPlY+hkhJFDqgdFPpupMM/zq+GXAN7x2uJT37vcoL5daFMEA88hdelC5VQ+z9GjNDa5A3OalGMRDx1Dh90xDEnlZlBGljIg5W+BJoaJYIICm1JgDbpdVhnitpEerj7gm3RJ/ByC2MBgc6Qkq2zAzOAaR/GhyMxw7ez9QxzQsDDO2XRce00IrvsvZ8+TZJG7UDz/8cB1xWwQA2NBGT46uxV4oMTNuzdSC9PfGFpRPPH2IWBE8/s+I7TxpuuhfZuz2iwsjnVgkW08UTI2nxHbX5ilDvMJCkBPEBexXjewPgaz9G+6hcsqigIdo7xtan/8/tD7mRY7S6NOzGNz5tUP++nsAJUIHZE1k4c8gQ38NwCgHEvBs1yFhWJAbY49gCqFP7yeM5xLs+ZQga/OzCbVgTRd0m5DsW/JyQqsRfT8cF47FuE3k2lzG0baoIaUHqzm/+9Kgy/ULlyHKyiSafyaZZNFH0jDY0wKEq4tMtunjbzwd0TLIHXlTYJKyTvOwShBK9sme0pdXMXOf1L9PqKlRxnnsP0evcaoJkuXbt/bkkxbaoBuwhLJwv+vDUMqQZcrlK7N1shddhjAhIMFhFcRxm3k3KU5Oq/g0SAMQ2qwvLUXNEd4/aW2+PSSeEtR+kktDDhfzwuugSUFunOleEZ5RGhcGUwFZ5cv+6JELCJZQFAh8ffGBAcraUv2lXEkah1sB5DVDFqET116qm2HF3+7Ag14vvZ3eIM217nOgo+hEXo9qlubDihHtXNc2n3cGopz/ggjUIIySfjTKmRWCIRpi/MzMXiyvCrYrmqHy7w/NOO0faecGfKaMSm76E9L/xAjZW62KUgxpivR5QaKvJz0e796Wr9cyWlRXZRU888HJwM0oKnc811EMVldMF0QlOeqeVUm9xhJ5o96HrkhAtUKriDO3ucm7F1nyoYF5/MtGhcl3O6zOkKlCrskGdKBDIQQvqjA2uqJvrx8M5K8PQN9IA3Z7rLAZxtMBUD309ZVk69yIj7AQAwoZ6FJuf3af6QmYYRqHEA4VSPJ7hL/J22J2oZ/Tl9yA4P+c/ZSy4fSl3QyJgeHJIF2N4y7i7JMfrcypI3XGpSG+h0T5pr/+RO+If4efF+1T7OyMpWbz2aeMMIEdXDHNw72I7a8AWpQ7lCY1b5wFxQhOXKJmRSs6yFexxz6i3oYIoJufqUeOtrCCk/6pArPKnZsEKrMx32HavTKgCW+Ec+Sz9PA8QhmBU4dKFDRBIUgCwVOUYs2seKfBWx+HIzdW99iTscV5yS59aNnFdA0jrKCO4FmgxKldpKUpx62Sw3XPFwUBJhUxh/Stp9XfarHQAuMtl4Zj9M5fUgkeJYbut0g2TaLEJC1VTv9ibZwKVu0dYfK7L0tkKOd2eTLWJhwxRwDth0wZoSLtA7D7W6MFh2KbTrnLs++bk2+q7HgiZ7oizwNMhT5avwABKq3EofinYO9QHzEdFmXgBWBUaW5mlLxAMlqxi20yeEMw1qo3t60BtYdwm/Nlf03Z8hxO2PECd28Y8AOE+H11nIVKpol09TiYh5HzxmSI/EPiWAdpRFB7Bp4tZCASjcct+3vPy/vASP75JDPPI7E2Z/z1OFYZiN1BMOQcqDczyyNxPQEDUS7GebAGsGp+XgR5RbOsO23R36Oj3m8uL729j2GX4jbZr1HGaOBkycUHnRI+2W+f78JMwsLsuIycbU+3nlkAsbquDj+qAgacHWbdPIoCv3BRbulSOczc//tgH7ATzTYmCtUjlz2X2zJNUfQe6S74S6XC9y9aNVFOlBqp2+28A8XychFRJ6lsWfybDJCRFFXohN31AvFoSH5Mov51MubaloKogQ+HVgw7AWF0VDs+ZB7huOW4M4yby+s2iAC8wbOXsN0vw1bRg2C1eRzqxS5EOM97tOROWblIsXA5uoBl0m2d+93DKpsE9AndkqpcQviZssJCsc4v9eV7SIAl81hm393rP4fF1AuLZD8x15xePBbcBPSKy+23z/FCZdOjTpUdWfk92PPurXNj9k0Vsv6p9DdupLSsBLCK+U8a2/27z0983yNVTakD+/gEtkC8g79CHa0NLLfdrUL4DFlMeDrt8HZKEdwC6uCbNwmxraOSYYTFSvhFpgMzpsgnLFEiKdwlGgMZCerFpvNI8FdwQLM7M4r1ulnulIWlD4A/Uu2j0eJz2CNDXEV80XJDYoktuFXsm5pNoDg2gB1pa0pIF7Dwe2RKwEqMSrHTuouYkEk8xqgtywDUlYTT2qoMzrwLj+0tUobXIKf6MXvRoKmh93Z7T6ISwS+yBTpCAGK7POeKdd7LUAfVED4P2DYkMUbKPkli2swHqnDvCrnBWrXA9/L+PECPK+7oLkbs/woelBE4N2l78oJfPNOxI2acQmZQajOI1+yJGWZImSh/+bBp80MZaZnsg57SwTe/btBaU0urWGiizD6tBELggJw1UewvR4v1k+5jXXVkdnax79NGX55afs5S2zXpKUtK5mxm3Cs9sCNXARCJg+HKu1xHRyRG1qhVfLkZ899zT9Ua3m+PP8l+1KdQB36mr7/HDVBiCb6jZh5Ie4rB51yWUPtWrI7q1z8XNAazgV/aq3yFco8t81wNgetBRt6IWEyaHwcijShNMYCowUTYKcfJUO3hID4gumhfZ/qBQMgQ4C3oRKjfSc0SeueRt4yvB4KTkxHNGfc98Z7pIsIY5PmWslY/AToyHbycAJ/JwABq6MWDI6tCbBykyGFr+8H3Tdfpu4rsmbecnjvzsD4/csUJm9TNDDGXutznxzTkoxtRnG0t5eV2K044eKOUqeljluUbyoC/PtTa51wkraP7bZFyzRkJhjJh2J8ly58Zmzz37gM+sO5QLpsPHNjnHvtVZXXHFX6AJiS47x7V1smw/k+YIj22CYqmji9WTsAteOwafxQxqLSss0AlLnqeGt9j1IkOLiW12e9HCMgG1FhT03ANEhRci4O7M/Fv26TGoUtpF3US3gDSKdoDpoSRJaiTDHarT2rCdXLSiZinVdUD+IdNoaeX1vHsDlnii9rr7hD9ZOiv3HyVXNnZaB2eFITGat5Kui3kAbzAOxC0co+/r5YaUjThATFpxpz4QtS9Xzo778hoNrvK1lIPcjEP3GWHJj8Gj5t6G9e6fZ06nYkkjX39KoyAV3OeDKN2lcXPuUUdjpWmtGJapsCVV6MzOSvM4qqlcUgoHjRv/t2FU7/5gb7ppCZAv2gnPiWCI2Nrq64AMIDXN/5pgbEl2w2o1ebZyTepW6Mf6xwNaGJUcT+tR2PluHNiA4t4gSkaKuoixfV6ZX72I92xpk5sPdmnMQKP3qFgR2poW9yU8rwBrxKwnWeZh0vBJBItAsXoKf3Nuc776Eil4HdFzyUmt2kVud27qY681jAFZvPwewqceUDpNrKCzc61hgD24jvBf8FiRQvwdfCScXGTIHQPcOZ78fGNxJmiDkCWtPWVMWfFNl6FxTIV1MOi7DI7VRaBQRMS+5rV3IEcrBlbSaLZUbQuIp4INKBjioFPABm4RA8Qg6gRhomjrHBUZxReQbUq9/aHDsJ+cLy4W1qrcGTIHnOF4p/7D5PJiR83ATwl9byfYKoirNuHzAcf6Zo63HVPQs8mxXrsswElciRh/z0aLxky4I6zkm0AWt1FN1YOA4Q1nvNG0/w8cEO4OySfWnCLhYw2WrDGS9nluesdQK5hIi4hIf2O6UnQiC46CkqKsEBKbD1Dxx5Ffxl9Lx6gjqvwp115oXukwVTD1o2B5lzUd/3WaEaFOCYCYp9tkCL0LmPskU7U9SJidZ97UrV2RvPh+xO8+IPuGpzri40uxPpunkfq4yx2CyS8xNqvxY7pbZuRHM1gkelr/D/gSVEZuFqpKIUf06cjWU9aFyYX4zBk7IJMulZpoRYVcGttQjt3iLTWbjFqfCT1K8D3xNMs8z63cfQyDC1ZAXeMBLbgFhk8n+6As03PPjj6yc+HsOfP/sjPRKbjJCI5A4rZiX1hnCrEOWKNNp6/PzeIqP2hvJj2RxSwYaDE3Ud2AY2pVtcg4SeABaBXr47NWkKdj6Xa1r5d4LixaFsr6TAb3eBR/rLodrI+k4Xl+s1HHigQd3VH+rWj2YSCsihWElNr3vlVOT2WkT7XWJgKw99jw7luzb3Z1qIqBOLzTnCxPgvpwg7FF+9QSx7Lu3LFk6fNU5+IIxJHKAcCWGAjzq7HCkLcXaLkIrhgkRcgJDR04YWxYMpKGDAXIqVLOcDI9JaLm4gBPHMRSnc/ddfN4Z8d85MUDz2Ufx4Ut/YuS+q7dJvSGVQ35wRZX+7wjjTf0QsiQuGXma+8sR4QDJZxdVuz189pak5okEs7ussu332aaZ8z55aDZlp4u7GrojHJyW7qAo2oEF15HGVaYeiCzfYK9ZFXEOmOEumahoxrJQMovCZhG7cz6tMLbp6ldXi/Y1NwYlqRm/T4YftPqFdBawbnKGpMm1sMztzbgBppaF/lUjcBaGy4d9Ywikkz+UUuGOYwkv51iz/ZsWOQ4DBjW7DSUzeJri/CgXnykj5LovNlNUeoNgRnqdJpjL9rMrAJQIklW/Q2wqYzoFVZ7DEErCW1R18lNFbmvP1F7/y32+yJgDVzqthIaZxOAyTi8m2InU1j0E70Gc6GG2TPLGa/uG/ctcCGpBqRO1lLvsiW76VIw8KkZc8DRmQ+MLxO/wUz7LXT9Jn2aNbcySZeUc/bostsQKOVGIv28eipMryQySrzRzUtm2Ne6xRl3fhuN/R0QwYXXDHc/kZlEDjeiIYGjYBFsx9O+4wgW85Bqym93HWiwuV/jUUJAp1aO1TBKQwWxq8VXIK/b66+Rs/o6DRoFjtYctT6iv0CZDsv35nQxHk3vKpHzzYhFiKmD7zhE5cHGObOPdCo3buUpCru4uWDE8fcEZwZ49vz7FlXpvTSWPn/cOLMGeRZvSpAoUeSdnrLSXp+fpfkjm1JZlrvxEBWT5l41mvIuM9HK71WRXr26fXfM1orOryXDcW1Jyuk9cpjLrVEMbNiBL/VctBddf0yidwzjWigmG9WemWASwcoC13VMvZdTs5nGYsKXdanDucyhNSy7QyVSpiKS+01h/L/BxHYKdopqDTGtzjIoFnX5WUtOCdmFY2/Zw8eu2D2RcUt1MLnj5iXyRv8bqdGg8ZYl1sbAy2MmPkFYRaOmlX9jh/Fk2PSFzbSNYJX4Pn4P3UpwToMHw6cEQHe5pS0/v+lVu+Z1SvTizuBtt4NirRyXJiS++mCGYFagEh0qSi32Jov0g8fYcIs2wMlRCV46s+YEgamLaopo2XfVNvEhc2rJXwsQx7RoAkL0yiNWx6r5Zg9OyJkZQICnvYTubAZzmcJdYnSXnCYZ7MIqpbQyDOzNXzFf9OTlMSQ+spsqKG0gd6g0C8hGChL3wsA4gAlOLLKmjZf4N0JVuU+xNSx6z3OyKk96/kHn+GZqyJcJYWaK+epCOwREvI8JhvOATuxz2tCj4OGI3YiuQEtCsU79LWaK8yiM84gPy89j9hg6x7sg/Z36ec5i0YqcOOIf6m0t2lEZpegLPEDBYK3ENaEi9u+/8nBp6BJBey9ZY4xYfl2Qftg4XmBwY2FdHb1qoJ59lS6lAfpQveCMrCPWvLTL9wj9wMMeFhuKzpUiyW8Qm/X/41w+jPvve5RLzikBZA/+Ff7IOycalOW0d7z8DZnk8QEeuU/o0IvapuzrpfO2gpFHDlXztJQimkpULLWCGl/Q8hvD/IVqmopi1vCj3A1Z5LjgPm6Nij+C8jG2tTRBMz05UXQr6fbkZw2HFR8hXPg8+fliOaUV0emsyukHYCGpRwfVXr4qnmqBdGyBAZOJcUgLiGx+m/QFkFqQQe4Ebbz+V3Q3ZxezLjGjbW/wzvlrpAsI2TX7ZuH/3hmiWLegPcCbsgFDjgzxRZNj2ftjM3DkYEDMFWXqJZ+PCtF7c+54Hj+gA/Ukim3T4fnCztry+qTQ2C3FvZcD3tkkZOv7NiURcRDrNICmF5rC5Xu4iQfUYPLPY0jg9qDiDQ46eckF3shCwTiZDNtt30/dmqjV8/OpD3uqb8EntmTlpX1cLl3+X3/Xs5Ndwd/vWERJMuqhU5ftwe0U0c4ek9Erhtf+IAP9TYU7wjnARLwNuhAxrhuZGXwn9AtmdvNFT8wtSMS9Vbqy+FrSw0yPI1mAVWX4eMjTiRV53Sn+q5ILmhcvo8jx9xgjsXlicLLmBfiEe4Ps73uuUZ3/fZT4r9oUoTRdGX1d9G7MVvd0hjGiyNZgbhT7dz61k+pw4pHFvc3l90ZLOO+gmRL3zO5DMcJbWFLHbuUAoEiwYlxHqI03ZJFgdjRu0oTD3GEzLdSk/Rv0o63QlQ3uUmyrBiAbgIcAPjrxRB7GLxSUNMcCCClRwMFt3NcNA7BpjLn0AvV5x2eAHL/cVG5P5vbllgz3sCYgL0tsU7W/Mk4frPw5ZMJVNECftam3tqYotyzMoCSkLZcwT7VDDUBbn0Vw2XNWVcyy7aNxD1g0KUcAxCFWLEO/mtvRzOqPxoip61g1k1+eyZuE53tnT/iwflPO+uP2trtWgXOv5T3iaaAmg6wc3f4nFWl9p2H+0eUnfIAuwFF+kWD7YP8wY0oqaT/l/k0xe+rCcmsTyI77proDeeHP594mSnhL+pOtKQa0bcU7l3fm3ZjNWy1jIwMvJQUybFGcRSOSseYFG2CDGMYHRGgxZlRmqnMBF4w7LTPKdI348ZfE3pAFsSq2Mr9ezhQ6XqK8X4Cl7Ut/4+aUw4RXfjOHtGIO11BapgikCrO9A7oiYpJt4fFRLaP52LL7VQhQlqKMbX/2wKZd/syzeX06oM3ROYR4okLxwebUV74HkS1v58n+bhsgNsVS5bD8s8bBjLucsRc9lpHxdalq4Hs/PjezR693YEUV7aZTij4+qZQ4V1FFHKJDr47daxSzhlcaN/Vf2E2AXQNkoiZrrPv0tvLi+p7VqrJaB6chl4eFVuHs9j/VbT9U4wKt9WeQ6OvnERKi2t29ZuLPHtYc8el945eVGWW7eD9bxMRIbWMI7d9luV3KKnOlZTGFJQDA6CHMfLPBeP+uHwwetgS1he/NS3Zxw1NMKz7Z7AhYiiLaK2qNoLVMe7Ce49w9QtOHRJBUm/AsQCAsmza4P5DSOoOM6QexIoVCglkIdR3LhrfrVVbdS6nAGUfk6xnhv25vVN9PGXw7eCyzm8y8Z5QzSknUaOwoOqrOSxEHIAyPagUO7oDxjUXse3BqSN3NjM22cOz6IhSj6+ePjdLbqg5zA3S+lKP13oG0jsn0uO7L7qmfjBp8jT3NX/lp2ShW27uR2jCWfZigncvHNxMgN0RtTfQxqFqxYuWPvfg+ulLLHGCWeruWAV9sOiG57VZBSyaWkC06VDk4ETPPnGq5nJstOqQI+jO6ltXgcYtHFnv6wGajoGMB7U58N0kxq2bAG3M0KNmW4lrw8vlwr09BJZ5o1vGFsx/G/beIbioUdv1bPsBg8fNBDXsHj7OH57jSGCsc9K/Bb6HVSNBcYcunzNU84iw84ByGx/bKucXqhUqL7gFw/EGwIL32G28w3cg80cNZ4nvNd+BWnoDSZ75x+UfYsRJALw7iALUTDX1ZAQ29yGE135ySQBqP/OkcaZ6pki5seCz0F6mQNU6J5800T1x9Cr3vGgWRRKUyGRoymK6ynobrJKFUIrq0148LwGC7LUwwE1gCuLJohbsayjExvMLc60h3Fu15IlpocZ7HSTgjDlphIEeS6A+u2L26T9bH0fCnGIn5cx1ajpYcmL+hq3XJd5feLVOY4Wr5I/9VIWXm0aAZdbrx9oOVAB0SLloIkKhLP+8YJpHZz72RhvTcIKHgdjiyBBNrfWqwHlfivjTBfMWV2sAJfNmJmumNa7n4zWrxtgO+a//5jAlKH1JKtTAdciJyS2mSMk/IVsvmkqwVkExrd2HArfdoSQlv7TaXHiExBd28vNFj46BmLQhCQvUzi9eYiuYTiomGT1DimYWsnMaBFG0+cjZK1WjhaoLtjQImwe6ep1RRgI5bKXFuxMkwXzdzFU8ERcuWUhtpHVz0KDi8W0EoMEdZKIPlB0IL+RtLUoOFnW/ie/GYhXLZWs8OmEJXALoOg6jgeFQpmIIx1LL8zybF/HoWftN6Ivso7VSZbMuRK+dniSVikDsC5dx6L6aKmqY2ViKgEgtRaHrqrRp0PSn0KezoIsHGWBJBX1T+DUvGtd3/VxSOqY1RleQe1q958Ovd+LxmvmfBEfUoj768+fNbYoMPnQg4LqAvFmYJuQ47rgdZMyFNP1mU9EY3JWnp7muDJvFVSUupVrVL3BbVN+5ckL7iEHPtmddb9xKg+Cuo7T0MfPDEUiNZ/sudE3vLwCpUTchoDdR0u5Hyr9YSM9oThIyauxC1oVbH8bS1z+Tb0ooWlMxjHTIiTBHpANu4LxK2I75RFfUEOGJ7pVZt20SQDZRE1d0mCqrXKeTdWe3WV+LZBj5WlxMdjYUjUcl7F52VqgXTgbpnA01pdIV/RjVO3w60yyggh2YWjKep9pDHZpk2SqjzDc8fm51W2da7G8jBV3ZkhUHEmZuka383i+dlKtcJ7xrB9NX8uT9+JGwrJ3jnamJbjYaIFb0NG51OEG/gNedzPhsDVkUCd8xII1IfZrQnqyHgYeT0NadoEaGYKSVtdKSzWtIbThy9kB7VkrUnhKXb3/nMsvQuelDTYjwOCkzXgdgep6+DXRwDbTihmqBQGU8GLYAYXX7sXQtWmYboLrpS/jGoQH9/JvQXvbAR3Hkj5NQJvrbMIvtd0q7d0XInilgRWY3TNRZ1df8Jq4TGZV12QJNTssjZ/m3vu7YsWot7G2G+a38IUkf6EGOH8SZpET4V9lh+GCqHC/IFBNAUw3011CZhD75eDE9dFbZj1xLl61deMZ/ogd+9uQxJ5SLl2i52IRgNNwRhl7rKcbIqxg/fs8H22uf0TBJ0wwX7cmEI3n2AV6b4N2qatph9lVaf1mtXF/XZF/cun5VUyp0QWkHVvW+NltItOLLwQihxmwCWNAKkfIVYeWT8b93vaBTwGoySfd2EfZi9Q/d/0EmUPvH7m9S7EB+C6tpbwzofvjFh/70e+nkguIssh3PDD6s/7gvyumTp9d+mXkVgJAP57GyFE6oWRqGSdXEHWE/d8n/iC63q9QdiVLhVxeSOJFsBQPyFJVSxo78CZVcUhsw4d0yA3VP0JCebGjbBiXlLZBdLOLynca1CPciiUJANDpfACirEongNr4OJYMbLh3FCiZ/yqHihoveoB669eHn2WDtZlqwvv1XPluNgKpESbFsLjotBqP/A8dyCCYb3wjYTQhTFpURkbMe6gf0s0+nAFnjoqY5Q9DPQ1T2zkWMMYhbk1dMtSAqg0lUyPCwKcC1xwkJvjLRWUpeBeSBCGxWbVF93paDbPsDIYXSqNSlLJYfIqnEq61mdOOo18nCXVpUqmNQa2f+3yzGeDHf6Qb9joxCqFaD3jTPY+V6t8ZfCecuQ3JMtm+Jh8ydgYb3OZXbBU3zxFBDDF8jRLAg5/01eCjZj/lohmLi92ZaLmqjLDgQOcnErRWBmoBXYV60ijevR66acD/CAvHI4JgUZDxQfundUkJzImjQHoXC3e8JaZoJHzbKsh3uggXX5tEqrk5v0Jo10XLhzIjHOFIxos6hsXvlYD920O2BI7GN1WIsTZ6n3hWXjQf6P5eGOs1LhI0VfDOYMhw0pEFbt2IscQFtpeyVkBgVaMiWbNWVrVW2Zl1uJVx12oqJZMNHnchk35r5rY99csGnoJk2CPcuEOA01h9ynUvNQDL7idsOhGHCXisvvSMkw3ml05gZe1IMdv3ip8qGX3Bpt6V6xaXBgtYIzLlq8nt7uOF+vfYA/alhG3ZGuu3K6MHRvpcKLrbKzYQOB+ZkdPY/RGSVkgqi0zuz7nuV5XsFkSX9ZgSsY33+gGMnNLQl6Gm/CUXh7oBjG1WjBuPtoNcHEBjRg1cZSrZFzNj/uqXYQabJjE6wi+BPfmCyiCk/l+CGNjE3+Q8/W/7fKkrusb3kG0/RehuHtoqieaZL1iVYmRs1wkPhtkvGhoYUDhbm15Xl2OJe9Uj3+PBKjallnhp0CeeAy43a9xClYckysLh4vgqfifIbkE9/iQZjOI9ozU2UHzW8R/LDuYUJ+ldtVAfKq01Hrm3yA3gJaMUgUIS4+uA8+P0yVrRaweof5/jEM8UiCGPRRm/8WL5u5VFtuXxxiPNODE+jJaDrjp4iKF7Mq2D6y5DwYHVsiUDbc3HeiUgIIP/cqo9+uhj3c5l/uDE/2SiMeKGjUfdFQ7zFMitPtO5T0uUgut3fkzoE1pMXpWtClcvdwPVHqLxAKIRTB9XrNRfrLrhKFobdI8g4LH8Lf3zZ2iI4SMYMDq23sOSrnnLM6657iXq6X1ZSsD9VhK6NGYyq5u2OmQu5/QysCzi8cfS6x1kKE0E1pQAV+qFwfht0OJu92G2YfD41wzUNNnvE+AbvZUTXAwpp8XJjLCo5rlfeDDPQzULw9/HhkSTDaSI4JdAhnt0pKgyQwUJDEUP3YA4qG+EvBpP273i3yAK7QuVtx5TTA4tKiTFDqh0DwIKHe+o+3KrN9I+hit/2VsS2e0BCOqxBDBmvpMpTtrwG8MSo9unr5b4ioR7tHagsR5fcSFcWgvsJJdPQokooFqDxgLEE+I1E2BY3hpwIY2DhJafubZ3aXnhG2mrXvXsKkFfq7WWP5RmSe4zEdrdJaInc8IwTEhmWMZCI+2uGPumRQvwxqL/ja0D4Xvs77B/8Twn/ByCC47BT+RULlWFgPi5orb27v3uTSzE5/OjjRiU/UUCv2UdAGV0biH4DZztv4sfRyccNvzgf0wPpTuRXvWrPvS0pPC4/C8i42ROncsoMAvrOMjEkJ3TRmoOS/i2kvNFtvPyM+dmBLWhj7cFOypcnACZJjipYDv3jha9BMi2DIRdmOuFCedJ2+8aKc/OgGks5PfkAYKcCaU3fMNPZX/eIflDB/cy/zX0jcO8Ui6lRyVoKQ8QeDdEL9NLoUnXqPP8jJg+VE/nStdkOocvdeQivRs6VMhW4V2b/IoUgmEkCXsjIimAths8Yr+3r+yTBfmQdxFPj7Q0biVGfUxkDCRl3GT0+7kN/AfD11QWLcisPMNUTP444/hghzJs3ycsX6hWLwkaRF3o8GS/moppQE9XPQLjyDE4iLRKD+IoHuEvP+LDn8gj2vWP7DfLR0QKncgjergxiqmqq63LTRe6UCFUf3jSeMacvcITonqwrMn+NOjxgT+9gJqhqcYq40Pyq1uQY8CoO277uNeiZDKjzGlJQ/mWsSRpS74gZspAJ83gs6G0F/7pLNLo7cBHZYffXWGwEiwr2H1oKHabnTkiwyyaGxPfGiqXE9MF4F9i9YMAIcyd6YFVYX8Ste2Mi29I29lLtBOIhglNtD7E1DOc7fidNL0QU7bInWtmAZgve6pr16uH9qmnvwBKxe+oZWmYYMgSSUY5CnQwvPVSCHoDKU21aglI72qc47q29N7Orgx2ZMLmm1WHunx4gKf60eodSwgJUCdbIP9/1K2DwysivuaQ7P6CL21AGT+5OTbBhElhNBsQAcB6Y8y5iCKOPqwtybPvQMgUbBDQ4wF5gqL9rcf0m2bNHXYr3WXnP3lGf/8XzTWbkNjLFqLEpHAoPTZa9EBdn7H6OZLDOqLAlGYDYjxpv3QCGFiDcVILbNIYgr8uR0sB/fDWOK5mVnbxZUS5nt97bSFd6vnBw6bJFwyUMOeufGHWICH3ohSpdN7w+pk+yq6Llk6EcewB4XrOy9NVJa2kDx+lrzcqTrlY2gv1G/8sXbWE8RQ+BEfHBQ490JRcoP8MpO5dZYvekf8bBCNJbEKJqAmOrhm2iTBTi/1okbc5S0WPNaYYAenSIba5Sfxy3OEe42lO2R7U/IJl3NaZ8f/Mn+o5UNx23FRsa/xIAWIizP0GzKKjB0Dvx49b7jLzCxRSftubfLKgisbx6GG3YoUY7+NxIhDxPjLIYCsrj4vNvrpULhpmQdDZND88Oad8uL3q5lU4tbIhaxQ0dRQNxmy0IUKk+MMBxe1t99bwILkKZLqar+ucfe4gsH8e4YikUXn6aTg7tefcEmNEBI4IGfNfupwURCz4jgCCkZvr0I8hD0wJs4TPO0s2Vf3awbh7BkiO3FfqoHx8muYRlsd0S5gDyi74Oea2LAv1FA7473aJzDgg8u0VNF90ycS6sjLobGHdknQAI+GbP75WuUP7HncQt0isz2Fz4vnbAF5ow/DVx2mHl9X5CtxNFf/rh3T8OuTPz1j+vEw0jCKlx28kChnzdOg10ZqwiUznyaqBJ/X5Zv9XJSjsBopmlXfXVSwW2ucEMp5Sc/4pC8ob7GX54otwbFR0xayvNTIqf0/CkpfqxtnJfMmLGDiZtu8EQRNxmS+Yq96+c9h5TOVmGnWfPzLVWXiwkpDbq1SKkdIDLkReUUGm+F6mDCMF+aordKL87ot2hgnJnI5X7O8YEdl2sywASFIRzzOeqNcJbVUXarn28eeP1439Nfemfyn7Yuh8DoiE9zKYf4xHHVF9bbBpap8gOAzURPQn26bNgohH2+a9ixTAmQDXu6cgQBir+10N/5RD0EGFw6zKC0pMA7Cp03G+5ZOz46JZXtEV3IMhCfc+fAThdeshl3wYteU5F1pK3VeQql5HbPDyuRklxdr3y9RgG/G2Rwc8y6AQj2RXcn4jz5k4sjLR1MwkmlBtzQ/nvWHgKH/ZKCbl0b2/gwWR7WYA+U91cHr0qzpdz7iWlLv07RoXJY82EIYMgcJcW/I2KbkOEN7m6iWNX1jxwSDzoEBlZ1/s6r7XvEkB3ScDRHOKbJgnGtIvaVG5DV6ADpa7hsipiFSYTU2ThCm+me01dw2DPAQa6HxYdAMSnFJDNzznystDGlsBWuetT65V0AyResXS707F3X3NUP8VIOsFMOnOG1RNhH/b6jtCsT33fh3kerhf0NM7ZRMTiDcaZHRkiGREnB+S9nQprohHKVr6iL+J+KhcvUffqFKIQPdQZQ3shhNlivSuTpamI9uJqUoZtfygZvdqDloRjkFsp+NyvfDCYi7/47C8pK49PqrYLJhmnhq43rd3RMoxlOynYi2ngX2Ycb139FZEJu7AJ9XH9896Y1TLtzmQntyw37T9/URe5HVmnZMiwLRLpdOCg7vG39rL0upcvHeGb6ZQmbinTvoD5GbkNg3A/rOP4ooonxpUXJAdTJlGyKVmr4c8pQz8VvZy4Yk08C9mKLNngyWyqQI40UHEfFAqqH1u6vFxpvvHXnryGJbn0eDUjD1P7mJDlzvq+3mY82wNM5KAqk5Ed3YO/ba3ScP44ePm+yxzaFFLCBYQlVeCPIfKl5V9Es2QnLKMk7ZElXDiGpg62V3uhjykT+ctmZFRNdC1IPyqNFVtkdLEMgT9w9XlYnT6AkY7k9I8ldUAusRfV+0pK46K5APo+G80Xv9qzPd5P1Xf/UXBKiTbr9K+1pA2wLJLL83JiUiT0l2XOoaEWA7MkMEDEOHSSctfzNZ1yCLfOnMVBA/jX86VrGvMwYML1xzDy3/jfK68y0PDun49LddJpaVNM/157YWxGmF5aL57GRf7jKBFFJuWQTYGm5hUO22MiAWtzrrHrHujGR0cgQRnYD0bZqp0cjStiLuswJ4c8R+t8DBo/rK8GQUR4b3a4AA17sNC1WM/S0NDBKBKpW6aHCrZ+kvVkz7uifh3a9Wc67OZ5S//pm0Z5mHu65q34WSnRl51N6b/bpbu3+uoEdrzMk/vg1UV4rIW0ynhjXeQZ6yUPh7cWwcrCrQsGC6NMGQAd2eyTo2PBOIYXij5LwbD90j1b4HOZKFg0ZmLS1djiQTwJTa8VJ726zb6xAc+g+ZXgYSxaNQnQRKOeVbZlL58Yk53Naj41qV2nJYkY096sUkWbcIe9I/LB8/I6/Kn0Dj54Shr8Hshf0jsL3S4q/RDulomR8DYAGWSdqjRPS5pQgjyMPKDmkZ0LsEm+NxTZK18FqpnccBRjQDUtPccAZgNYlmlOJdm05VGTj0bgsCi3xP2kr0QwupBGXkXa86UW4k1UXqkwWhmGPArxDTINqqKtwvNudjUi2ZoiimQV/RzIv2d55Ua9WN4aLsB8GRdti4KUy/E9GTGG8L/UyaBWoVQrA7QP2vgd5wuRTparTku0lX7P0Rkm6l2SiaqucldpFPbifw4B3v+8RFFMye+brGdg4ibcVw06HCZtL6OT0oPV+niWqQwee379HLIDH2parshqsULH3TuoBqyBn5ukj/2ArcyCWY6s6m7nX9cDNzQhh2TlvqjUnUTOuwsCL7VWTBYLc6c6s1lvjCUkPDtbWudd8BtUJIXc1oPl/9kPudehjFUJxV8/d0O/gAtFjmulK82iPCLf59K6M+Cn1RgfD6AvCfHXlen2KPZH/qhoGGz+mn+yC8OezlplGXnb8BNzqqfQWDUoc5gYhSqYwEyHKN8WmNvBCG+DiF83e5u1eUQUPv5muqbR80T0R1u1Ae2pjZhGjyp43miNin2Ux1A9pnVhSQ1lZNXQ+cCQLhSOcJGB21IsLTV7+3bkqW3Ya5pMtNL9K4gH8dlTe8FDqq4IdVzoCNvEswr1iqxpJIGyekEkXIktym9w4RaFiTRVr62N48HhSi2/3z5Oaf6/nupiybMjYJQ5CiYBXieherwgsIknjTsXSzjoE7d4tnbsJj8yl/d6mEbZoLAhV2895BrtxmmZbQaS9k8h1PgdTjOGRbgJPnE8QaPKh5ZlCnqoGXoEACWAe88yZxVSO5oKv7argOLMFMevp0YeItVAt4IpIAI0byVy5KydnaGt5gToP5UHEVm/55iczXJz0+jnev5DAAvxDquVU57CmUjQSRmM6DJ4ZNZFP4ibit9la5z/iWSuRpxHt/dQV5k/nRBPqJ6f2qPSbhjdYJXdErwDyc2EsiG2JqG5YBhpTOHqVa5I7Yu9FztRoCm0Mf5iuk/BolqWwISsa95Jgs/LJKsIApvi0f4j1BLej45DV4TAKS2z4a3zN4a+Pacuf6YnnWL7VGCvVP5zKormFpRYtN67/TjA9eRWqFUozmNhoMuLrAQcWHK1x9qtmjmM6yQ0aLIxDVvAeyVvnX53LhthA/IB/RAPIABA4tKcfB8Kc0lSZJiDTi7/Mufv22xpOV7cFMR1tayBRc9JJMWjUQQQWOi37DTiWcGfcaP1chONFgpM6yxsNbL9fadQAuHdT7kgTbzhvJpNds2IF2pDLr9cS6uc5O6B/3Au4jabIbKF/pMz7HAcoFYxd0ndowdtS2Bo9z7uJ47pDpFMbaz6dDiue9bQSfftpPEL7fIl7kkhHQ+CgEZ3iDBOwDqdBjXfTRfxCd/yz4OX+g4wNntf6U20sT/dW/sWmtpk1YtvwOutUWrVIDFja03PfyNQeIBFImtFZBq6W8NrhuBdpPoFHriqCCO+Cv61MiAn+nOemvD3wtnQJigSM4j4CuucJ0w6FHHRNunI2cxlNDMLRgEfJm4TLxBengpH4zEsgGKa0xwM00n/iScRjbANr914vyd/CU5980EL5oesJR0PZX5IGq7WEOF356Y3XtfA/67lyuDCzFitAoLCmhmGwH6gXHEtqJ/RlBkod2+5w5ZUvDylBxOi01MQWQbdLUlxGwhgSvpC4xzW93GCIOnSrOx4KEy/Du3+7zf40XbipjjV8P3zvO6wCg2nMroR4p8ey2xzzQfUqYZ6rRtQKJpmlaI0jXfT58gRrL+R1B+qe+FaMtqBQ40yr59/NJ/Vfg6V+i8khYPf/d33Mp0uyVvidVVpFkhNgbR5EdBlhalV6pzgC6vb+8vxOa45jiSzkoaAhyINnOf09vUUkl+iHLPOH2IbTqXIo+5/2g/hYFKEKXFISlpmqBJUMKVGHzliuWvtggvk3RiiQithzmRe/1BRTH3D50L0mvw3uH0koutB5095Jue0abEZx5jAgE14FLgXJvUUr2hNwpZZDCFA/b7NoJMLyv6RjjQBX9s25iCqLaOwEJz1ZV9skgn1sA/6FnA0CeY1FeAAnHlkHXrW9gUZj00+NslHe4HvCFOC/lAXSdU86pXUF6t9ObAMUGW/0wUcoYdGPzQGslGQN/UVqzdizfqUKINHkJhbpwPwdoyeFBMpwr7BkuRv1d4H8G3A8C0Kvc+1KuzsAQBBWDEa+xJPWK8Qz31E8V/1BKg401H5z1bH/VvSLmMA/N+lUzw8iAj8TvXlSj8mNp+u5RmlWMvijN57S+m6iQQE3OLPyk5qac/u7sBYymFflkP+TSphf6VtiOXvQMTby+L6VJidMJT76JHVw7rMpK8BBP6XhsuFP4FkmVr0viqkRn1Hp3TdtgAngGLYkBGV49D+bvrpVfLAaB6YPQICO9+8oI5d/3kSNsAhrvQNpoKw+MLvlPpofVXTgdzYXAVXwJ7a+FyRmmOAyU0n6irF3r8YXMU9WeW5DX6um7fjEaJMH3CpbslTwtiaYOYOh58SK/xYoCWctouF1/q885GZs4XfhzlVc6Vt0r77U5g/58kfTnOoGsMjZ1U+NTRTivOKOzJQO8+U70IcS7ZWr4hTzLZ0xkUmm1vh9dXCDxfM4CXB9xgYcSud1wlJOdPMG7CfGlSExSBvT4YZIv/tL+7kE/BsP0N+gS3C7T8WS1wCpwMTngH8PvgWLGumctjOZIaoKbqd1QHEw2+MGAJ5dW0LCWp7g4kFZU6Ak1BHL+dxVKndKpm/1hb1iyoBlhl9+vrElvlaAMOxasyC8wTPeAtnvuUQGhESEEtcYwU6d0YocO9lLmLtD0WN2beCtxPD45tFE5nyHjfLoHAPyG+NuudiNYocd700h8/wXbcQ8HZNFLbtElrrofaweLcNUVLxZsvUMzZyqYy+hhITas+2mGplSjR8dXXxuQILrlC0zCjpcwuEkx6g9g+izybXNzZX9bMhpsTb9q/s8hD8bKi+LrsboPZcvsZlH3YA5Dt+A+1eZHUMqg7iSWPzMbdKfLg2TNdzwS1tYtZ6DtYukXnJ7XfDTrkz9P9gM/9hMvwerRhdqlERCOI0OmqqK3uldgM16cALRgpltXMkvSviyVitwgg+BF5g7wsibIXeyhsgIccu3Wdq8K0ADml20vWp2TNqaHGNey37y7voyupm/CrrLtKF8nym7cuV9XYbBMWGca/UNeccsmXnfEYcS1Vve0RA82hlDVnvK57oAbOKP5DUpAL3Opw5+RSpuUf2AlTCIqWGYOfUjQvHk8SNvwpDEfDiGfnpIYiG5MBP6NJeFCHrtsjBiZsYPDlcz+AsQMIP4X2JO+y71mUpMcWL/+e1MFSyRL3nU+XHbtKKTu4aQgu1UHEk6K9edQdrpAuxxnvLVFAIlrruRKkI2j9DUIHT1avvEpcNp4w6m/iv0NixcpvVkVamCtE2Q/SfYV5rcSKA+pQgVvuRZM+bhkrSQghH7oc9Uanq83cJMgAd61SAmR3n7+Dwdft6b3a4NdS0Hr8KMC9/Fmx1yZhvHsd1do39GNjw9nCHWBEFtBCMKdwFI9fiVBhQ/F9NYtK7e+qe+PskNIxNXQApDZogxegcfd49ZWk7Hgku0XxC41pHs7b90ccrfDJoGG3BoXgx6bla0stG7uRi0jxR5Y7EG0ZH336N4crepEX+0YimKpneNLBhjSpjYdtsosA6ajvIz+RQZ2c/fM3rucePBFw9d/9SObDcdk3bU7402eRIxEShe1EJ7GGd3EaFZXTGopZDEKZ59IQ6syJfBRsytjsmO+7+KS+CGFAgkIVY6HANaQkye9di8f1ILwswYAPRwqn+VQRP9BPDSoDuirHzw8JrsuSAJMW+0tEnOizPPGmKceHdld8qc8Gq2XRAKjwvMWmqGn2PTKh0wBD3iZlURm1bWcNfEgLfraRWYL0N52mjGuxEM8sBJ1rOeR/X802+5lKe20l04EWCPZEpea8dOSVbpl3tIeUR2UODKE/gn99iaxcKJWaH6YWqA1M/I3qghwSfUwyey5AlFx+zIw7AD0vwmZIYiBorE6RaqvSp6n4kg6sHrdSPzrlieyoYduKEuAGUs0yI/w8bZc89mB9YFMY4UroO1Pkpxo9+V9MOuZzlHl7xByCsULpmUgg4bC+n0mk08nn6RvqjyWOrUod42hQyTtVi//CJ0D5UiOuwVmccUJ4sCwTLim+oBMYtzIrHIZairXz/g9+OL9D58gYGi4jjahud0+PDaBjRx6lYAotIs3CamGvAtns0W4VgWKtPPa6XvDnfU1XiLQkxjaRDRglFUOXxf9/uyjb6FgvM1N4Ao8RVYPtctOFBRKu6CUtoeo5wCIhyL/G+NTBFjj6C+XZHsZ6s9flkGAAxyCX3PyoMVZPxdk1w2+OwjxcviGoZGll1CmYjrOkhw+UaaLPLXTbrzEVtNNij3e0ltcKFQ/m2dhEkVJC7y0vxZY6lEVkv7PhLkdf2itE3cTT2VNIRfWJgFnXd1dnbzhrAcy0ILUHHr+VhnGMB8IUV8R9VntTZ2bErd+VEdnvKXQljMDdywcVJAGeJnKh8zEZr05U29uHNx19/CdaBRcu4UnxIt8uAJiHXIUetrLSzwwNfe2UncY/I/h0GLS9oEqNazWsbb9RDJY48L963AQc6IuLyaaRrCeFrW3brqQPGI9GRBR7VfKpxIa2ROyz31l7RqQXXGxAdnFT2aQiqZ7IuiPtpsmiIsvmIpIdIANrM82nfjBW62A332TIcdvoEFLM/HF6IqLdTr+Ez62HaojXE/zt6ni7wH2zJE7ZSsRGMeu1PbGn2zfMREWE9uxhVgl9srmu2vuulQJk2NQYEqqxTLvAcWsQjxvjFf8xHj17cVSXCrItBhBz/aNURpfmlvhsGC/AnXkQtiwOcYxTqgHe6ZrwitZwcsFaikzLS9hHVjfTPuE3oKf6Xwv9YHlCzeAsnLm2bgb+H/FhNsXbFHTwXsC6bdCdpvFRZFyBCiXW4OqNVSsEF3njIuBcV8+3KNNtgYGRC2DG9SCQRn/ycYEQTVQzZmdFsTjGhbo/QWt31eFJbkAZn5BEvG5T3JA9iN60ONAuJrMj1vT7x7l6AJHtLv5SH/3+pMQYMCq75kpDombnqc/i4OTT4sZIfo1mbYqb9CoLh5n4pfki4QsMyn0ZRsWgdjH8BU+LU3hSxvNzcmK0MNAJJNqkYMHMfz1hIXB6EhOsouMsZkkhWmrfZ/oRJPCBMzfjvBkGvBxWdCg7atN0P5JUK6eAwosEV/B6AZUcfq3D9J0OARvHplJwCxPTnxFe35DkzKUcR52jbQIvLEIHmFszJMXghGo9lKBd4LJKbP9GJBI0ZxtytD9+py5fukqwGwyQ5dnAF9Y/EXy36+1kb5kP3liRAGIaF/O4E5i0S6PzubadWCBLn1dn3ND5XDbitFtZH17W7IHvr8UTWbkPxprDvbX9jVu2Jq1j39zPI4HP9TWrt+LpqUYTqbzPsW+UcX+OP7AmV+psqE/MRgWovyWSsexMbrBHU2xdd5ICoS+NkA6LYVVJQ8sfhzIkYrY9J1l+VlGZ3V7y70PVw/yEQIejqAf813l2B5lPsQWE/TMkB66O5y1VJKmjD5xEjJChVSQyt09BL1LDOuGhZPAc5amB2O0D77WuuKF3alqAf3VVwJWJZ0xlCcHojR59q8Wko9hD74IgYFED7/XS1bgkuhKr78KRpBFGNTyAuzHM4rGyDE96ZI8+rr+Iq+1Kk1dvlTKinRhjBRaCFycToDzL2L8Gv2gV0FOs1LB1yfFStsAxGP5G/o+qE7XO1/AleteQx+MWTu6pWWuq6FBWcp0SuhkRf+1vDWQ8YJqty4ThimeB7Fm6HXgeWqTOKnv7ui9/aOTCv6nULRH9DLP4kvEa1BtGbUSNTj3ngqtVkoGnw2kGYWH3+iC1qd+qwrxz9g9CoqD2HAF7obT+HUygSQlDzq8hYo6YW9z7H2hnwJIXAdPR7v30U1j2hD7z9ry7VxK3MPz1iMChInK3wsWEuXZS08CINK6wQTzYkUfLQM43ps8tV1m91+fA5NRRNz/XvJ/U1cx8xmFWaEcoNAwosavh981+6IQpcaGLd8EQLBMB4R3jfuOWi9JNgktV9UaYcz9NFvU8sQiTF7T671WpVx6YOt+dZj711QwRwLRo2AxWkMm17NLrBm3VZPqHQNHW0MemWzuptMD4pNOTeT6ROBcqqrwxPubjx6Mj82TS8lShzclXNeTkzqHnupO1FTGM5tRFS6QvSNvg1mOwG39Zl+zh32konuQyTfQChlsCrgIDn4moHI+0IpUWTeSFWBCSH4pjXg7xNW+9F2f+QvDLhTEQVMvaFErAWGWtzaCOkYQ6r7xs3lCA8ggsWiKqW4lloVepQaoddgKvgzkC62EatqzIU2SOLbuLBcyqwypqjOh15esr/gkcmUEjy22JZtxxwfNGFMjMblx82MImBM9XqGglnWIJm19z/C5qNRO5Zn+RDpjbvwGBFOFljvpKtjAbTi9HPBTlblF6ckysZDodldgH3PqTv8x2QFHj+EzCta+T83ln/NWSauSAnD3bgu0855RSAa94jbZwGrUW+AL4rFbqm054iAO51vzKN3mKC2e9X0Ml0IUi5o06hAZT+wwlodsAzmujTflJwlhnp+8PWQynDzBAWc7Kk31aPAXjIckiKCgnZgk8a+M0tJdpuEkC8jNIzJrThuBTzvLL0fjOQ4FXSAASWEu5bBwK51k410K7w7d9aBgmKTcqb7+KD9CPhHZxY0OMgmycJLSuQHxPEFJ1tbBQJkF3Jqyjp/AIu3gVJ/KlrFFbJa4SkaNjolC2U9MUQna7dY+YWIeei0pcyduG6SyCZIMtj8i4TryjsJa04Gp0PBZrSmlZPpjwVt0PLwxyAPNR+e4PQEHrYR9P6V/0Nh5yIjHEjmCOCBY6htdBVhB9f6iIzrK0YQ5AlP3VEUb0g8M/F3aNeSc/ocNgBSLEAYI/pMjUWqMPmw4bb2uUX5P2L3aNq1/F0xMXv1q7KJGDzS/C3Lv/YQsRt7bG0ss7GhlXOp2x7tCRFUFCQsKXheS8eaCqH2xQGrSKpQswLVMPMXGwdyvEOVyko7r87bhL6kvyi5P7GuW9IS7kyibyWA2u0T5BJrzyNeIoMI1HFr/LH4X9CT5LrUpDX8OFCWCLvCUNTbLGLKCrY458q52bB6L5CwoUxZkflqjNlD5kYxqR/fKKUoC1rE822IAtV+rEalR/qazmSpMFSJrdpNcusTOxrhXkpV3l9Ph7zb1m6r3VRK5cvBPybpx2ip0zq21BvEdziqDcwSTOdOfE9IN+2mnfM8XI2up/oXEJpkJYz3LmhocY0MOplNrNisxaIoAiPWCGeRKhEVc9Bf3yTp50Fmy8xEfgZ2o86pFihk4jNZPm761WDVgI2FEtFPp4RS0giutsmxqBANc9tfv1/+JcfTjiWkIbCrXGKEohIYdR3qFC+AZ9LoV/ODMrsRMVLeb/P7UQmAoezy3TN1VgbHn8O0E9IepCKQS1WlpxzPKR2DDwnjtiQ0+raf58l12GUQuh4E8TRcSJLplGx1BLvvjvkgDk3m/C9rVipHc0JGC6ipIyhTIrCfEdrX8I5jSD5Z1YWs99RzJk6lwxWrFA1e3qVoz1FsbcrrbpU9tE6VBJvuNVjVw5YvBjET9HzbvjkRhC0rX7ddIsKLgMeSbuMuBQqizjnL/AlSuMQjKNM65ufIGHxWqgT25AvAj2OkGCsTzzwGelJ1SKCHq7MAnBnqCHJ2Heqx+HhVxB2kfIF3oMteQ4WqrbUT7K0+3+NqpRvDEzXFkDZvSY3epkGvGPS4N/8XoMevvki4em/RxaxcVXhqHLjZbrEe88g467Si2xg2BHhtsfKi2IIjyaCBTXbXEFu181m/+gTbOII00icBY9iv9Bu7pIIW1/Ld/PU3lWRJFPsMcV6hZt1BRAv9ab4p+Er7JuSWcnQHpk1VHuIYjFYl0Cr6aHRR7IyKAefv0tYXPt7759WVmk5RuXFCRtr4iCBu9z0qu2TYrKjp/5YFIe0psfeYPPYGfS/k8kPM0yjugMnOR7ZpWVRTiGGeSF8S5mBQ9WkdfQLIw2sqAp2/TR5pMJfIOZ5grP2jvetv28pID/XSyX/VG+HLnb9iHHlM/F5WK3DcdRugzf8uY0h35MlyHKAzpswYJcOFGiODer+2CsMeAfRCIfByBr/UaLa1tqFv9g7cOjtOxALMnBsxjgvPgoB3nbrAXNY6nFQIoHLG0wrk5lWTT3zsH7MeoOV6DLA4F6g/S7pjYl9KuvXzIjYEg9OTJ09PdJm5vxy4eQVF3jsCnv+tl8yo3FsI3ZjHpkDJM/yaEs/39G57DOM4OCOnU4hdRr9WOCQpHkk6IBbEn/xdFDP+BTRCuf+GdOpbV9kkH2butlt/LwxQPm4VpAX0VPXJzMQ6fVQ+Rzqncu+2rwwGnJ0umrSXRWfQy3F8PaMxYQJEh+EMXSq//S0IO4rTlOMl5S03vfNzxl5LvHrs6OLjOhMjCwpYypRzOwBYMFZkeDCO8TpDG7PJIr/KQ3Yf2BcoYrzL9N4iRS2qbh7B1KrH9W20AwGE29JMGd+lS9IjY3q8fQZE7Q174AulQg2WiAVT/HraM9Gm/ygthUMuWALmgTqkDr3NFgHLAUr+gEaRxeVX1hDg12DOeHTScceIgRp4SMrxuNSNTgwQcK3DGUW3fHpocc5y3VVQDe0lcjen7BAVsxirjCB289EFEFYR6OdCNPgOdxwuPw/Hoi3jiPycHbsoHCHuiCXybI/RMLs7BlbuEtAskiddrzCTpPHCPNKW3HYoyT5uz8Jg1d+4ZxtcPrL78vbd5j290vfui0VP8AxMQBrHEeVlcZx0naW9yGvnnfGDqu8+3QjAmc/YLAkSMluKfx2X0bCetuc7AeRor5nPtBeI1m2TYa9JxNZ/M5jGiQvuN4lkV4izzIOqyBizvu677DOAl8DQi/iurPHbDN89zS6xuT8kkP8TsUwOCyczxZkNJVl8/QCDsjpxOABF7wtWcyKWmV9LWi/bT5w6e94moCsaKvuNi7bMDvG35RifRY1Jwq2g1gKApwqYeTBMRHdXFoGRkXN+nL1CkauUKpJQqFbCDXQdFfXOQnFy2Hyz5UZFzVDvHHkwgLf6ZwRryN/uIul90qdL+3GNVueU/+HGlvmJ9yO+5wGQ+6jCIqmCdYldla1PtdMB4bxUOgcHGo0l5yfJIGjtTf+FeqnmyJoQS7ub5zBuw4EUv3xWShbVBbwI/bH563XuyKiwlM91K7s+A7H2/27Gnzh1QYGpMo0HBW3KCsK5Q2Wr6pgKd3OfQsTwbu1ICKmY+sXIjh7U+cQIkatwNJUu74DM7YZKLew+LefNB9GVRuIAOzCcVSj9p82Tla8EoqCJcaqd2eJQTu54N90WEN+iIWeMl7Us7b1fxeEm0RRVs3yhC4sRjRO74H7uvxynpDhwXPg2IY+stzkCcQWvQavj5w8d3oK+j3ep7aXxvO2paS0IGM/R6rM/mBLYnjZXi0Z/IhAJ2JUQcjibS16Rs9SdLpvYCZwNYPvb40OpivL9yI1iEEzmtVTSET+n6cT3doaB663VEA/cPZW1OgpUtsRFcEK85IuyoSLXgE7oz0W39dEwVWr6VhHZewonh9IbmasM+ug9G4tUoTeBO5Lx7+LF8zbEf42aHWeleHrHesWg8r+zSKOl/DXMnQ8q/1pGzUkAnj4CCWgX3NHv/x3qElxjAeYrzWXBiPyLtjvzEtPiGbLHkxN49+LyuFbgdKcLlfsssv5NiBK0Cr8DtRgR/+dVoeNsIIRT4gbHEFHiUqQJYFFhiM/kl1lI+7VQHoJiR+78khGIPcC43+OZ3VrtuBmJ9+f+fiwoQsGTAB0GmqGDiT2mZGcyoaa8bn7F1TB4zyJiEzEYbqPIMqU2/AIR7uHOLRVALrNR3ekdFkG48CUR+8B9A0u75aWMG+T+A+V5SoiBTVUVAOkx2s16ykTUZEeQsEwz3T0k7t2uYvVgCxm29YBB2l7/9lCyAeZYx3DYknUvVPGMqUflviPeTwuTzNxLNI9NADQ70jUyPTtFtplSW+GjWHaFP4c/X+7e2qHqGmhMgGiurvoncsn8JW9M3GD/EUW8XGIKOzSB5rr4BAVpyxtQQg1bfDgcTcE3iLD1Phv4UdI+c12BFhdDo6GKL8u/z3tlxC7xCkFt3WRWtyziHCj+Sc6JYd9nDbu6cawvreEo9MaVfCCeKu9fd0KfGQYWnkCNnZ3d7omI/C41n3WqjZyGTZiUZbyE+/3/hDV10oCvWmnBAMz1OsDq8yNtwC2BbRIk6ZW7uoCDTuwU8ZB/H5sGWETDn6xNn5Drz7h/V+qsrvd22ZyUWIC+/J8vThLPj1usFq+lzn+JwtpcFhVIj54ZGekzNTVHJQ6RMJ1aIz8Z5zpWkFWfJKRmr+d2Uf9VU393y6xT4kAvN9aCPWKAPe8uUlWWB8V6TsWUVWtgU8hAW92b8CbkIAYsW3pg+ytJURI+rNJ3lqBa0Ma8dZLaYThZdXUjoiXXvPq9iAMB9B9r3vFuE3X79c+kFdJ1PCGLzlcJAs++aeGanSYmDFNk0VREfgPJDfN/rV6gUBY4cAV3xQ/l5dJmMpnbenggPaIM8cRUg1A3jz5q4jFrvMA0M5xV0ErXZgzYoHQfliwq9XUVn3fpulJ46fdfzF7e8qeExPj9R6nTIBgg+k//HMqtdzfJEJqB9N/m46zCx7CLk0zdYdkM4QdnSRs+mEq4YHSQ8lLvAgs4lywCNvORcM9Y4m531qTUiVxveuNVHIKyTOWvlKYZc2HUFNfKIC34BVFFng+1goMWAPkbAbXDFO8KbM1kV75G7pd833jaNxgQsxJClYUO516PPYDrYJcDGeHRTH0AjmW5N4d6UDe5udT0ctkNN89dIVcyTWyyrpW3N1tHnDpepw5Jh/gwx5ImSN+pg7XavmYKvhh4LCvjRu3J6R6OGy1NhgS1Vqtm/uCLL+i0aghilUfLBbszKSKBiXVrowpCR8sH7GrqGGOLwiKCshPBQHbWHiPxF0n0oj2GB9ydjADRjKfrVs/AdnHnvJ9tEgdcr2kdYT6zE1cGWHlk153jI1mEpE3gOm9hTttQaYsdv9piIwIDujsdsl0PibfmL1VvrfuW3NDcYXNxfAZRpKQUgYqHUECRGdaKuDrr5UkVS4I8wYOclTstQk1Dx/fqleIy0fZqSgGNfejBs+ikanpKoYvM7/ePtFYzdaOCuNNK0X8ssaTEfps5mB5IsdGxamJpbB9/+EVGbPSmpTEZFiamj2ofGA42VtoFp76qTpCuWhPwT8a7aVCMItGoo+AOcULhc5+8ymlRMpK8V6zqpy2Rczde5RorqClO9grXV8JgObZLdLs81K03Hr9+p09ToWtXJjobgqpkRef8j5WLpycREwxhjR4718d+4ZUnx83iadmL9ni38lM2id/GkGl0+E2yp+NSSnyGwWCWC/QCVzKa0prBLJD/Dat84UGZIViAZ/cutx0B2UHYpS8rUjXzayRTaTsH6DaJz2hKkZE5NrQ+b3K2e1QUyXbbUrIGMIkeleX6fA/s4svy5GsoddJ81EQGsT7HW8A9NzVH7btSab2xCUu4lZnvKr0g7skM7+1+B8cbz+Y6Qv9Vg/Yr5ECvKmdPNgFes3upPUE/lmegP6kK9/+GgUals4qZmhplsNU2TW5JLn0FG406+r4dY19mWJ6+kYCa4XlNF49NJ7QRfXadaeBnxjYAYKjXTbwMIVIrLn5GTN77taA+Vrl3TI/JiLKZ0wsEplHkMvxSAVZcLVjAS3KWX9XMmiqZPSmT3p0fEJUC9pJsNMy72x6Lhyk1sdejoe2WZSGNnlkZ+2MRK0LLbtv+8uZtEIcxJzfa9ahSETc+RrIaYqnWghNJI83LsTeUSZ4f2evGUdFfeWXvlE+PcTgnOzORYKdPUGMhUJ32funp8kHqxZSMopqYLKCjycm47LuVCCgKahhPpF+pQ9ms04T3g3+6nXZNzb6w43rJ87X8qs+kvzu/rJ4kwKyZ9XdFutUn7QyYS6s6FQEGvykPvoxAVcZIkQPi4Ut7O2iFaegGCeY3kCPBtV2DPtZeTLMPn8VZlDwwyts4ozr6LwAx8kfaI9h7mOB5xBymlGcvQK0XGYJJGWdbAEcfOvFbxs6QbwSJ90HTrAA3AFVp5TFivOtN/Lf+1rqT1rNn5Bv8upQ59w6B3QxIzLfcQ1UqimoMqHZh20OJafFg7dxVCHDOgKDXXIGG+5xueyq4D130asJcPN6Nz2gUpc49XzSOZnsCW3hj4TE4S+laKBCopLcKZRjlSk77w6MCWPCw0gqPTqysNrOmZncaizLazdHP7hWgrQcbfxE9FxPBjsuZ5RA9IejRFQx3rlmJ1PbNy0XWTJqk01JbV+Ua/MikFx6lIwk+fjaWD819cLAujAfgymDjPmO89vlZL5yY0VY6T5TPTZpbzDy8+pmTt86WV697kvlYQbbhg68G5etWx5PFdbHk3ye4VK1+GuFG8RPsh+Vtd+RMyWEa2SLZV2Bjb+YqTlY3Oyt40tiBEevIJhkrh3u1lpRrB6Jh4tJv6dqkty2khKPK76vPZyc/ygCW7gTc8RB8js/ZopQ3z4xHQIlFMODj320x1AdsgAJ9JmtYD0+uwACZ+dEx9ArtZeH+0WRCO0J8dBaxbQmZzMpb9dsUUlC19FEvmqG4xlIEwIs3VbJNMQxNximyna6TyHWK+onOjjY5EObNhP2DGpMIGWZMME9N//Xbm8+fHqefp8+b8FxDzeMtSvPhf6Ia13DnxQbwTf/iWvatC1wAi064jg/W76HvPcqNYkc0ZngNJJuWwybFEdxAppjfrya/S+10j3H5zwpbTKj7M0+JbX0p9LOZEo+VtFXKcOxtSBI8sg1TtJ/rVLcJ/EteW3yZ7wp8E1OnrTM60Dh2KaSKiA6uRPlPbEfRmdnylsptzNEISkvu1S4XUFEiF6AgLdDFLfOF5UN3Qgr/qmJnwPCPo1WttI9azZU+5CDyKBpaULMA7O71a0qS4q6gh7t8v3AvVoI4tqZ8CVZ/AFVh2IWjTHQ+SYRXss5QYlnnTtLQWTWIInlz2AMt9GLPamTzU236MtYFFadsEYrC0XrcZ6DXDNKXn0KdH8mn6C2jv+vXTCBANpCDvaJGDbtLjH/3FXzUzPQBGjCRg/0EzUkuBv53YTyS1R+JM5lhfZ4M54TprV4RsZchADZ+Ftr4+1wmGhZEVjySRO20wfd7eG0n8sugivCJgJyJB4QgTLrXNc9s5ZS/F1ztGGB46KqYjE+wou3NSza9XbAPPLTbSnDK+OHt/xtkQM1L86cy2FEd1Q93QtSx90TxWNgzRb2ICiEPIpPnKE4XwqDTMuDUY4kmrg4EPNXamrq2bAYfpv57HWtDk/0SxxHMgK5gxBHV0b1uepam7O89wRyQ9sbY7JvOONNkvJ+OFLvG5uP8WNXvThhSnzRRpTcRpucIcg98I0LdmM50iVyK/0FqbH9Pzwing8JZJoCg/KGr+raJspTSm4j/vsSe3ZM1bY/HZBFIdzMr1viM7UIhPzpQAGR8oCJmyG+d9/+KAan+FRXonK0etdL5jMPalQuwER9RS2FOOklqCE7mmwg+RpxRrWUT4KS1tGRYFqw885ed7JiFuWS+CBi5W2Xn0Gl2yHI361bFb/mHXTW1jAp0Bma4m8PJu1t1UNGkIw6KWSLNoxFzT2opQGZSu1MRuFFx7qdGVPudQVKe+j+xdb+SjKg9OAdV82GbjBe8Nk5huYWj12lQvsgiYdgDC0QVuSR23PnAe9jdox9LYgUB5heJgQMpxk3AHBHQmBtLJJsrJLD+UJPBMbnfAa7kUPjAMIKASRqqS6+JURxoMihYS5upjkLGOy0Ih4h0U4MWfUo0+4k8aEISs6XX8LpzFW3vZgmau/EgjpAzGoq3d09h4UJDHmqIItDFi0PgshB5qiMUF3hRzbrjXJDzErORAyf0NNiFLXNniMMwvNT71xQ6iBzVYU2+yPvhMvZMcRPIwv1cl2a6ep0wd1772bCDs8JPa3clYSAFg4kZ0zHrtEdhUiJgvxDYX7llxIKcbmgMeUPo3CRC5HyyoxEozfBoi1LF7K5ftBvU5qUivV8MnnjJWOUSeO2XTMWQMU2CJ0vnmz9TEfkbEyT/uKyKKUePh5ZGVGKCPwHIhUdzTdgplOWeYSuESK+mkz4DYtPLbX3JwAQRnqS/DADI2JxxbURgSn4VrqG3GNFQxR4axn29+L4ygMd5IDrHfPpJp5HYoxPbzp9GotkHYTnDpMRw0YFKstSGesLfQ7zO+vjgzm7kkFhhCGYKHYeZ3jOOJhsulx9cDdyktouZsvuUvTt8Z5XDXzd8KlI8hCrpEk1fT6CCV7BboMgPZ1uHOIgQ6S4BjRvF0UfVbKV9zOnmULdFs+C+laJMrNN2uO3uEvF2b6gycZ3/DSUhZapCrMHufQlgWKbZWoPyFamLwixjKclxBK63sSDeh1Idi9hWGVEtlIFrUXH3s7IoEoKSqx8zslQHxwzjfmSWAD6XNy8UumN8f0eFZNny2hYWRAdk9I7dhyHh3BJ3Zn3UCeL4p1RFsWgdzofhX6Q0CLxtLj0t7OR1bsxvgxrZ+h3A76PLvbit8ovNDTzIdZc1aCASqp55V5XeZ17mIaLjDBJzHaknYnKxhLFNbvdHKsZYfU18TR1511FpKZw4d5ctI4hKaSgflhH8UuHL/sqYuPPcKglM4SEHyVjfgKoE2LgDa4rVHvFkrKIaLJXH8vW5bU2lTOvKASU0o7EnDMFNCT2WV/ln8uiT+uN3JoFjf/8ubqOiV7ygfzMdAD/7RYjdvxroOgI1yXuNkfcBBcU3/T2PcSAGZawZH2jDRmDud0AMi2lufvCTNvYTYvIEs/qB0mCXnNMNb8sCL74YvEh5489cI0cfbaIOrOX1YRQm5vgb2BZrIiH7oKSxBSMmiqatW+TjFwfwc3dbz2xoEs4AvCSip65blinnTR2EXNBqMit9OgR3tD49TkVEUCVC/XY1misXLyk2k78EEqHaYL+rfJ1vcQEJ6eLwSLcb/+YWbi2GHlGE+q0cbKcqOT7jY8R+5jepSi4Lq/dIgy8ZtCvFMEMqxR4xBBYUNvMGnmZp3yLHvF6HedvldXa707eVpO5OyFyiP0AcDh57HAkg5cONviMSlJ8CiScxr6TCH9GaN/HfhayW3Q6b0rOonK287KvCJv7adUFaZdLeVa/4KlpPohn89D6LUTIwLFYXvzrKFV3/yEFu41ZB8SaSczuMwE+B7d5eE00xAFDBic0tvQ16zmfbsyi5sqYEciobdeEe9umlp2SHobpYus1bLai9mxgknGwtK5Y57PnyqQgozXyMFrMWDtMN9/0mnBEh5ZSiZvMf3B7WVJKNJBsAFJcJ0cdobsa9y0RrvqDqS8itf5+FKEhAvR3gw0LKt/X8Ao+Xi1Yf+MupsaAFJpO/b/92m5BV+w2jSzxXsPT0PCA7K+l8tPpsGUgfjecJYEelzgWAfRQ5V7bXBdi8hVM0FhDTCrTck22eer7VatvAU6WxiMKTLnefTl5KZRHog4yAiyUcXBF0eSLRPRQdGFnMrYjkhOoM33holPb3yIu12kQpXngJiXpK5ix81pm0oGYlrfSH1/k9YPfZE/2DtcyN4vSBRCuR2fQFF3sIxXA58qf7x4qQCkvPOVdGHzJHWsWh+Y63u5GCYvUIsSqrep/5StHVPGG75gi27M2/Xac/kz/IG0Uzo1m6aWMUCKmA1OXuxypUgBj9NiGWyCV6n5oQxRHQEB5B8NYcMZub/wzdRCIPyYsHEplpbxa78tV5p4p/pckoqc4U6HbevtE8R7MPyuaWXxfxl1i9Ljia7xJgHP6pCZE9cD19Qg3WvDsfoBgjKntxXVP3zWlT/6zShrsR7cBfFby1E+aoNIqrPwokirWzJN9e3Y/5ZplRW7Y+FJC5naJ7BpqA7Ft36XmyUd2JBft0T0iJozxnM5l38rjgHIYnX8in9mVvRY1U9NXQ/J/j2Rb1rG/cUBgAy2tmGkW1DJXHePrZjxCvbq8h/yIMUAYxZSFFs9B+7viwoH2BpL6dU/qXmoCAjCwhNI+D0FVVhuPrf7a96I9lt1F57tCMxv+N7oHtysTWBJgK3eHxRMiZibcRdjQw9BwT8FoL4Dx9+NPHhAhhh1KWAQsS3EyZMsI9Vu6d2GXtMrLYWYUr28kTvfHJOiB30FEiIRCu8MsI3f9nTYW7DWpcX6KZ/okdtJNnVYG34mugIRHpJI3dgiCAAOFFeVkJsLnW6U1ynce2e9KKCw4jJgtPBrlylLQFVZUWD2QlsHYWPBN3kBEYT8Lx6ALz5uzz9NM62lONQCSJRzXPmLr603Du/frp92iZlWLTxM7Cm+LpJKqZOebr569t7zvZIXVa80Vij31pPrSA2NqbaS3Usn89jOkojQGdXbpJ+TSC00DwHGXHZreM67XK/jZaUZZ+E3C4xGvgHcrla3aXdU+SWCX07hA+ZMO9psTwphpruAvay+hySogJHLWDrzplsGChv0PNHZ4nkI+PENsF7m9vjT2om51bifbkOy+OfXGx06TeaTnUfKzusEMpE9H8hrMfKzbq57MnzX6yAwBmnwcD2AwDKlQImEzUuS6hluG5e62jplXFw/aYo76+1rHw7IEePuQhELtSHiG/KGAoS25Av94KkNy2CVZgwoxPth/5pf8P1sd/BEn8R0Np0gMooZjFKeL1gvGnvY9qd1G8dPhS5bBl5ilhwXpXKoPQtkRyWIt+OroC3q53ptKL9hB0UWUTOktj4enCEED07oUENyT5BlSFD8Abk/7T/8Q/vcPhlHTUxif8Kv3GOQrowWKbD1uhgqgUiNwxj7JfOYLLLi7P6Um9+DznleIr1ue+H1XyNGtByyQEaY5HldWNIa3W4CyxyqNrXF3A+v82vwQF9hPQ8KZeJYwVqgAYYDD/Hk5KBbMvNbchjwhslcIcW/Tq1zpW6lNgNXG1H/eYbN3K/tV+HlFB+1xQvgJMZ+e+Ur64+AirK6bp+g99tvbuv3J0TX6Vfm55E5Tq1lFigMeVT4/fClqaL0vs5zkwsi46keQM3ygjQUXnrKWaR3Z5Knp/K03MKWoPgf3RBX5+pWlPThVzEHyZppbsUO0WeJhpKsbqPQoj/R0wjf6oP60Xof06RU8jpdbMJqfOhPcNwuvWh+EOR8MZw9bicDZSlSwCxF3OOYbxAeP8TixYG/Fx0RkYWg+67tVTeGcYSbcpmoTaSPEZXfsSEBBwGCyaQxVPcCn55JXk5uIKe8FqDi74Nt6kg1w6YEU3qNlyPKecQVFnfy+8Gtv83MZRgduVQY84pnwchOw08xvDLXuh903qsJBqQCBTkR6yT5vfjovCVYyG4XuRxZpxtrDZv47pBW+hDYiee46KPd6CkoQO79c8/bGnJDyJ8AGguPhI/CeJehtiUoLvoZ4LFIF6Hpbzcy1o1SrDt3BdmnaotwDkgPNFbxT9DeIk/GJgj2ni4M8kUjHd33fBCMee2vrwNKnx9A1K3QMqThOGz6wmyBh4KxWdiGnHGeddmvUxXj9s/bzgd8t5NJf/lnBXL4nqYNyMPrIkSalSw6PtUclIP9NNNWCHZ61MmO+ONS5LSGye8769cWcZwF8EFlPxv7Qx1t/nfqHqqgStdMjmwQ0L+kJr/BXySISQwvKpu2+8mNy13I1N9TQCnp6U8coV0R2YZ7IQSpUSCu58Y6qFimVUHkojzL+OcFLKuVdTlbfliaLmGqVqbi2nq2KeGtLB7XkMmmdjvWwEo4n23zoNWT252WgMnZcnxyymcFVeBaiUu5reysi5XdoSe1estGrE7KO/RhJrZTy4XgPWRMQDRbZWn4ge9m+h3pD+Hm+gsF9cUgmsEm62T6QvX+z/kdmft/F/p56zP0Kz1tCCjHP5ABT67lLqxcBkPaNcsptbTmEBJQe1FvqEm/e2WOCSzBkrMGGt/csvUJU8YWWuRxaVD0u2O8sST/7pIdhIXpBuAqiUB5giXBEI9CQX1T/JeHC1MjAaEtLNdLxC5e1XfTFH/8mMzYjr5eRO3pp6jddGibsarby9uWjykV66tvHx5LgQzKrVH5RjCdYepGrtzjMZn8tr6tUfDPLKoz9U4WFSwe2VtAM50BTejarU3M3czd1HohLbpCGd3YX+v8iEpRwiAbBlNr4REzLR51Jy3/xEW8q6PoLgOt2gmlXURWiJwn42k+1tSf+4HTFylcoH3VMpweOaDYp9Ybw1qgNIsT6fUZW4OGDwDpsAwsnKF5c684tWbi1448JQ03WtODt9fxJxSR6C8SebVO4zXgOAsuFC6w651FdeLG9WbEacpFt3A4+jgb4tGrwXhBRDC77TLwu6Th+uyG8Bw8P5rXnMWegqVikSOloi6OLLir4HeNy3+aMAnZXUCOiAQeBB5n1qa4jWl1nQZjYRb+xxu4nRyzB77ZrjyWt8DVrtjfu9gXL35AXlEX3aCuZSLDFkeGWGRDyXZqDct/Uo0TqsaI06j8o2Kn4z0dUKp/I07SSG9UUbMeT8bF5Rek4SybNM0ljRnfdz3rOtFB6zrMCAN5NDCgc3AmYDrbabqwUVv/DVwCbMC23DIjFYMUALbcSO1e7WvAw5p6I1SB/g4hIQsHEoVC64ybXiLcjK3FmQ0wwCL5S1GoZjqUZO2yBSsa9/5RRfvGol1m050pVpCpgCaSbU7GtP6UcodWLGbJnT1v+rF52csLhKmTLIkAonp1vUHznms0lAMxe64V9uTBJpy+/q2V5Ro+WNu0jiQjuWSyadoT4+A87QE3LBLucSHGVrtOD4SxkQOIAwa35qajPNa0O+RqKMPlqYgEtlSyemA2py7rSQkqLYEnsR0e8niGyQax+AGI1fBDT7vKZ0hPHl//yNnmWhLimtUkmfT7kjEz4zlyMV9lFzUgKRGwct5BvAmOn7ReCeGqlQLUlxvOp894LRXfyyoAlQGhSBqq8VbFdGWYbVqgzUcrYyCcuWpKmD4EQacuH7XKFIu8eS1vYWwSwWel2O2SKD1TFNrqqXtRy+OAI3/82RPIsfAXJrH5BcDmynlJwfTZd8SS6243T4kE4nNRzAPSdoJCNzTt2zHx9wd3WHCXwtaJ0gK7b0MA+xcF1iuAHhsS3GDRmW+QwOI1HUXG4CvEdcMblkJisE9B58O8EY/5NMUqa/fKlImpwvtX22rKgvi3l0KJlVeDanWqVUXqYI+HMrn2QAB+0novtpkGP+s2086istyek9G15DGCgQQlivGC4tb7sVVhtu0cEaLi0B/zgVAEu64Nr832QWVTU2nTeD39o+wOovOWC7ip60t7KZ74tZYR2ZGOhpGldiQkiwCpSTt+t1aSR/csBz7yxidMQAcCiBcv5/VwG8NKCl4HpSyltmySuDAqi9pc2+EDhyo+LE06q8vjhWbJEntkjJwM45rI58ziaTcq+HbEzozL85f1DpMwqxbhiwEZROgvlt1EtGHuDyvQJvQt9KXF7pFwVd19m9INTnKTnvsRIbF3wyV2v2ihBVg03mmfBLJzgP2jxbG1j1e0lI8/7a9N/gMwYxZWRS/IuS3PAywHgWe9bpZAZqjhD5vwQScU4TomLUoYkmnJd+IrfiAOdOt2SnZ+VdDx80d/9VupJ+d8VbMdVMGLgpJHude0x7W8dFNlnNXlavXgFU8zSTHJeG3FrKdBZ71kz/lZbimRBz+LpHZN6r5L86WqILbeAhPMsR6FZwVyOmvmtkVK/saA4ieBlOgo3Y91PpmfgWtdHFp/Onn5mikHOsjIDqKdbWT0KuiCvl0rdZhW8waEoE0INSaKBG7xQvb7c+N0IT9kkqICEI8ZcdVk9jaVUTnkXEeanUXumHbLO+rGUy9+6P4N+kes/btxtiRHgnQ/lgbtDaqU2+aGlNWwt28/lOJeByXjLrNlQ8dFBex26bmvbpTfTAUPpqAMt/b+OZp3m2v6f760xM+r76Eti9uEmeM+FZRY7XrkG8Z3kEtG/7DjmG2NoIdsscmscpnrHdWjao/pNKDdRNefLyKBl2rCcXlnhLmwmd/pQPMeIKWGVvMBRxkxwRX3wl67OC8zb2vqYAFj9/wTpl1miqqXI0Pr02c3kZlyRLJO3jjSz7jfK01uE2Llvo03tx6IS3hJaeYoj00I/rK31U1PDCX0o1n2CZdtNxACCAkkRfQ7B+bFEGqGsVxf4XEh0E9HRd0AFjTujoG8jNGof4Op4y1rOJTg2pD41wgRNQ/jhjraY7RujyXMwo2EExrsdQ3ZbLyonggC4B97knWq89ktvQ+VPGLmyRejq3LXIFNDcBASwPR3ySgRDuoIkZ8tl6SKb71j6N5njEzBLEo2v1csWGJwENhg+hfdIMdasPu/5uhP5/4mkghvGbE5jqBHr+YfyE4l+RR4aFeWtVIisg5fENPhbSVuWILF1YXb5+ux9fA1N9AWqla0FSRksUBFmvmAgoLD32IeGtB8La33xPjsYdJ3QwOC5HBHUeIL8GvYZvsMOw2XlgK7UkF5WYNNfY9ONoeREYHETL16hEjh1G7GHq0MyAeNFoaQljq05gyxiFZBO4DtLzjt8TH/HC+HfwHIvJolSAeat6JExuEh99dRHch4Omeb5wZ+qRXlxJuZJvlzX0qqlX62Qt6/73BCQJXKY3rtqCp7he7GIiWEbIZRB3azhtoNf/wy4wi22HVgcN/peUoCHXFmyLl0K161tsv/w3nDbM2sMaNxBBdS0MRtoABR5p1bdNdaO00K4QyuF2ir1CqbDLSYX62j6VpRoCHJeFATCEFT/dzyLz5qKyLzDbIhUhvJoTH1TnmsjeRxKLqmKgSFQHYMfqjL0r7h6TStzM3ciGRGzyprbU9bcjde9Z1hzxUtj2u5avNljwwaZNE4RPciJCw/hy+aCViTBSIlFPsMuoqFajl8d0fNho0FZPtaXwCt3o9DsvKn3BHrt+mEvhLE6V+DBkIm2U2DDEADQKJe+rBtcdhZf5Yj0tnlDdUagnRxTeHyuCuxaz03JA7MJzqEipPf0WR1uQmIUJ5KQ+dPI5kO93RpXdDQ6VnfR3hjMUqEc8JJC5BcFNFlzB9VKxRjqdolgzp6W+1cCotuljACHPHVWX88+tW+4ee3Vvvhe2JulcTRBL0qaEi7qqcSmoFsVKMKXEiZlV9kO83qEwsXs/tFFvo7qRzcRwQJxRhb1hn9R5+2QCu27NCgrs4UiSt/GsCI2TYvobur0ATITJy0bc7ja0T4E3dqJtYQT3s37rxE37byTLPcU6488CgM30rfm7eURM5EvMHoqmJ6bGsA3c+cPUp1bP/nrW+7IAI0XHv2QZ81bdvCfgHOZQuf7zkpS+Gnjh/GrTkuZ04W7Qqwx1j81QzH5w7MBvz8WqEm7v+kLcxpjx3QU8CuLvPaZF/3l4jwswFAm79zvqV+XGe8D+m8RK/uuEWrdEcynPGwYtuN8zWlSH9LnihslM7aJcRTUwqsXWgbVQJ8S44n6ioq6TN8kX19VnxAXrST9CbCEfHfkF6E+oDk1lEsrR3K72HvfC7hg3dHYb3NoFcF5pjhEma+TaQSPvrcVJ2Sby2pBvf+Pe+oohInfjZwTDnCqZyiwSdZ/HbQuRm/LK1BwZiIT7HLkAjjVfmOzyUq5bvruF1gHua4zOgywpBufxPUhYbbyoKRSlRyQq4yySBH8G0aXJFYzqhxXPotJtOw5bnsu4/S1YxgmIaxfY6OZDyw0JrhRr5c7TrF2mgC+NH8m0e8AFGx4PN8JeE0j9YfEo/hn/o2fzY3tgzHWoRz5wYvSAgzQTLui24lTikUOYwGq9NFrrgxGEvt1cQozwq6CChNDrABblV6PNd7fa5RD/O8s0lIeFSBBK8u0qm/W60c1vm2xkEAzBlE+Iudgy4DR1NSdFJ42DmOCGDaXMzBFIpl9ZkYvLkUFkTzshT7QYruMS+bvz18oOeMEQBWaalzUWtKg6SZwcra6MaAXvVNH1QzobpK8dy6pWH/M8WWfX0uay7i4pfuoaojKGY28qpO2B1Qtacso7TMQzmqqHxVBtr5w+QIOuR1iSMKiPguQC8oOh6JecckULRN1UAAmKplYoWK/mGP5SlVfcaZRWB5LArKSFpaT1Xd1eN6kPcuAG4ql+/yAOWzwpNcLJjgFv/AWiyrqfrvG2IjcfLY9DHwv5KfwtprpYQ7c9a8BStmRx7rmWyAFrOaRJPNEJzlmD8JwrvhDAF4A5AnwMXyiZ9SZ/VQNNxh1DSVrhw+ksadQ1zK/G09dYmty4yc00wa7W/NRM1X2ShXch63cWw5koGssJBQOqL5c3Xxa0JCicscUq1ISnjxcXpmENYsgPelWTWfkyy9dGcXazpOBIf6+3LoZbq9KtXXsNG+Za4kDCDGI1X9MoVqo+gHYau4jbEGwbVLBklugmyDDuNSnK0S3zq7nePL8bXa/2pzjbrFoao7dgg4iaRghPbyTwOSxZRKDaatouIRVJKKfjTo34HKxwnswdq5RCU8bOJ+BWM/XtGrc2VaXujQ0/vHg+J6IwawQbojZID4u3IFSAJLmIQkXUetcl6D8pP0E6y2RIK73Rlt/eEOqb2MUEiWV/OaEzLGb+wlImIuv4iaItewhAHLAc1HOFhr8U0fPgth0qSr6YJmJGA9/m0NYBttJV7YhNvE+WO1pCDfjYqh2QxlaUBBlnTHcAX+3Fh2QUm7UdTdQ4HWpD8Aj5I15oAXlFClwIslMTXH/AA1afM59BWFbhzdVyeM6O7QhBk1xLLWiAstR7MFL6le8WCLIwyQqwegaYAG2FDgscTJTHQKGvEtdXWFheVkTwpS7e/O9M9UQ11ZRgXdX5bSjeXL+jqFrzC62UEHUm9o1UbtrIoxRsqn8WAymdYOfiM2C/oxY4HFWHfvSSnvfA/h/2TfANPFr/D34M+UW0pv+T0JydzqGlyc0cwNkTH/5J5Vs0pDTxWa20Vi0qJl2gYK3UOPzF0XYUj76TNd0MrTqgs2NOf277BWryX93tWs4f2CEBZLvm3MtZT+CywJ/RQCZoDhRegFZvvAc5tGIqQs+OUi6lNPuRDX1hL+/q8jEIAp7AtbmT/8sI8I2zT5jOoK9ECfB1rS+KDddZCSppIY93tZsBYv+3mB6qX+tZdCZu3HyMB9qw2bxDExKQ+v7/eZ9kjkhJ56BzbDfmci+1BTupMtSC61KzsvKGXhbi1eEO1Ru+YlX5Kw3RWlsoPkBpwmfIcB+JUa5kJPFDkQWKaekFRfqir9aciycdkQnpn3ps1lhXqbqTBIOc7GmXWAmVhieK68juRH1tZNtBDwoYw3vvONblNFN1er/PV12Kihs0+ryfI35eVKkb3krKZ+N+uFpiTG5pneqUArhn6tkol/d1wVHXZLE6Rs3TxpkR5MKTbwfOxiJT+rEiDroAqjYfFIe9KQhi+xegJrBenDQVlT3k3xYOFVnE5OdPpIMB9p1ObaNZqWmwAWcc4jOIqTZhrYHlVMqzMScalxFJVt8rZoNdgsOZKQ6SbkUQcnnuLpgiGqHCuJUP9yU56xkZ+Mxwle+AP9w8dw+0uURjPZuluXAjLFVx0VAUba2Cx97VWnhURfLRJn5jn0mrgA1tsz8XoTe43TWd2hhMXZhhkeqp+rJ9KSnx5hhdIQYrCGZ3WgVq8ETNG7J7xPz2sY+HV34cewobi8QCLoWKhYmnzqTvx4tX6Fof6rq8QZACV35DOYfONUFVn186dvX3FEwNpL+9U1Ry537RpG4xT76A3Qc5vQIgsCFr2Vgr6fuTGL7v7MKbZQQH+EHmLamOrv98POvk9rzz5gwiCZPNvZfQAy47Txl5YFfxoR0OXNay//DhyOgBoplmdP6U/HhledkxzA+55/fIdpX3sXiUZYhUXF9+iphKKvKO93BmnEwjp0+5a/oaOmKZ9tk0ymVo/oLvRr7yOYJGl0+yp+5NT+ap/Bq2sBo6xEmzcGWMunfX+5OT2qZpH5a1qct3FPaXY+7gr1VJXVwVLBRuiKoJQDGsPVvL7jwRYMT7NjPpeiiHYFodLt+tbPJ8m3EXmIKJD9CI6W35Cd6mjPTbmFKJ2PaLH3osDFwwClF6fXAwb+1rM05tiWZ6hF2ApD0JQwnI6/S3p7nlt9K4EfcsDM48hCleQ88cyOlrqLgV0yTgJoXdAjjLgOxtb036yyvNUTUO2FLAULwDqVe8JUnMzhZJYhT16olNBrID1HWomU0eR+i/yVNcwj5O2bkA9Dum93ylH+ory3cVVouEH5dUmE3uifXYMs0QCgdLVpiLxYFmfvIJfnCEStDaSs+r75tCXxrRnUIEpZXQpSmX/f0szB/5zcD6Ju7z56dQ05iHm5mHR4zpXeDOXqmAMEjJb+UwgvjzENHEBdkkd671G6ww6Qfx4Iuyhs+grmPtdDf0OFWGgJAVNNiV4gtcEbtyYj9FPAVj6Kk2pT7vsAvlK93E9GbF/wJO3fEPQwLo9/KbfU/yULRQxQwIMqLo+Hiiz3Gao8wP7hLanBkEaAS9cqyI1KwQ4Rc+9rbu3xxLfMtRAhjjKrsKi66V2Qls4en67gRbNMdUD/d89MSCRZ8573EtiB887OKHDJ/X2VCyeDkrloUA9AKfZU8IfRJ8svEj2XyB5i7MZU7Ps7fU4bH9/KPu7j84mDIawZNu3VkYLyrpEbS1F2rmQIXryVlm4cjgVQuE2FbRbozsYGTxLeHo96whGUoB4eGvk2psoRf42s3o3omgO1GbI4Z4NMFjtbO4MpdESvzDLYEbOrFzq1A80wrlHLxNrrmRs4Bxj4VvlWo8OBfcoYU/RVcJifZn/n5vBsI6ODWzLKoY6keVikDG+7c6NS6OlsCC+c1/LlPAYWQi8jDsTllKrTqYmhBPxhwppnF6sFmhPl656v2ZcYGe66v8lH1ZAAZBZ8/w/fqD6ET4CsEJ+aPSFVtA5ils33ockJRUQbkDE9/yJlFTXeUQ+GltVNInbxcngURrCHts0pWRMO7iu/HASwdY9xMBzIgnrUhM9Rm1JbjzdMLQNE7IsfAtrJTeKZBFSyDeMhZRljm/dap58Gb1NruqVPA5H5bABQA1lGYvZ0gm/sF6cLEylKrkX3rJaSWInNW7XG6JdH9T2atnKMyYxZXUYInS2kPPMo3rsfpM4Tky2QsZpsTDy7bR2JralVPTxs8PZo6CHM4FZ+0YkHKNZQhLzQ1kKvyLBEJT/s1S3PM5mpsbjddV6VihCGTWIAlsp+Umenw7m1RH+83pNGKppHBChG0sWVC1CSEXy26TsriKAcW59XeU2U/IzjGPlZ1BBGfM/g6UNE5nMavCMBaEFg3geBW6uF9F2DGqsvR3mWBC/ElHG12tjvV4Mp8itphap2uTpTw/d24Q1k1G3CSwxs5b1bbVXgdiBe4+gIAx+eKXNtUfSdwOJu/Z6nPkHeso0rGo/fpx/eMKT/eFfZt74tvCktxV0x/16ehvT+jSYYNNVDvWPS1beZ+u7N84uhQ8x4sUYPc4YccHgeWWf5Bnk7riBdijPyr2ddgyO6kMXr6biHKOtyJDDNPtXXWYAnmNJltvm+LP76lyD/H34dtgJciZa+vaylGvZs++c69apJoZ8ixSq4kSkjlHA5O2p3Kv0oEK44bw9ef0Lwy8XRAVMuQrnxmWhn1wQ+segYkiJ1WMVqoYdiFA9wtrCTYBIVUy6FD9l3RQ8l9hSIp3UUFYbwqufQ/VqVhapVi70mtjmzzp7TtltS6/jlXauFG5PeMvYISX1NqHMgGUXvHFQHT76alzHfM79exI5JQP47fEG6FGyGKTtC3J0mJoJ8nm6tMIvhziwnea8QzgbyjEgTFqd3QU7aZMxEHc+NsGKTTGK//FPF3qk/iTtuxFbNHsrPY/Z/+LFhbSzo4TPN6EhQHWCpEg4NHgdIubwJuAeMYun4poT41St52Q8Ge8IBUSS8rsW5enPXgK9nCbAI3ZbchiK8orxnvBomAplt3PWJh1aBDUGiayer7U86TSN7oNPCE+bcK/JwfBgTromZc9V7f+Srnz4T9mspnXl2Rg3hqGujlexlYqefIxa/KMinm4erlkGGlQ2ny1KriDLHmM6S3eeM8wrZEIKuebWzkAwVL77OnuTpniwQVxUuBdOENZmbbMXiH2oYUlCcHKDn7MzKzhQ07i0Zp2iAYeq0H9ZJ2mxyHFjwwICYBGoRPLlpJu7Qx9T5hJIu9c863X4HV0ZZODZN397qn6Wkb0Ir1ZOsjT0iEEewCucgvP2k9EZi9QcIDSxBWuirF/VYyNYFTs4oHA5Bkb0SG8s+yE6vO13/BJkgu+FjdKduuxlzWDpopRRTbSFELjp1R92MPXJC16ZYmMczDmJYaqxYQGF78qlAQhCPcBiST70IE7a6UiqWIOwrnraY/H2gHUeSmQ1DCy3kwoTiFjuOE02czOrDQC4/Di0EQon3Ls7hWRdACRpcIQS5C3y9XkdG+dTEySdfEf7a0FwN/1TQN9112bJhurKOpnsC4ue0FIBo9FQOyV6Ax4smkGO/jx5cnAIIdXwfJcyKddE65UIJGq0wJajrC8l/BCdYwtPwpTWAO+Zra+cOJA1rQHqi0bHQGzEOJETAie5iv+yIFhB2RYOTU8XT7/yAmKjCYsEMJYMr8XKKD2jbBNKSkHs996bO3UH+sX/u6IybaFH0THrwDwUgMeJ9mMopAEIkA80usHIO3Bdudjz5N2vYB/k/ccJtpW+/R8b+zyah8ETT0S/buvTEA/ianLSD2htMwJX13/C0E//7DMno9NsIjKXmhEHEPPquk0DR/yrX926X23fndYFd5fzyEN5BrIOOzcU31ULE0s4gzqp/DysuT9ZSwo6SZXrUM2zzpKF9CMuvP+dQTn8SabGSSyEnRDcc0fxsXiuOOUwN8uRzDkmdHBny//6VckdjVIfKhwZSLw18PcyiVv/5WYrFA8m+snhuzo0LA9P1wL63YGBdMvoAsqTUZwC76rQEUnbIZp6onD+TCHK9Lps3V/i7RHlyRSaO91bmqTgGdOF12pxpY46uYU2aMaRg/PHk8CkRkCSk7pyQmUJK1Lf4ldSQMpGBwGXHUQji1kQGVC6N/BkRNdghOKDXbXEs69HUeEGS13X+YyfrPUkHw2dpQDgKnRwo5cnaH5tDyKvke2eNrIIFVb/QV8A8vPt6K9oI2V/VPsCi89ujx9MRXchR3fFx5bwasXP+IWJhCERV08wa3LhU4Sd0EKdTI9v0JUoumGmwEIzi/gtCBI3BAUEo19UdRLSNQTJaEZe/+NLPaXxNL4xITdilD3VBVjdUjs5icG6rPkWIlhpmZ+QqlJZ9+Q1PIvXwPdQkVXY10LVAjHimZ1A3QQzRlyuHzgD0FYVj/cQhYKZzniEyLIeMOVG5vLz7HHIzc455FA4bd41dG0+JQygdBkU0FWFzGgFAJz9syuy/1jIqf2Cve/5HaT9BGfPtc2Dxnr5+mA1hDMKMx/bZlq3mX1uzqY4DA69AGqT8Qj+YHmGA1aaEvGsCOd1aNx73SfvTAAirLcu0MCaCTHZNRQ7aFkIUwUxfBh7FDyPMG2spucCprzJT3xOQ8WKaWd40b0pIWL0XTgkh6hpjUyXJgH9iQtfcBQoJgtyL9Xg4XT7ANW0JGqesJaRd+ZxjzZtIS8P1cx2mS48F3lo9TbGKeXv3b6Mho/wsfQPhaYOyH+SBLR3N6jqcZx/5bEqiKo9bND9IqXsH+cxPsHw5QncCvdBCGUQqAOf5N+p7/hYQLPFXnRT+UGbbF1g4y+1vlaPu7VYPtKvY1CF6IYsgoUdAPSIJfHYpaEZwxKrXonYvq+Tt9SukpCaLkZ39dwgMciAkzYs9kMw48d93oDa3lK1aTU/ae3u5ZpMB6Es24/DAabGzcRLCu9KE61PpQ8Fgh9go0f6XWhcDSXiRhibHOxmo3rWAlYnqErfzIFM4dzneWkg0Li0hTDiKE2Z1HEbmRML6y31JIWi5cSj6c8hFfW2gQJzlLUUQlWcDoUGryd/XFHg1HPuZt7oGfTANrvzqHzO+Djll8aKCHMXPkSwp6iLjGV0k8gbLXe2hX6UdT6MpcrA8PsmQcbLFrINmcPcZ2jjR+0PVBlsB7U9AbGm5rnk6wMlR3na1iZqWKyHR18xetU0PaS9v25NjDfmSWhZW0NU9A5AJu2mg1NbXGE6notSqIF6MvCNKEVOGJGP3osKJZDYKSdMkGPuBxnu29IFxCjUAqdfARU4Kb52NW3vW8KD5bl8c736XAB3deeZDPTAWryAC+d0HCKpRTfq+My4B/PA3ALMqdwbQvydC4H81/rUILAD4qu4uXtP7m32nB7EmyfC32QGZM+Rqs293Jv9Cac4zq6hDxu0y5b+qcRV9/dmzCHFmJVA3bRh1gHCJBpPU1UrStU6gMRsBQZdhgQ51Q0wC/ircrfWq4UIrZcJJHh+VC8qavRdrj2PLdBn6bdOLI4O6EVpvJ4xgU7kGpWWit+lJgF/frTuqu1AqLO8u858yLBRKnpaASSJDiPzeL2ZIf1C6BoWQSNDc9jFE3f2DnuGhOR/+q/7KoSh5Ddw1MzYXUyNYvAYrIlWXosdXeretsQ+sFCFsKq/RxFWGUVghBQwyAPmlq+JCGMcnD7SZOjSZOtiY9bSolyNd3Z2gl5ooQMoNmrIaIsgifksLcZ8tqgnCR/eKmGzBtuAt6Ft4tEBg8RA+A8WRRTDGa78tQT8JSUpigkNouXcjYBUDmaaopkfkBPZzDO2oTrnldJ0kQQri0+gNjtbka8MPsiY+V3CvcF+Twm3NhbxVhqUmQ6n9MEsyPhfBqTOKex598agaKY0hMXX/yoenIjiI92IDw4jRK8Xfvdr7I8IGlbqo69VFCnyNTd1hesK0DrPBduLk8WqHaf+UsWx+f98SuMbFK36lAdY0mk35WX6JS7pctlwReJkdji7SmZlzv2RTH76LeobzdONL6yA8GgrX4WjESA/tPgoZ6GSScL+OOIeKRaURFz4NHYpzzgOdbST0wxCknNN01YQOVg4uJ9DJQ2uBvsbOzqRWyAemHlAgtP2QrraATy/HHdC4dIEoKNxlWeQEQvRMFiQ7khZFykI1QjTlhpRU1Tts33fWXGrZp8/VBShhxCHwmCPxoSSWG3s4JQtVWygdnSMPZEb1K+78ZndKQW1uqyEnDRCliPo52Tx+Mf5LyotD8sQ6+yhqv3PRKMQT4nWztVb5zENJcoHF24SSydW1MtcUdSFpeBIuPfH0mLbV1awOaWYo/fv25LqGuz0v2t4CQoi/n9rStaaKSRwCVrxPM3pJ2NHKXF0CF2CDjvI19WTrZcpIDRqV97Z55eCl5ikkpT9mspIDA814U+rIXXZQnmTHOIsnZI0ufOJQ1p2+g+WvjmwWIDTuC3qj4Nhb8bCNISb5xn001L2dwvjx7PQ2Q/pr3FvaP2CRUDuLmepfndqCt/tSfHNQO1HXjrdEF4VDzk5x/EprPxO6zOhQ/OKGp1Eg4V+PePAWoTlLgyoGZGyD+HPugb8/WbnaKRxHT+I2WwjyS8QiLNQw33bLvrg8Z6xVfOV8AO1mTMTOvaDka3aNwAP4628i98Mf9YHGInJm84IuztWs9vmgjMg7gKs7xw2kH7CLVSsrPV02nHLhOTWYHHGsntAUeQjmEdAh7eHH3BCmfVYYcdQZ1Lo4eDTiuOXsHZREUpf2mUSjQFx07RdHzL3qLIWl0f8LxF7nDlTb3qypeNwep5PbZiAYEmeRAD9MdxTZBqe50XCV9uCJ6q0Su1QExE89jMo0XK0sMxF8DMGINRr++ymkRwaDLzklxOCuNG7pKZa9NtGHs+3ffUQTx5hZjtB/BR6CEFasDBXMaGg5voJr26FIRJIQ/gefk1KLA4MEN7uzlswJqweOqMzjioYyhnyfKcCnjuBityDDjawpSsxW9sK+b6iZjE6NJOJC3TVE5zQpH+Srsk75LlSS605OGaTssABxRahD+5hKIlCPBbC12dThi/gKyyN6LAeWjtu20M8dpRnzulUA3XDKDUzSYsFnwqARKRmmpLlGDAsic9KoSYWXCXY131z2eCR2mxZaSbL6i4I01gx0TRV40vJXfgS6dNHy+s/u52cMmcKR1HXv5mPx7+O1ggMwTSPcaxFkTbOv4bnu7qOfc1B+6ZDbtD5DAAeXhC/+JLOTxBQN72UvbH8hmHQ2XN8wgYBbzcghD0OoYOr8PzBQru6g669x3LiJng42ZkiB2koqwmkuh1x91pky7oJq7oWXwLaG0wyM6OOr6Yc4aua0Y0+xMF3DrtDHsZoJfvZakk6UJVvTp8vU0m89xh49PMirj71AJzKHeu/nc7Dzz2NwLISpdZ5+DvS5sFpC3x5zysvJZao8nVXMSNWw2YgQ0+I+Wm4TnCVZY7sX5mH4L9CN47Ofg5SZN7hay9YALvXbRocsbk7UdSVyWXczOapmDTlNQfLRy5BQv8Z+Gq3OjnzYIhxgK4//r7v+dfNA/O6MSq6be2YWBSQ6sJPFpYeim3C5WJ5tqWKQ8PZv8QRcTcrfEuu2MLpJERHRY31UmDovKYuiHPuoqMHu/Qs7jZfYB5XAf5ZkQI+GqgZPxnBGkUSwlK1pJw2ur55Zn6mDMMDH3cPlVpFd0pJngU75ZXgA884+oH/aF1tPeTaUdegR2OFFalGAam1U6tpxoW/8WdZ68/rnrtWS3jjYUfk5IUWbE5h8jhOA4GykwWxJN8hLTAPfg61Gfhn9Ni1RFgv1rlpbY4NGHCN3JKsw2RgCtvGlGXVowkQgF3T2hXSzKJMLvQREs/IB5PNFc0JpU7sCQhbDwcEhubJQAkQvzOm6YoVEbQJ/44CjPaPdxCwtWOn3OmIOtQM4KmGaRTVBdNhIBBfne+xIPjvRWMgV9kdcuT/cuWu3ELLMpLAHo76yrxenUYX270s6lqnV9Rx6iEbbbPLIhrZ3ID5LGOrT9+Y8SNUMWZcTMKH0yyVDVkvDGMrCLyan+n2H9MrGbqb7sSdUkpuye7Y7jmGN5RD8S77xG0EXiJgrfV2T5akbBNZd2A/IjFQYPRvcKb0o6sk0t8eiMnARvWopR/Dq2Z8uLP2F4LpFk6G5v0eXFu6IBdlqfJACAA/EjrdRxdJxuT0/F/G7rPK1dkwL9Ko98bqbxV/p8hJgIRA69lygtyIByFqGw/ODiQZPSFiSRQZVIRqjpX16i4R34Wiv+r4zoqxQfhvfv9mL0hSdpLbUMKgEq3nvwPZH0TPSoACZ3QQC7SOWwPQcovPX+KoUCKfCS96Gybb9TQzjVLotqIHTeihsgd7e3meGK0ot//oPsd3UrecoMl5ubAuktcwxAkxX5ucAp9924aKM/2tQiMmS4NFw+I0dl+QH+SIzU7AOeNnpaiHN6eb12kuILR+AzUc8kXQCv22mi8K2LPP8KSqc0dpbvJPgNtilfZAtIlOoUISoAWkWpV0KwqfGs3t/mKSYQQNvrRNW2sKGokIrzvuZQqDfC4yKqGd4R4Tj2r9dw26NKAvk2KYHl/kt72bkuaD32oEBVOoBdg73dQDCwG7whVvqOXEDo2gNJiYJlDEhvtujoNUpd0bwrND0bHGfbDCM/te8Lkz2Gmg44ObhDewqx7soFs5oleBzdfe0Mdv7WSsF9EjOMxvh/OYKIxlrqg6C881sSV0iR+89cNYtyxmKTQHNq0HR0oYUpGAQJGW49q58TB3C/U3x5XjIurEhyfc4ezrLZYWZ3cTgMO1HjCjTLSSITt2qaQqlXwRAofRT9M086rhOjRuKxwcMKSrttJfjl1hym9Az4E/GRXKD/dBDJvtdRmcRZnQys4WWfKAd+UPXHhvTuzF0VWyctZpTcrh0McG7cgAhV0CMgIK5wqliAY0pzBUpmX3OkTUmmSsVyGDvgZobcLNLzaCLHlh5khhOK5HLNFJbS2AKFuX17iDpfynHO/CIIUA3xj9HPqKat8NHPT6BGXfwEMgU1TicyC36/dBWtfvtY3nuBMSRafWKZytSo9iKXomAaZL5izPKjpheIVeWWxO/UG2a5AdYo7Sqrp7hVT9n1fuq3jPQhn8AFdeQyXNIl1ldLE60qmfC8oYIG3+cvOHu5o+MBszKJEs4Ay31H66jWPKVgRvmdJiK6XI3zUrMZb43JH1xC2EV0cwaVwnramTMSFqFjo/Qzmr2OFvxLBnll//UQaAYLsmsbXYWynaSXYOTnWhkRHx4nkC1EM9iKlKjs95fWR0+hMbPztK7/ggJuxZQenZApQG1ZRVhtiRXKyQxry48DYLlw6CqyZWXcmECUrVFCPLkDWFluA5SW3D9ts5nWvEo9v7u6JzLN4FTVEPygovD5pqaez+4xHbKGQ1jt0MVC3zGooTbBry0dzE5pC3jIUdCUSxFcDPMeouum7QpPfk3a1D0AdpkWDbbVhIZD08nJt50L7YgRNfAEmH7sfrzJEwG0MGAUgme1BLlG4aZA6Iw7JT+xYkhsbLzD1CozfiODZkW2XVLT1Dutc6qZqNt0giGoqLmUxwWTy7pkuVbCdPa6RXo+uO1pSTNxDBUd94X/1sCMTj+FGyIp7P8lSrGx2q/5kgQR4hActbH1v2diySUH1pK8fv2llMZla4NzBFfsxdgJbN+hzVhu5bW9B8UahIUQxLfkLPDi++24/Peoz7T2/PdxkqlHJ3af/kaPm4pjp4F1xdGfDm5JbUk27b+6l3YexS1pPtFvvK3cwHdE8Meexpnkrz5KKLTgBt8ej4CI9H6VAsRchLtxfONteT7EShqN5uR00RIbMD9jNW4y844V5DZnglrL8NzfwJyXbGjdiKjivh8NtSpAWCAD1d2+lrAH+mNFRUbt46SW/UpHTA7u/YyqgSxQ9fl0h9d5s5g7n9MoPBbGrER/ctkyuuDlalpm9p06xM0qhvDcOb6towfy1k6za1ICAtZ3vWY+V0j0yYQDr55vvCN7nApq60QDnPMk8uMv0wN94vvQAcGmklssbA5W4D75Y9w2/kbajBB45nfmerJpzMGRaLW7ysv+a3ix+xChTRnC/UQQT6pkfD8KZ/tEJSgIvcezhk4d/bEaOSWsqnLZRQ3au7m5kGeqzybodJCgU5grfbyPsMsUjs1txbCTh62UZxv+w/DkVXhxznvPNKvGNce2DRM836dzgMv8VKc7voQVp23JMPSR6vb/7Ob8Z1JaAYQy9kY/l7r+Xry1UaCoBb/FFHpn+Z3mpAsnHiJSCyD8HHAAIOtybbMKhfBzyTDTwdrLs5SCxK2i2EDbgozCZwbQ2UQKcDfpAkkmgwwth0KoHUJWzK6PFTylJVHLiIgJCzb0piPd2pDSP/hLLqONO8/Jkxqx4f8r9pzpafu/wMLdlVydhVL5R9WhuKHiOEDKCiSTb7FSC76tCC7UOM5K4ZH2BRhHzMiyVAE5pdwe5uGNXv7tvTxSIFpZ3k0exFSgL3MxeK/GUmpxQQpJfpefMWdg8Pg37KsbDZJd2GuUnlViM8d7Q1x/sKwmgOZd+94665B1KhQg7sMRd+eEGACmUnxddpFwHes33QjM7kiIxtJUEx384bDOKFOunG1GZi2ziYvlTOLbQ+O6GLEivipIGcBtGAwE30Y2j/6Q/yWsA/nww6pBGi1Y8o/nX3z9+S+n7O/ZLJTZRfgoiEvO6b0WXOB8eYOQXzjOE+tekxwGTrUuAcK82FNhGNpCplIGOjrN5TlCjCWrTFAU/4493yKkpffVueH2WmsPisbaH8r6cTQORUd22XICv4yy1CHoQczg7ZzkIe7heWxP3XvQsBbT7sm1W8gz48WgEt2go2BDITVUZRj29L3xISV1C2hJu7AZAKXTsAwpN9GA8qBWYZz86f/3j1j3bgpzlaHdY8HQfEDoEUao1mmfV3FFurazEsV1c7U7yvWzPwMssZ87oDe5DzIuxt95pM2fC1GcX0akN4T5D8xyYw5neSphyuRgrk4d5eKiaMw/gbp6arfh+YcmiKPPf8QSBZavbgzbgCTcJ9SQu72fPwaTf4mV4VAHGalyvlxgxRLSB1BGN++jWLh1CJjJqVMyUPN+WRSCtPRzvcCvulNm9FngWT9sLXqH5+72SlvcVQXqBxoiirwNLYVYwlo3kFnu0JNTld1nihyhCBrovqbLzXZ+sBWnLgtCBifEH6hBwZjPW9cxVPmIdvBJV3u2XSXBPTnVdky+9O/2cY1noH/reipjft9k3czUgHf7xwVIOfYiY2owFCvX8q50CS7Xncf9cElFT7CaqsaBjyauwBO/HgL/0HrMA1hAOjldpGgL0Wbz1AW66fzlV0VkEIW/JBiWJnCCB/FpQCRW9f5RRQdEC9Jeb/QGGzi4u3RmqvnxR3d3BUv2HnycKs0fb5gPb3s4SilDpblekWASnGkR3lnEfoBLGGYmLs7OQ2EGj5eUWVkeK6EiZfX8pqu3I8izIkvUTv+ezEty1u7J8gjdBUuPiH32t6E4QiCBJ1Ljpvbs5BAkwYi8eRa7UReYEkYVmVL6DKOswnFNUuORO+oY+wQ1ENStoGnz2arK45wo4qw2qYXIvKqI+0sZwgQr+cQ3FOTNRMR1cHvpgxkOj7HMQSKAVb/nO7eNIIkoha43H0P7Td4x6CqDqzT4hypYHNsjeUDJtcks28rsabetEgK5Ki0qTEe4dxEoqLGJ07fCQiMm22huSExfEaJwrVXjSlLHjKxcqIiWUAzgG/VQFAhkVZtjuxRj7qlP7yzek0sBG/KEDjmpxJxTwBz/7w30imsuysgz5Q5OtnpAv+W8CX8myGkJ3d5ZwhF59H0AmDsN0wPbLLJgpKSqtlA6vaByr0QNwjbI4WCIACmFujSUyXGl59gVsfrusOd0Xy8Bb9Hu62g8L5vzdwCAAyyskX4NrUZQgmYiSC2jVRWmt26qEMYIWZb76iT20N5dWiNgNT4HnJyPbKkyfJq8dSuyXhzO8PxBaFchfPDrmDiBXake6R/uFCkvwBdw/iTm2E582S4hdsiIYWHIhJZ/+S34A1upviOe5xQmEHSeXlEh6vmWOX+kVMV3ZElU3DVmT5n+AZ536QvXTjVneJXN1RMS5ng9oeJ2p7J4Dqev5nM5Mi4J2+2yg7ee2nM04F9/8j0agvXTg7RDxKdGXMsM6KDdl5LcCw3MA/jZ+09WduvbqSzXhDW7hi620B/JXnRdY9pqV+wpKwUrTaK6pTlbAyMhm7XJbrdtNOWEfKtF22LA2DZTm8BR8vb0VIunbxJ1NBqyvGUCFdKr6Lmfl0hqgupaTqvfF/RgjrQawYUPuRSQ0wsQFGcam4GAgGrCJlq20LH4EopWrHlapVRqvOV0Ubakiuz2AHG+97NRkF2zQwkv6pydb30b4FgF2bW/C5uf1dSR8rIcStzTuGEEmcQ8WRX1TEjYYvHPm4z2sf1gxRLAV4DqoO0UxRt5jae6Pu9cK4x2L+BGHcTVVPi7exz1EVuCHHjP9Pg3eYYHQFoiSpPzTd/aJHRf00pI9LEoEdujk4oYh+ljUYkid3Trwv0I6MFwobEVTePJo3+R6fBDeOEMCof0g2ysaA/7hRX8/+8uaekTTP3T3ocXdNgQ5n5nm35cDVlNbbGfiyi13zh67n5hVDzSK7cxZqJh8HBmwWF7Nz0pvbM1NfGSl5pIrXutBb6CvdgrG/VUGUmZk3NCf534y0JPK9ikKCg447zay2ypjT5JxLwZXE4kfWXJV3FRnZ2k9MtOIunDpvlO57DWfr35Q3dzhbx14RkCcAsfpwye9L535S43mbUbY5Pu0OmrAzEVLC6yaABWv0qYXf4ZcpJcxPDAScmX8oM8iLBB7lMHbFPh6a1ciO0tw1DVs8zzxY5fa3ckDP//WWNFCmUdwDRSY5eG336agb7d5STj9ShBhogq0c1vTA62L6iTzcw0myl8FJnh8xQIqn+Vx5ajDMav4vqXAhBSr77kjySAxT5L+xqZJ0ZGJa/5p1wdrKh5g36YevCLyCgqHBERk8QHc4w0MWT4JOe3sN8jxh+/HBvlWi/ne/eBg6ef52Q5wyr9jbsFXZiRHuOy8YMyJ67o7UGgHwubgYKv4tGsrkIo+j+fJaHg6TPj4rjHPG5iN+DO/kymr9xTG35IEg7olfNxw1gC7MQdjMg9IL+dBnJO+hc2iQA3awE1ePpYg1VDyc0vG+eo4FvOMCJixHbIPrzwxCBaaCBNd9NZTodTlqn8OAFEDBpDiXNJXRPM/aaws8nBuI9ggEOQqSx27+J7BmSNcQ4/pjy160v/BONNIj0zdz0hhL48An7fgTeLtl473w/DqkQbEpu4cs1DEFyy86nftIV/SGU/rHtMvpuyF4xX/JVOXU54qAJX8Y2NclO/PxHRNuN+7JAFCru7sQVdH5K/zHQyDEUk4QiZ8AfvKyUOYdAHOZZhnVSlzwMOfjhxcENYRD7OciXyIaa+rJoIGPxkzrecVrCS3To8pg9rPq+Q9EqJg2dJkvWYzq3Ors5oK2f/zHWgLjss6pl6FE9HU/aqNuA5WEW+xY4PRBiBtjlFgHLo/Lazp+bO3Aqrlxpwc52DGSRDCTdpATCFviyxlKqVsbpgbzUQvDCjIUy/Av5fWJQ0Gb1ix0/6eS8MNvAVAf5F+OwhezLCzw17TD+0nFcOMDiMqmgJOHUe1jyemDxobf08aLXn3qOx0yqA6c/RlnMfSKb3RHGociqDTLnPo66yH8y0qqFfb8BNXdprpUv5C8D1/dMC2vbmM9Gm2PRYY1jIedpaIjuWWWIdScALEkcx9JIsSnAFcQwM5paD1B4ZVIm0reZQRjB8i7uov5XqoBjLB/ObyQvOezb2fuTCsh7sOV8HoNqFce0+Yirx7ntADHvl2i60Vw3FwbRD+ZrBkZCFDIi8sgLVnwUNK/m2VF0st+Tnn3UkelYutyAnB1tykgq7s218ILE3g1JyZky3rw9zODaQ2ufy+akR0tNmhjX4pg/k6xXT/JMafJqJA8ysXhZa7DpW7EKq3Eldx6QH/0dd5k2M0z1iKSGZFuu8oeQqI1f1y49YAiwfL//ka/fvE76Wk9/RxSTjCe+1xAd641QN8pU7jCDYFOgsXL0MW83ScrTrxpnayVpoPDFJhqKz9R+9kHArHZYQTzRjf5jTeMO71YaG0QdJ+dQeuhMHuibFOMzkr9fkUNzvOkNWQcrxFfgV0M92wWnfSE1BTSyZYZHvZ6N8uvndRMe3DUcE8vshc6RoXm6xxaalJLAUkkpcbP2oOL0mkkfauntvQRrQut1UPytadEnsknVFrlikcoxB/ZzHDHjIzsKTbKdftmwJl41Y3LycBbMXDqxV7UZNfb3/sTqvNLrgdF68jqZa9moOF3QUVWGqq9VwcCaERiAHwBBD7JSuTqhIsaeCGWsD0FORiwb5AJlvGe+/5tGTuKFhh/PC8A4r8hnyaIpuVR50wdcUxMJJBb6aHotWF4+1mL+7P9NQ7KAcVs7+q5LU0VcGO48Hew4KNCVIiz3sroQm3JRBHPuemMJ2UHzCd3MDvijxgQAJbFUbD8n8vJdLUHHAYyoGq3xB3ztxCpROvqSi9hlRzC/HIr+i4h7rj6YlkwemZ5DUSTRjxZRHtpl9UvDTJaKt7Na7GGg7fd0IN25XEP5ZjgrRS8qsikdALH4eHrUpvjbDVEgmQZwJolzDg5fr2De9bHLXwNQw20hMYeuQOsvjv69o7OCTioeRysWPHe8hZxBYankRbHPUNeXNf1jV6QAiJAzLlkx4ituX9K33MRm0wN+MM2vcRIr8Wn2DWHRekvjNOfTMa9IJg2ysbs0e0OvllbZwjaycF56JX5JhRV5F8nadJly2juouUX9zkUa/L+QffJXi+2doXaMs2MBuNcT9kpHDIpf5IgES/3XXm+VfNfmK1/vAzNd6T3nr5/A2Jc/YrldPz0S8o+pkKY9NIZ9byaQiDA1MaqsdA+kQkMYcqbeOPmevSO3oCGUgIiELW/UpmLeRCf2/Qh/7Ayva50xHFc7bmfE9Og4xDLLud+zT0MvH8QONEpLgRrLN+zd4ZgZvq8WBr+EC+mZsy++WrZzlBJXLZBhfBkuxFAixfHHgGHq6pxouT2cnCb9WufJAZm8ZPzsF/p2B69OqEP986lB01xD/6rhcbWHNlicYYC4KhqSLgYrogW5t+wh+qSgDVRPDQEHuRXryRxyNknPFFbhrDOqWKdBehpjtd1R8q3SRRjR1vPlkRQ2i+cujD5pNZwsn+kGu90ZZnRILKJvmtSIxJ05OlX2TsF/ABX6nZWpkaDKz6n8Cj/aziaS43DepaJ9kCG95VFRuTvgW3HmKa4PLCNDq1/FXpHwHA8rrBhwOk+nZrWj5AAeGNk2Av7ROVKoHLxmfFx4dvlEernymJndMBIb0Tne1pcFJHnVhYGSXuFoZGG0yp5HMBdDkWV0H6fWef+jJYmjt1ipz0OG0cCTBiBC9dRxd7gAAP+4Ij6v1oJE90iKYBxTZwmfmJ+WBRE1nxVrgxrsHBJLqpqCiXD/HZJtxPploTGfQWY2fH04nYv9HzW8FN9zeQi0z0bouJVmY3By7qNbBIFgokUNXyeo7DVHhbBuypOtVwH6q0sVnzKtKqkoCCErhGfvWVEWJgRsDtHzC2igJCwaukHjV+UaQHrH080ZyY5LqaZMVQblpsFpfkiIwYaCccYSr6ccgXMQDvttsIDVM1O4XRJc/GHFRixhDksjVt0vJIuUES/foc/LTMq06MX1WOoOisEqiETEi8QGxhlxmVgci5PTXDQmUineEQ4PSzTJz5siQOtYLoSI09ytf4sSjwXea7c27t/z5tC/gfS8CHzXiqXJihk+XkizZJXecbxztBFvwlcMwEQ2PVwQXc8xA7le0V/VABZvLIRDG0z3BSIiSRLmduHfvsaWuMrWuX+dkPFFwQxIVb7O5GZYEycw/3v5Z9w6m/yaQwhaOXuopzwS3VVHC73XIkHwerlf8iMbF/Dg2jXm6JAOjA7jcCXM/jVM9091re7q4BwzH6RMbSQ8e52FojXWG3/N1QGoMoSqtGUEUgKu0EgZwwoAnVLDoioff2vULbaG1jZJKnFptmj+XvWj+Lah5Sd+Z1gsJSLZvs3VrRDTVX1gJ26pYW9cY4enmn+c+CPcKmK44UxzVXi9K/EiWwTinBK5r23blbnwSuEaDQLHrIK3CU8TO63h+qrvudV6sIInmK41zbnN2c7TmiyeJKeYqYlmcNShJR0FAIY3zuRHBVof+Jle1k9zthxDgJPqoAwLQtnG+fFA4H9rkS6VqKleDzyKc+QwBO7tb8y4BOWtTla8Rza0o+gstsI6j/oNu5ciDSE/HNg+zqEWJ7yVyAzO+2BmpV75L0crm9rIK+78201yo9KRfn3lufP4mSrt0tRb3JPf0gqwxZeuk7B6YcehR8TFtdYaIkomwBKmrtQiIDL5rCx3l8g1NePOC190ESpIWpsjNgQuXDbB8Ig3ESJa/5HLawdor2CI54LulbAQFcG79HNrt6AUDGRKN7nvnIshNVhMOBHhXQWIK6bA5OH5MQPWLJHiUKdfrTuOB3iNEeAnG/JSkg+g3VgiLoitftI5GQJh97PRiPtM/dI+HqIyEUWvNTVkX+5HGNSfbdm9TJRTiqLp5HMVBXtRkeq/GLu4lqYt14C/fxMq0D9KVPtsNVooZh+SW4pc/0K9FVqyx/i/Noze+43ad4iDy18o1fqXAX49hLElZoyKENUXnicZVrWT4VA3o7Fk/ZddebkQF9ws7zc+5cC6BNiPp49tkBQaz/YXTB0Pbpro9HK+SOwP6bW5nlQNpk45skIcG2oZSV/NVSTc7LQ2PJI5zhtEBC6LXNdjujRTVADa9raSij8dzrBwgDxiQvOHS5nFQPWzsmAVWOp75EXZcSiI7VGhqdGphnGtExNyy09KwQq7dGpL8XNaexxNbWtHaO3xZKxLkIihyw3QTrS/mC8+GLDkDFusi3rKzjS6Sqs/lH+5yQzTJh4US9cB3nAA3I88G6mghXJDRsWV71zVWpMIMRwviPfZf2iOfxhQKqy4fOXMxgjfPrBLhXg1+NH8qcIRg4FRhMKQVrfRmLs/ZK8S3lZzS8R9zfCsgr3uwnklNdS2kdfxfuiFjRJcwTRbMx05WnFmLB6e1F5SiJuW8wvos6Im26fvchmeEeWIq3QNXSh8aaSV3qVNNoBtm7rtAgAtuYxks90awCVsr+t3r0WIlQFyj0D+8p8GM0URnB1XfiNER+3RJzxsSLZVMmQ0/9YVHkJnOQNohFQ8+UuOCEd//Su+SiWL5tozzroF7iucWO1Be9L7jk0utmsA7syUcpxkiWxCwDP44ItPOQESBHe0gF5VkQv/sj5RcKgjYdbHbnumDpcZT8ba7/NUEpYSvWFhgQOYlJkATVetZEsYVLaHOTOCFlRKIP9N4lQXFIsPR/GT4Efx0Gtlp/pcaKlel6pJb1DVt/8Dlss2V+ph1J21bbiI4nRX0xN3hPzkBc25Wfs/uhhWryC3YR/FeNKof68THpMrkIIekXyGqKjcTbyI0LiO5RaMz5l3ClwPVEzSvC3ICESWlNLTz04CT7b5s6jG4tAhK8RuNQTP8UmGBKeouaMPM5aeoPR0F9IUKrm2jexF9uaAEhsimDnyo4MznYaN47ZOMQD3yGg5zFy1BMbRrhRSO8vGS/BdA7AJnY1hC37qcSmF/o9Ls5rQLFwMQ2PCngpf1QcSoVAc28wNxrvj/zPbEUWKss1oiwqTYIxTlbpjWXnOxbrRBN9ecmtXSzRbmlz/xukRSjk3mK7WHAax1K6QD+yEuXm1mNy8dEvPV7kMpMe/PSzH0RzQnGxhnq6dKDbVEnfRuSXKLg3WQxZPsiezW/gL3HzVB7rlwew8HuMOmDmY2yFCPK1tIhd6L0srDH/aVWOgG02Etsg0oD3mUCry3j9Bl71pVavXnHpjM8t5ICXd7KToSLve5n6Xl6TEC7EkNUKa6I5uHJAKCk5SOK0Xzq1hYC5Vn6b+gY7XSPyHfwenp6xYonC8+WuGJ0zzH1E34fYhm0jWnpezx+GwqcnFkimE84igPm8wiKpFUud337NhvK2cDXiqm09S+WGuBm60O0EiAVwECjz9bilmOb4LP8VHaz3HP6ss0GzuolT/N3XMbFrndIf2rynOyem4SDjCpetj8/CX7m+c8JuD0qRCtz25678htg+dIVBXWYt4cPK8CY/1P5CJPTTZZNd3s7cKU12Ve2m5P6x2O0b3TqTEwSKlovmXbQvCzU4jZagqJRe1Klnv+s4CFnVJw/W28C2OsfBMNrSzZrWVt2Joc2HpguI4RV1AOBz1C4+0oKmeW3/xGwko54SO+XBRj1Zk18iR0Gzrqau3erVsKibPeEMOsM388szFNLNzOI6COqm2Efw3Kaj1oUSSB9TwFBgqBhz1daHQv/QdNkW+kafWy68rana8gWzEkWpB/FshKZC03aOrOu3pcI40D5IJ6n8Aqglk1CBlmG/HkYcYVr+788mJJSELSYF8/5NTq2v+DwWzrSB1vU4qvnVN/m6D8hyyBL8PRX0+zce39Ns4EI8yHFH5krgrgXLsCuoY2m9mdHYxD+ngsyEHLwnMVHbnEp/VG75LqYbTXnlDuREdGyhg8p7t9yZvBOD6OtqP5+waWhLhtZxpouFoe0CkGoQLLfifYtbL62Ju/5kVaEAifoTVDqTw2D6BnOyoy2nBuZjTIvcWOS1Ct+gYSIkU+hX3mXFfj0fyodAcomM42xxL3MmrZrigvvjesT3qKKiNA3FWDGeHqdbdonH7NZ8xijWLdIMS9UCJzg536v3peTpwoUk8OE5+VLaJlVJFPDYECyoVtkl+5fgBwb6rB3JAP7mppxD36AnKew8o912lig2SqgjgaBW84I32f3Wa1OwNbEEaSY6uiXnOSCZFvZJR2IOs3JI3OBcpiGxR4i1lZyFsvNtqW5HCBRNhQKkk6jO/0v2dmg6aVj/tFkN0W+3/fgWeGXW2colp6UcsV9n46yBYEA6QjEu8PUua4VfgZtzBY+9NWe1116cInlzDoWlYjx71+hxAWBSy2QtWe2RMk/YkB6NKvVZwxjorIDMwe6iLIUWyPvxMiB6qOvtwY1jjKC+toq9Xpfr4OyRtwEkNvn6c+MPsV4mDNq36+DOly15Jzp88uVZixhPHoVnxmcpaWQa9ZSXwIJmciyabHqghDXrQBh08/AvqZplkkByl29nb8Hu6R0u7LJeR+aeWXqPqAi5uJwvmHM7CRzlFav3Nqt4KOm1m7BcH0YQBwWS9RTk/M0pJSS44zijKndyWKAgO7kdxfIfWUZN61kiUXhe+BGwsNC/aRXu7zTQaSXqZMZ3mUB3gCJsBwanls5vFksiM+POMZcjx2Z2ZCTfry/UxQfAL+ihDtg8SGTvF2ZMVZBQB2m23ZhIC4UQ6WACCSILJ7IaXoF9kyWq7hVb/u2SxylEQR2XwpDEJqivRt/bfhwdpa8RmiDfrZfbRtoOEQRUgeo+eqAgJKG9dJcQiGc8wt4WmfqS9rrVPol/tzEaEqNTvi/Jb+zCL7ZKxoMtOUc7ot7g7qZa40UD9e3cOJPBLF6BvjekwNTB0eAarfmdC8DRimcITdmIE2u3kEVpHIFvxtHnCu97f5vB7i+lQsjfRiPIZCA5WaoX0XZsOs+7MgsxCIQv3fd456SX+q0ucKjrXgOf/xzg8PD5UdOXLshj+AwX/FTcY7mkOI1y4xz+961+5Wp1b5hBCFtK9UR8F/NP6l2NGUAjZOyhh1XgEONxYbv550qjelDi7lhYxR6DiIY7m9nUJoXlSbcw0NF7iNc3jR0bPvnCFgW4FSeIFukhSY648kXdZwD3ojhOtEIuVnx6yO+UY/s444NN+RxI6PDApZAAuQzqRlWD2hP4ANvD8KHj+DLXO6r3DtrNfbEd7YLjo50ASoPp7k4bO0doUmV9uTjoZywPCO5WRGqw5a8WDtTM5Y53aiNVIiGBJHrZ3PZcZlPud6f6jOPHla0saXapZGBeMWmFjuZnK9pm17nsoDU1BWf/QTFdH9WcbMfR8GU/D7AyniNvZaCTLMMSXGJMvlR1XCxJp+N9dCF1tGb3xE7p7PaDusZOKHlm7SwO2gW4BdWiYpxRO9obLPyuVvqneCNjQ9lhI1CvANd/CMzVuKqKW0ATgeK/EN3oE2bE71wZ8NhFdNDJ7VlyALyQauD5SNhlVM8Qzs9OWBZIiS7rix1VDsnWaSto27tzWIaamabongwoAtEoXw9aQ9Y33a0hcyc1nXT3GnIV6TNFMY/9TOhkUKP0js21xmVBd/gUah6IHCkokFqLfI8B+bxSyRZIqcvmT6BimFgcoVqHmXzuIwoSn0NkUBDzNKiUvhQ8bOCPiWRShk2n4F5KN1JjSYp6uK08OzMWlgYe0lOoen8xwXgFg2VU4nHI78Pd6hO4wbMjJn3oJHXtPGYOO1qxU/aETG7e3x4Q7xOGd+OiLAJ/MqXMZcvHoBXvpwhMUPnAwbed4QGo9thpVANdfkwy+zMLPYPRmSlLIlJHzjw3cryVLFVHV9/gtwuRbfeqI452GvTXzWoy/xVcGIl+Xu2c5llCjHwOheUi7RIJXyX8CpG2rb/NRoeeuoQ1UYg7e3BXJDzq0LA0lNnLqogt0rz7lkLX4b4PNICAVFijIowT01SLMdlt+/g62kZKTsXzAEYNY8kT91QQGakftGJH8UvhkzdZeR88LcGjKi7rE0goVf/WNzNX18fMcLZGt/rnHdLepvL1gosqnLm8VrF00bx36tkbtP5fgNBiQicJjdLR4JlVJy0s1r62+V9I+RUNKFdXCQa3xIx+Bv7E0MWaU/dPko2ozEZW/F2aVeavEBrsqBsbaZU4fmM82etsym7WKQmj2UIPRuDakIWzl0Z0ZI19eId7djTllvgUAsQZ6WZdBdDb2M44znOcJfUWZtwZ2Fma7Pyuycf4+Kxpd8mMZhwKlWOzMq1ucAUx7nDWsoUeOFGeXKMJdGMrni8M9tYRspNv14Yyxnv927t41a36i+ub5jwrvs1X4w1BW527zAr0B1u7mhqM9/lN7Z9RIcX9yo16BdmCnbtzfvN+mYnPBGihFLlhGvtkF0RTF7DbABL0RbHCug1SG+WnmvoYDNNLJtoC0vUbBstYCvS7UuOtxKZAwBHAAvizNHkyol3ADLbTjFxPO7iD/uOo7z+DSq1uvPujII5Hdl1Xm9FGHmp7Xzr5PqumB88Wi3PDg0rQ0+/HO4XDjSV16ssiP2PgyLKn1Cd+NWGa7UDMkUIA7PVOkgC1/DKXfh11+AibphS808SfUSEfyAzcLtpt9I2GJ0vu7t/amiwXJmp3hBtZEnnbGSWsLCpGA/ru4bGM5H9ebGKGeSujlccwEvR4rz8kM/ECwNXnXIS/zi7LdWBcVp6eiwG0AvLdhTiBsib2j5fWTYTCZhNsGXhj6TyfoT7Ul9QwrfO3vAGrqCmVhTXs544X/JK3uumAnZIpGjIpkrRcezNBemMePQVegIIxObCNBTjv4HvZ+vUBEO81o6G/cAo0RfM5Hnue58rR/NnAj0id3GfxyFYWpD4PVmNl4FEn+5ohBxHy0LpOrbbcPaBDnZVAjlpnCq8KNWzXaLz/JWGeRDLF94wT35GMqrbdHx3QArJwjfSPU6l8ShgNnXvqczHkFFb2rs/aSWWNjT6utR26v8FVVAe8JbLppk6+dmZfX/zr2DkYw6jGe5imfLa8pmU2l2Wadpy6Nf8YpceXnzlWrENiGXBBHJnihrSVKyCsVtdi7/jTkB+zUul9EPfuCKmXqZohy97Hu7nfX64HGwTklxu4u0tuuKU7IWr+ipRU/Ff7AfFWEKmRLodeNUdW+oOsLsFeC8EkgR33LFzrrbZOCaO11SQoddxo3Qilrt6RtKSZ/BcJO62eBMariovyokKnPLjMW226AARM4H+HnuZ4O+Z1Hxfiloz1DwvR17KrYLL+j+XzlR16u5tdIHbaitwQtcse2ZZb2rnnXAn3cheRQqjpO0pib6WTbuTKeDw0dTdosa339G76UtLUcdo1AGJn6dXY6CX0tdHYO0ezvNOLbVQrhdX+9jmoUqUcgjnXOwxtIjSKWh8Kl5niKhWeRct89ejL7VP55O1pRWwcAcOJHa21Zjuc/4Q/vCxsCkQBZ+VugqJ4klMSAqDiOVpXmO1SbSJJnMhQahrjjBlXv3R6EcpQ0dKMR1mN76GvFwj62J+jZGvXpGkB0c93EzhwcIHXIaieVVmgjXxUVoh2t6AGZBBIt9+Iqda+szkqHgPuXCZufQQcKY/rgPPvVH1eZDHbTFmXEy+mQi5IfuCgVnn6VpCDtt6TU5BDR6evwr2as1okKzR1KoDqc5Oxkn+F3nZhJtgayPAeOeHox2kT5Fali5L1Okx4Hkv6taQJyLi561ft3QylSsTW68/es+HIMyhHS0vzGMh8PCrSafRFeHYHSFTZIaWXkigVCsDJXozb5l8uPX4wW9XsCADAY+n2rEG8Gz5JxGSjd2oTHbAxtKvj0GaGbhvS6NBqGq44BqOfLN/uF+m0jMJfwOgHeGresp0CLuKN8uGEyWYKiTDNq57ROxquU+FDCSs38EwC9Pv4W4MWuv4t99ApDmS9XdyLeT+dR7EtdUNMlXLU1tsTavkSGMLI3Yxed55YyZNm9jnoqUtqVW7+hkFxZPn7L3XQDvq/rbGLxC0YQPUMX0UEcruTz+d4IPYEYH8G4PqTqai0SNYz5thaPQwzhfr+otXLrD6O5QIVuaLlbYstEiwSmnSBmQfPbmKKKqs8uTGFMV/akvyUZjgzhdNEx28zxP95oiFI5jsK1EcLO9YliTGzgE8JheZzLGkocrNEG0Ldj6Th47dASzgLzRDCS2Wj4pKLWec3nkaG09ecY4KhLZHE1WDTneK1HetJurhbboBqniqJwwuRsbmxNDAxzE4mia3gOMktjzjZJoHd78cZOyD7xOyuUoAiY8bWlzhUEO9VI80d59InBuBOxUQPIDVy6PwIxvdIkPTiC/ylX5EV59UgvMAhblhmdYQ/19My2shGIclV8pRmLs3CFH7GhaXOPL/LXQBTA9/87j+SdbQ+pPC73NGuXA3qeAx38FRdnMxEPnt9gnhehcNbpuaslnGMp19EkUz1XDH3UKPPG8eYRE2KM4DINPcfxURfYyZDjzNtWd2YXlm6U7G7JA3xZ7uvmqAN4/yhE/Qd7ZjVczWJiYvP5AqkVkUJUT4aiRNwHymjOiuuGQeng6te0sXNVV63bQurrUI155JQ/GzVlJt9RFzQjKpjrfM+QKGqj8SptOXilxfnqZxvL6z+3AdZQF7aMNiVs21rqiUy7u5+Pbsa8LuEe4U2cu7S2cyL7ThGQBrXQafg7Ws8gbhwRhPgpSqrpjj571ILYjR3HbTFG3PPes+2Lh4eNR2QDp7qHoN15A7CFGdSM6T3jNLq+AT6SOYP8rnfYU1y5E0wCMH+WYu6IKupt2MpYAIJVBadRbPxNsz/E9ZG2Bsj+dIVClngG8YAg/xJsrn5UIVE96n8RPCJhNk7QZ66hDNqgh+shW7ZyCxT40fv//JCrmPtZ9dvDpwXTTCSolKjk1z0n4EPQmmUXjtC/SxF/jxvh0dSUu/47EW1uQWa2qTCiVV4CoKeFiM7G4NvWOhDlSKzzpIl+wY2cv4hc9SgosvCeLb2qjIUJljpM4vBFceCYxF/9FpWC3zk8o80Dthb0iP1b0hPHyojqIOLS2aTqc+m7KrVSDAKjDUbzZ7mAmXj9tYU2nt1x0bNM4gkSgEd6ClQhOsPnzJ9lWFjLpL1BCcNdiwxPGVanoA9xDLjHSRqYjb7/Wr2NztMuuaYZqLojenrizX5SEToImtz9+/MTJPhEJb+e7lhh2VUnn59ZXXDLj5VeAWZX8gGc/v9ni0lzWjRgGcssik4oMT8SavNMBcW6bYPP7Qm6zX7UxalhwXZ5fgjrbqRD7e3wBqc5nSmTjWDpHTSw4EcxhVbcIUsLbj+LY+72teMI3J+i4O/6kYwr/joiCczHJ1aM66NtfX/Ab/n4tiWio/rj9KivpgiYl7rnO0jNLc2EG5moiUGuowMaws9rt2MkPi3cPT5zgmgaXtKe90LmcYWXK2ydGDP8TCblhju+niqYmSB0gRnWSYEC58ksqjSqVNf1NYUyg95WDn/x9vJswaoeFp9WmcFt6cuA+u3ETXWW5rw63HGKGoP7UO4wJzGs8Y1/N3YLIbWBqMaXKIju+ezFWFv8RUOMCkNhXdCVvpjqXaGkViWwqVTAso/2lFYcBAke/2+aAdmZwBXXcU433hhADvgUZWlKCfmoRX0wHNKI2FTPRsQwxtVmL4ocMpbrLb1sXpMepFMIal4RxVaPYV5vjnRxvYnOzGWCFSvnZzeztBjQbpe7k3a0s56vDtN8ezVh00mMWMzc5PUsg1dB8ELWh4ULsvWQ5WUov6tvhxWerVhVzSm0UDUeDJ/052MfRP390xm1YoDUtfpOcPTXMhY7CoffD0+KyuJXywf7jaKtccKX3iYOVZfaUHUKWrqIHuKqD4LNzuCrTtFh5NKxqW/+/U1dskvxfg/qyzFqsj0TmvA03ryMF3mMqHLxxMLpr2Z2S9j4v4ApdivHD9PDrekcyNkZHvFrApb5UdCHCAPpAEzc53+PS9dabIi0XO/MjDKLpUkNwNbpPDjUUSTQfGS19eygweNPKmkK/bQO0kx6omlHgKdO8o7JMly+OEKF3KuJvqIjIrYKTgVnHNT92RECYUt6ZaAFWWzeBfzWPYieL/Uk10CFvuAR7EqxX6q+YnjV7PJVuV4Yq0v48YOPzNDXLgMRain0CgP3dXTA8lrtyFiBQu0UXk0v/babwqYxc79s+cO6msVWUo4rZnu3OA8QDwvfCUwQxG2fg/gMqRURfJp1gd3v42Zmod2OADdKhTqDxqLlMswcKst3QMOYBgt44U/0j9YEwZClyGZKSTuUn5SipHNZ69vW3dmPsUq3LD/2m0MeG4eI/TFy77pk5Qb7x8Asx9lViQ0Yg/NWeSGlnlt7vpdTynycdSl+UEkvRHNPZMmE9fwi8a5b6qF9qQCg2Nu5RkXS+vrfU1UbXUHWwy0hsrQzMKEwsiDWRjONPV0s/NiJ9rtdLMJCKHkpc6V22Mr5YrhXjvFiI0rSf2Ngir+N4O74J16URpwiuJU4wXqd9H1YxT/gh3s8PVf9S6PRXfuTUukuweTnbnjH9GhFf9WNOs9zL1EeKhBwd37GXp4jMfn+2T9YD9XzQ4oKU402/ojzqSru8cL+Jf2OBWc+KK83wsi9VB88oYuruNKRvXEctMAcBYUBpWKgPRROs0UZ0ss4GQlJJWLkyq6+PJsP3HR7yTQmhqvcNEqB1kcg24eflTKh8yyY1IQEaZ4gS1fOQBFEQRkaBZsfQuhFH01Iq1NmOUdqZFVtCaPOEsMyTXUgg38vKHvUF6gE4HJh/43/pJ9n6Sz7KB0ZYEcfYYXBB7QJKIRZIJBQR7hoNcAls3peFwkfjJ9Lrm4x7OWiFEDsfkn+VrFmOqtKQ600Aw/H+vO5SvTN/YdTg4GuT4Hw9IfcF+xBnmfEhvpD5QBB3rKaJwsVFygPX9LCb/QRJ3mTAPyh0o75GjftMCFA02UkLetg15keZ9LDPDHA8+p3sJqff/OXBk7WoYJj2dHmXphr2g9q8gu0lq9tz1mdX5PTilgjp/g15c7uA8Wau4IQUOjo560Cm39RG5vt2jwnVl5Vpub+c6YR+PnfHvr2wtdcSRKTdvWZXr7f9Q31BQHSeRfwkYxYgTdE4qqPzb31v6BHJvvrvVTq0kfBlbHDaeXEMSlb7uXI4j6MA25YqTq6hjz6ilkhmxhiZ8JRkCGyPIJfqklrCSblex/nk/ZHzRbaJZBu9OLsew+2FZaJPW85cl4CnZSqEsUdquNE2rKaCa5WaWaekv/PvDeKVvKxnLFTrAxdN3O3ahjcE7glS9kcPlNKevooULkGN/0QQUG22Yu7sQhciO0MbUvGd6jBVg9jJwSjw6bJ/VG7UXGOYeer60VTxkUR9DZJ7scuiHcOXVJnCFLqQvwk4EJVkPkE6YLjwJPGXMvYUXkQm+gE3CbArWvp7sHHK6AvkXO7G6ut9jkJlmijvGnSIfKmYy1snm0TzEHyDbWu0/PT85XvlvMSqLVtU/2gxfK2S5D7rz8HXrTpFJ4yOGN6sFHUnfiQDQKhMrrRVsh0lACM1crDvVYGZGpxHz+D/IoFJzHzHJxlaeV167FYIufiKD4Oa4OZGP1BSXDLh/n5Pnv+ksTvj2wrm7Z0sO2nFOqcOgGl5p03Qq+2fyYH1mfHoM7Fd0ysQC9H37Xrrx+1Dj6wFRkK/JSRQyzEKPpmvUwQLifBLSA7Wjg+m7Xa+sT3Of44e6nPSyx82bkY1Q76xccRcaE5yqatUI64qNI+iFcrJY486J80+d3sTMFEmpH5DV4FVH+mX4Ad2FJlFSwDakm8uosp64SwXEf5InF0Kk17EaY3irttrjYOopAaWeBQY+qihbp5vQghaeTE4NJF6EZy4M56546Qn2hrVAmLzw0Vhuh2GbE2wMub82KDL93CuKGhpd15wc/kgulsB52Yhzuw4/zQDGM5RzTzXPRAVKoSV3bvDrED19dMW7FjKtWviwMXEMxspgD+fnyyHQiexp6gPpzQzyK22KVHSVs6jE8d5KJgvV53UjYUICH5Ulj/TsP2h1jcgAKOC67CpmfFUcNY9EUKmMRF6OQsPrBWcnkxFYwLiuDUgX5bnN6n0jN5L0wEfE8yUkT3prdyVQ63S5gdHi732jeyN6bbMWYlU5B+pOoEptRzDApu5tWDDu2g1tSNpHmDnqVTkzFD0RRgvzQwQ9e79kGzJj3qXjxegGiQ7pidufBV7ezRlJR4EdZZ1DOMqE4PVJvFkzEnYyRwCOHWle2AHjWf19YSYkFHRzmd1k1W1qUuJUlvGHXZuELvDaQ/u9HWzJo+nOauEjzH4S6eIJGnlo0WOSuhWdmr90AVgDUiBugbZGq1sHBCaSIPgU/t7vUxsiFX0QNbY0rSgqEsIu291pzMp96krhHTx876QAaSPvvAhymCDYykOvfv7DdcDXDENZ0cmW1IAEzsa/LXG+IdaYoxkQobRx0UtEvwAFhW6QxqJFM8tFVi6N3Qww7nNfpVRpY8pVf8qLBfBrlYyKET/KuPbgaRkSua+G8BXtDEdsE+CbK56RIsgDjokRhnkGrEfgZjIOklYw+kVuepqgXOEiCCXlv+v3NqMC7jMw2ph29zqqLEwMn6LKD1W11EkJo/6Ysz91au7g03QHVgb+7msy3/pYNBdGAsvIv3xCTn3IEddKCl4Oje0r0Ox7/gYp4iE1NOZ/a5plb/5njvr2AknCCIgWqBNGAlZ94UQayWDy63Xq8KSYSv3djYN2iHIE9pLUWZfLuwiJ3NxtANmRC2MGWU35II837UKwj6hNJQqnNKrErirbY3INMaRz9rbFmAaxpC3Q72Se8pNV1Pi4VboKqh09R7gwv/ZSJkF6tHHeBXjLL2kjGZip7R00+WLmpYszljFuqeP5nTSiaF/sfNTAr41uW/6NfkSKxgPL485IbXDu0lmjlAGIl9sKYnvGTnbxt/+F7VPIgPa1L7dvUirhR5lVkjeQt82JhYESodxF87Z6Vh/fNqQ6We5eoppd4VXcRs40nGvRt2SLSwNH7rIXWShYmBWWGw0WifPZsisZqmAAjz0L7ZUehONmFoANLrnqMuCr49qUjWCZIoqzNeuqhPIhD4g7KSx8ncmmqJUmzRnGOqxqAGA70zjcuJdE8nYWZtokHyR/wQLAbzebvWnKzTUqqExtq6U0kiSPkKfqFximG2Q1zdlL6mdngTRX63XIKl3A0ubidZyb2m7xPdpQC4U2hUh7aAldXyZp7z8GPKO9XPUoirU63/sKi9rIjoZ4KCFzALjWBxbwFyP90fiGmZjxenWVGh/Oqu1fiykZFuCXzDC4TnsAUgoutO2j+B5fGib9P10OqVAvU4MtZTlzz+9tyuIqawfjYWj+Jv9huMBuZXTfsDoM2vsL9ce8fOGa5seJLv0Z6AP/Fsr2ij5lkT63Wuxg9I3EORPOCwZT6xse99k3Nk9O5USTUNPd2mLCSSdvdP6moijmEWLBWF3gZLNJBeYxYpubrt7vyupR9CH+tj2FxAYQBWmuc1zXqo5uKEzoJ6agX64MuDvVpWV85Rq++3+lFeC3c4pRw5V2vglcykwTNj5i/5gnrIKG0hUMITF7XIPTj4X5PA33FpNjXOAYKJUVJg9SuTXdBRxnGKenM4f/d08WqKMgOY29TohE0Jfwvhs3LMMzbbmsLCG8WJSENX0Y9V5IcfqWPz3rGsl2syx33OFIyhQ1GCa1c1L8BLKZq81Z2IyaTdLjuX6hFOfmhKXhS+jeQ1vNnVoqO3BI6sGuf4C1PPkDW4xBGKcq1nZlEYyPwyYNtLn/gnIUN2HRhJsOZj18s9iljri8/vGV/8VM+bsXtV3E6+jcPgDrDz2OGVtX4KMohAUT4XPrpQKVX+QpH23yxB/jqwaX/R/F3+P3+60aEQmF8/wc5EZzuvQiMuZ4EgSPD5fK66tGfHO/IXsLZ3EDoK2KYWFQab9gDRMKGN2OdpkEs8SmrPtRwKy7Up2CZxbfTqod3wwP1qDEA8SB99VcDNrDVJ9TN1DQwVBraU1jxLgezKaaY4m6HAMCQDmf26FY7QbFfYyPU8ESuDXiy8ao+bZyfh60l2Bc+eE7JLqOhBAQCk2PT+6ZZaenQTmAWm+ICxo/FH9AYMy9gK6SmmrTKHWo/nEx9s0JuLYvjq2NBzVvjLg6GRMqQfHjdD8LJcCPo44DP3Hy1VQgX0BKEqNOPaspfkVNcsRijQEu9Qyyt0z5H/sLxM1zpxrzB9FCBLm7+yq2EXn7mjJNPiM9OgUtYaqiNJ/e8umpT8PTXefiJ1JT30fPiEphbcbFwugV2esVaysQu1QO+pGquF44cmNuNbldEnLNgegvnEGSqUlDjEWSOfsEOhOBoKMrw1C3941nOvie6qHFrjZQRnBUr5VC8FoNNLaB8CY5xd19rgNP/bh0ZOQ44vEELtmPQD+KyKan45ElvfHw4+Ul74gWs02gICq+oYiKycv9JkP+uNGDBmGOxUopwXgt9Mxf9Jt6CCR2VTYjMmbx/5Het00uxiniocc6zduv3+kjVspNC20AemRxkFHGjmlDRDZBHMuNBBJoRL/p92TN1RHgPICxFekvhstLDJXFjZwNtCm+4iKhFAC4R5kHXhEnbQEOm1D7EasrXLEoKAiM51e6MDLhsvc5GHUKpuctKsaVbN7TMZ++h630P43RO7N29rlrgI26OO8gn0IgFn+4EPBoSrYCDPDHr4PZS9buPXDyH7XZ2HaHU5GncuH0oP+Czorctuq88TG6+tkWlKMW04aNC/ziIpUAkJEbs42/2dbpq7kNJrurNOoTty0UhqZOvY4WoI0iHbXsps7Vu+WxikNYpmGhu+6dDmn3wevwgaH1lPdIJqauBLrzH+NovJFnZdhmr5Ouo3EH3zN+VZOLKNMW/bHtOlFJmJW9iMvBOLpqUaHYWi3aLnXFTTYXTHl8sRki697OWue5VYOaYPyAVSrbvtKRHWw1aZsTLcWYadJUnd0bgL3Ub+pEHEZoL8NuMbnJw2a93n5egBY0Joo8MfWpcXooDFiRj958r0OJz7izW8nSgKtDaAjXRYXi2bqojqOzgMkLxR0haTzAlG91/Epu28hj07uDQaSVQRWiId9NqizsXiD9OAjLUx/s34bBWNSS8sMKUVsEfT0dvQJM3WiZVRyZdPEepdsWxRsjwxvUz3erLCIipkYEBk5jyARnb4IRpdMTCcrJp8espI0tkiMOci/OABd6U7pQY9an7g+1/Oh+td4XrvWaUY7hN0PTtyXXnvD0UNDaDWp+6enMLgL1pGtme5ngfWKKtF+yEN63MWFzSeZPw7VbE/Nahbs0Z3sG1fAy8N0ZDcrULj0TWI2apHysY2hkslbQpfioPWFb+vlLQAuUedkq48jcSlodMic8ZFX44XKWZ0uapSGJiKMHsvUj5D49JKLLrCke91Da5nPIMPIYsdYVHRQH5wYSBLmysLXLr/u8Mw9bDm80oUtogdKo2uP7L/soYN35eX7fodSQ8gfeZFU0su7JVNggkbmn1f642xHUhEF2SopifRz7K3kQxiYAK3SPSdm8PdkXodkbfdqHjUdntbr6COnDYs/JJJoOCGBHmPP0/0e9+fpTUlWiP4R9h7B6aUwQSsthHaTztdMh9Hk+AyQ4KoWLH4Ajp/hj4OxhLkq17U2S9GUGmn5AEGSvqrnEnlVza6qVOHcw2647NkDRP872YG2vS2Yl7mrWdb91X1TlVWNL56jckFvmmvoHwPnM2l6kNuqi6iIIL5Yn5ctbcN9jimuF1oAI/omPY4Qv0BN4TnEQUTgDZddAz74oOiW3RrMLr4rzm36cXOkekrfGxcGUKKtb7c0RkSY7thoPTh2BHPmgXYSFGKt+na9K6XJ/0YYdlwSAXAhOqCCCRwbBo7rlT+haocsDULOi4yNxJcz9Fpn0Bv90fyOLfOZkYDuV/lLQWutLvFNVHCJIIjdVWlFEGYnY2C/HGVBr/8lRAwv/mr+wyi5i9X+ZdpbP0nO+lExPAqXHOiwSDmo6w45GpFeEnJwhK3uGmhr6QneBe2wl8q24aZah9IZsDTQBzPxZyvG5FzWOPX/1i2y3yqxb/AVyM+2LKD475TOSIY7c6jBHZ+Tdjr/r+jGg7gPDPW/fltpXiU0vmDO0gPl35gFIwC2nw0rbLf7k+iCay3NAXMVjN6OQyWH0SsiHhm4PXvU3T1TTV/TuGEKHc3JBPQHgOKOCVdXM9DD0/McaJVcqTnK6U7Z56KRmqYCHMZMls6GzvVD4vGfZOHe/7iqraCsdpv1eRnIPHVD3qNSImsungXfYNyoTefrAr6Nr9wZfwb801ynh97P2HHusOLKb4DrRM87tpnAD1f7VCc6Qw5kt/TSbuXusiNeZaU2HX5zYLadf24jIXYZcq3jHadnPVc9Wu/YjLrlsLONq+9P19zIoDiFQIR1xffg+faPJ9IaMt41QtSBYzGrPWrmzDVr7x6G6bPJqnunYQvs/umRi4stgSf9w5s0hfVzHeur5RZnnQGlah8N+PPv5L0MMBxvLjOKuo55iql9AN8dZhhEDwMtjCtbMaucyhGEsE8FxDRlgkcyyxxZfs63TtUz4zPH/TL3MqZYE/CWeUj7XDCIXQn5MgrKj4F2vXtLK4J7VQL99WuSko3is4fhKVRiI/mqPYf1739t1iioKHlR1gV/EpmfFJkTIUzjWi6BcJOAvOZUGWxLrNOdyoQzj+YCBpkEIH/inSEl5YSrisjAcoDYVyH1yGczCnjvNGpfh/EI7VZwsgxBQLvxLmaGMvx8cyVWLSKaIYiP/THX237rBdsICu5fzGx2Hkh/4o9vlINuQ7HLrSCH8conBPODftlfT8RgkV2rXhdzTwB9w2Fq7nfU3nckIsYAnUTmPlGEHdeoeydL6BoiTW5Nndot/XKe9IWbfgG6vYFoEK9c0e9/KAA9drWI30azjR47XOM7ZoujdTxnJnAIUU0+MtGSUG4MGenMFz/5L27c2bfoygwqTIVlWv9G08XDwGuAeSQjTPWS/XkArnYs9SvRsWw1WYuGXWxtDsRteSbefX2FCEycQ0JMwX2zgpT2nwo3zbRVxqFJ3EYtNasmJ3OjV3r/QHYq2+0Abe5SXhGvi/qv0+/h4pqhxRuZgvClHGbuiUi5Seg/05ikfWRFwqsDk7Iks8ZHYCs1/WFuYbxaPqXq56MDRN/zuuElsCT4/rgZGjVXXMbZp1QyUUcB6kiz3opk30zX+3FXBhjm5NKGQoNioMG15h5Q474uBMjz6u3HRiXVfP0+9bpOdkpnTXuVwWUJhghawfCIh6CORiMm7We/VYx0voghcv+dA0cTmRHIyByd4wy50rOd2UOcmwQV0TaOqcstd/g20El6Ac4xzw2zMzy38iL1AifKMpVXW1QBIhy1zcLDUhFwbrD2Fkfdr/SNb2N/paSpFx9PGwQhZQhtYdJImW86FxYHcGs7Px7U5EHad4UU6cEShRtAeVlKjv4fphy0GIQfNL9Lebzo9ttASrpSbl429ikcBlWonQeAmEb8x3zWtHqj2Yr7BAW5vRstagkrui0RuOHERBN88A2bsc36W+zXmYgtuXZVtkNDSd3bWQzj69dIJnQAXbEXWbAut/FRH7vm9n+a7Cl4xl4AgLmYnXFmHehWQlKE6lrY2NoVe6dfukAd/uyq0Ipp8DycxJBQR0dFe+02uPOZuMTeCJGVxtyiz7h0T0ISzmvNf4GBjvr/iOHqpGgkWFwLgKVLW7xnkOVr0p2f4juCsxz1N4WhGl03pVFQ8czEdWR4b+zZA4FQfpxzm82h1+H8o/GmkY+IA4wVflU6TX056j6wxJezF5sHX70j5EXS09/ZNzWkUa4uMihzkj3NLwDsNTbmlu8+xx8SP+bkfZosXwf6wZyDveHBKxbjwsow11VmIfYnarVhizER5JztTiIIS/dshA+U1hOsf5lAc4aayrqB8v3ol6v84MxRL7oaormX9p2RzlR9f6IjDEF9YPaJrF50+fztHvskaJ4pu6ExuGku8LyNcfSvStbkWxEPEp97KiJQSkiYpXM3oGNJJqFb8ohMN2/jwayMf7purj5WDgzWHJYpAt1+4ZV3bSdj4yulEySoksb2lmUTrIPzG8NN6EIhLQwIzWdxyaS0gZe9e9c93XkBbvmUsLGx19Q75MS0300akMJHzvDjkYn8g2/Z5wzulKzDxR8DjAk/8Trt98JVRVgA/lidSRMR/67/BjlQ47R34u3xxmtXfOOlf5vUSC8VhaBLuPQbuf20zNBxXnLWlKI1hNV9ifmeF98+5fUIZy4mlHetgg25h1a3copiy5kI0o6WVYfpq5wQCM/Cr8yq72gixlKL8q5w6snKXD69ePLNcNc2cXAKC97GLaOsWOz/BbO2zFb3fy1LJNyUA6JHI0i26dVDgLU2dqnAbzxS4n7ka4AbXmciHXfR2ka6GLKQ45nT8AZTOaG1P1m+rf/TcuJNODmTCWqC2uT2BvzkxaRUK8JpXLz8B4RAFVCYtFWNJTqDbBochHDnXmMNc7bFkTwe4kr0fDy9ViyO3/uv3wGsjCK72D8oaVl46UPuNiTt0Wx2EWB3wTUevdQZfpUBg5FNlxAP3S3ZfNHM5Tokr83974kQYXKJyG9vs/cpiCCH+ZioUoQiWw5D59WqlKvmDaNAEvxKPQxOJTKS13k4vObruIyaBCrD0lIYaRKndfGKyesYjpDtQ7XGVd9lmCEW5MBbusit+DXCcNROQU7sVryzeB7YnNTFjHbh1CHr1oR4PkylxM0bjTF5AQ/23iWY8yI42TZcniqgSUeVTInVVFHEcc3gF194xrI4RX0X56J6OIY8NYRrSVyx6cDudFbl9QYuEtnAaXEG1Xn/XLEUEO6c8XOpisqFkLEj9fB2JtVMYA9n2w6IoXq1kg0ehlZgFe7rqeZOAR9gkmjRf/gVYoGWUmXPQPcuXCW2nHmNUwU24wDgk113B+xMbE9L+Alg6XW3uz4ENHBefA0NXjFmirFhIxk0vmZSxnlE3PdeBjMitST5Jc21idUw5+7m2LbvY4mA5ReFLWH6YgIeW0T4HdYZTqDmcdxk0boKb5p10ro3FmigFC9cS8/rbJLHHsnbZtWhRV+QIAu3eaEyX77N2shNeLBWH/aB7HrJhLpZCfPf819ty/UkY+ZFnLcTVpWY41VkhmwnGMw4ctsK+VLIlysX/mMVixV7ACMv6IJNDI9qiAvmzyj4SUvfNFchIXB6zGk+wFVtGDqsL5iDflwQ9LQSDnaU50jOwT6g4zgpfCxcDnBUxS6daPtqBTOJrALgye72dxwgP3Nu3v6Rd6C4+ConO5GKKoNfwlUuKMa/7L/PC23KDGY9oz0YvBP2XJR//I8lJj5MR13NoJaUrESqo01kluO89Di8faOVbxYZi/j2OyZ6QOab/PCYMAKQZgbr7Rlkq31p4F/PIgk8Dbs4dSRWcIhYbae0kR1i5/LHhfUiYleXbJLa4hXoZCh3giRFHDV76mWWUfspe1nK9TC1kyu/8S13x+YG/Y9NwD6n1afjPRnTYl0roaa9TMgvJI+ZBWgQGxAgRJvpFaOVPAWeP4OGFV6zbVoB226ekA1nNTCgowtLYx7z0G+M9U+IK6kUf539S7T55/dYRjTdnvGxOP9F2/Sg8eT5B48+kuFrWqF9YAFYwyB57TtZsDJwA2GUxeYsG4ZQ1Tlqi/xXQvP2LpNhwJlGZcPfmVIz3lSSNyeM42yGbQK+Tps1sJF426Dy262/Q/4iEi/a6Td+q64cCZ2nCcMTHMaaWwLXjv5ynkykEThZgQ+6Q5Om7yVW2e6j+oM9OdWEDhdWysxfYiGEH2zMZup4OZnIOqUE3kLciMYsKWBLBgHD/2Bb1GOvSXa5wkAR/ikaYvFoN0+g3vSJ8wshV6hrYIaK8YY9izPRvpdVFTLzIbYActqipl1eg/b+izEFseK/nPebLAl+wBU3SwxHU3SUMRhGK7i+y0VnK3M+qUSnHaEhRfjhz0OvMEYEUVVPb9oDKuG1BLE2W3unxAmTwW5nL/aQqGQBKaw8gCZ18zLtMLltPRZzcfun6a2i0njybtQw+rqqkHJ+RjZUe9wikzVVW09hvOnLu281R2xAb6HMlOhR35GPa9ekH+k+fxB1FJVIJ3tYfL6XQUGzEDi1Q7SdQHJa4dMyvGjRTwdqsUs99hFNbS30qrixvIMXxHHNENOkI3nWM5wfjvUkdzeh5zZJaWqwNwd39U9YTCaNjGqTnQRt0+/SFUDEeHHYF7P+149QAqjG6L1H4tRoAVtTdnZxwHYFb167dwS6eeXkbHuIwuXa4pX50QCPo2g/LTlMT8ep9n07R4wN0fSvHQPOuzxJLfOOxHHvNCH8DCaeOAffm9BRYkJEekLAPYxsUBmAnWuCdX+70ayjAlNPKLMrQJ81qwSv0hCaQJAEyplwsicaUKKJ2WHPBjOfkQ1eel0L1oIV4GMB19UX5NbOYE04cbRXOKF7MNazzpHH6Z/0lUxUZOhvONHaTHWMGlaGiFUcD91lbMrRvrURV0Ai86dPvLvYnI67RbLE4PqqNgd8PXH2M8hvndYYxPCeQtyCYzhVDPDw/QtJXrugcgTz8harfyAaRJwJWKG7+3faUxNFbcIU4y+cD/ptDbV9h9qjrpp6CV/ZQ5/6E3/XDkGUBsptNlK7Xeww5LekuaGQmx9nf8zezHpJiPRXQJW33DOK4tAR733kZ3MbkrSgGtvJfVH+KxHncTVWA/2IJWe/08pwSIV008iC374llGtdiWUC+zGojgpqsrytarZWbKthbNzBLt6rT0lKyF/PtLfuX/M5BGRuC5t58N4sRt39vginskhgDTLED/LN8i9yR1rtypiorQJHaOAPn+EAtwWcUHLdQPD0Rz4pY9TJzBA+x5Q7kt8Mq4t/PwpisPD33CA5S/RLzzmstFNHsfMmmr+DFKbr4hBcnpySnP1b8fsJTK6/MWLX45kVJA4/akTtM9bbkc1J2HVH/5htYfI9VrQ17eILWfsSKix2pXv8EqUncrOd1ilcGcj0k6hDzBmP3UAY8iug/EJ/Hazb7x3u47hXGAgsr59asBctHwW99W6Eiv7OlAV6ub6s8LqjC0joNr2RN8IDArA9kveWwMIBdO0tUeXyFStdBinJ2Dt9nxuLLvZNciNdOk1sxKijf+DHPYAyIbLLDWlgbZ0JNlMQK2ZO85oFgYv+pHMlzH1QpZJc6a/JoKJ0ZJ2fdZJLd4a5y0fSvkvjYTr0CUU/lZTHIspbfHkPfO04IT1DyJuXhXwnppQwVxN5jYTRXTn232tPLWgt5LRqWUXWhrYxnKFadcV/4QHbLl17qDUWw4C7sDIa5e9QiZAE7GnE0iQbuwbJRQFKe4zVnXZ2gdfIfTUe9o/Gjo4oC1KODb4wC8MymYrJonugGyif+6L/lAmXIt2JrT6wGx9D/diya0rSBQNJO2MDldxcoZl0kou0ObVkFGCNjDg3dTI1pOIYxTjzoropcdmnxeeZWZqEB3p1PG5a/R4uOaSp0/fxvFZxcZRqoI2GpPyTACKDzTec5HTkPX+e33Rs3I3mMmVQds+/3I6d7Vxq0/xx02Di3cTs5Wowmef0oglPtU1M0qRxxwz5SKpJTok4HyLjbKrpN4aQagZNkKB1N4Q6EAMjA2eXgVULZF3eBYPXHGieUUA8lqjkyjkEGVUz9VAezzOzjCNpo4NKPj9aWVj2x86vwrTr8n64MgIpkadOAIV58iwVGbNmYcKpojI709B1B8pjVkYnbWgIUg69I6y6fcMz8WynfrSGXrg+6XasDh266vr7sF0XFH0Mkj41xH7agSnPsyrUxybF08TJBCMWLH1k/g3IQF9y+bNH36kqXEGN7ZryVHUTVfayZEwwAc5PcJh6jYu7ocfz3TZ+l5tuoenUeucH4bMSca6OL+5nv3sRtChHBFNBNWwi9Y4bdcyPwOF9TrHuWWleeHsuzBRb6iDRPVF5jD66K0mPQDt84HMKD4K8xjH/IfgfY5PvXRCQ+/TeRjCeijSLWybnM1pE0xZEi2BGojM1+maJ5GYeihvp7gIrmdSNoC4FNuCmP6kkLiMTXH4eN6LLMk5xZh50SqMf2RnNbIGanjw3haMt7/sDT8OEwbuX+hPdSKvSzZ7W8NsLmMu7LV0FQEYanm7KwZ01GwoHPo6MAw94a/hfFjKdWPYu9+qeICK4g0ccw0i43EuHgKT3fhUPvU5b+Krj2m1YdZH663OR934F0xqmw28WQ63JH6A+Pmz9Iz00RdMejS/4FplUAy3EZLSH36/P/vxhWhXfAPQKcwal6U9U8dFLPrGhgHEc72PB9EJZ38OFSoJLNn0xZdXeHlVetzcJy4NbAcm4qid5vAvCtT+dsUm4mxzsAVLIC0Dd/KGGO+2zVXmvq+SE7hgJ0X3uV7X2pXzkFXWdhRkG7i7wk3YsEkC3q8nBoB9+o3Xt9yecSJC3Leo/IoeGfpL8icF18e0LnhovTljhRCgUej7vnm7wQopc9zPg0llEhdkPR7YPKAXBm/MqHpvZyJQ1fCirPsCrJ7UW0Q78yWPTwjDGren+otx+Sz4PdGQCg3S78zw80q3DD46GgkGVRKkdfZsAxB5SGT/jcGgeoS76ZoJfYWtFAmZTorri4kZR65hMtT+1HSihwYBEQUbHomY/JA0jMJTKwjxcVBcx0SBY5NoqCy8YwQnP7nN6J+6qdh4A7hxYCLfQFq4Q/UV6XHlZw4BJaA4Dg5M+haYBRMLPphGB14Pn//AMzOf6XC5B+XhehYkBRV3SbVFFzE2jkOZqISeMVBDi0udxsNYM7CE2O7oaHlYX1RNZNViCLTA5PF4T4By6A2B39Qlhxqo93bmVx1Q1a8vAjanc7KNJLHB0ufMWJzKp9tZPSFl+yhpjShzXwG+yRxP1ion7ttxt2glURcK1SttoLbMk4Df86ZilEser9sxha+kZEpSBzPyjOsrFt4XWr9SUBw64Umm9Hm3wgr30wwPxJhas49NrDjwUxW3A0lnJUMRcQAQqaiM3+M6qVFGnU9UgSn1fQafdUOVuaJM9WGhQZ4OuNWn2wtXl2uGKY7QsFGO0P1ukA4P/NW8hCe6S7XcR4LvW8CnusfcwKn/W0eHzwQfJOeh7owphwpanLOeia4cs8liIpJ9G1LPdU0Yw72HBIPCBKrRNYBzOZz76isCt0Y3Jeey8zdLxRojxUiEOyhKYpBZl03GVHOQO4tMlERX2QjhPtOdS4QPgMZmC+OBkjO8+X2sOw8UYDcV/ry8AVqWTrgoDhsZMpISZbvqocVKMfY1rg6LnmEvm3oM8cF5IiHO2cMB4s9g5ZDs+IzZux2sG1+2sZWj3N7VvHrL9z+WfHb5WEkW+/aaVMKPf7hmuiDKD9DjEz3dcsr9Q+zedl5FgT5fhhjiujO71Dzgbebs8t9F7S3g0WMhjxDDdmO6UJepF3zt9Vjv5uJ02blNLbiA+h+4HYQ7yLdmaap89iJ8pPFvdQlbZPz7RJ5ZQXOspsA5Yo0VI0WHTU4wAIBBieInp7yopXnB0LwBfILyBw17jY68GiG6ybf76JT//NuQsLzKP6lurjOxaz158kMlKwC6uhOIkwy9VaukVpm+z5JD/tP9hWpfTI9tLVGLh/p7morxwSzqXdGBV2b3we7mDDIuYZ7EYr50ew5MwK4jyZZzQc3D2vouxjoCpkAoccVD1pMcX3I4kosHikfX2KaUzcHRDgl++zchwhqEd+Xc3IGqVFqC6eZNV8Kfwv7qs6timu+DC/mUtfAwCwebII2xYIlWzrEhtaMrrXKHpewsZ67ZFlZYiW5BnBPHTNgNkLy24wzqFHzdW6jWFPQ89hjoaeQ22hQXZYAZea+XnB5pOfe11gVY9KNrsK6mqzq57ckTHUgcPqrIKiOrYLR8nH0vF4mKF9X4MME2jlk2mzuV9WN+BMu1FgZObCYdPB4QgwYyGejHILJLOs0mGv7WPg42mbXaEg7015TY7xHYfTI760zDiiDGKBMrWrXwMXxtU6VTxqcGxWbwqJRGZh9AYnlPzOOXOjUULK0Q27PGe2+gkGSH6Nnp/uSvUGXGMwhCc6CNAmrt5kDxIOIYsaFUapGzLpWM0ukFSypLDIRGhqKSeh2Xz2ixB9Eq1SGzo6DkvslzSeVDmXSFlk7uExG7V8vT73S2SAGfaO6xzuz2i5JszCsvifE1svUUozvdEVcE2E4Y+AxC/DnOw9Cywju6btS9yCEkV635yy+6xugu7jsPS0ldreG/GK0txaTPVGsrEjXtlP3G23bk9K0SMR7moYjNnXOak9Xn4X8MAoa5tXdQDEtdKqdc60Yv7QRer7lb4LnFcbRCNb7u27fmZiLBjpSssrfCfEmZKpnx1MYRrSuO3H23lVOr//uu3Rd0ygsAKKVAcEOvMweF4fSzoddOcmV2s/Xnn4P8ef+Tf/EMQ3jsao3APyzQjrE1h5Kvx+0MWn1ZKBOCms+NAizKiFHfiUOYi24Z0HMRURvPg9amh4ug6R+UAMAa17thUfc0f+e+VTiT5zphRCcugdu2cFJxMDgK6SFSmGda16QMc4t7aPWwnqhOK9x97bLCv/J1rfzR7Xtq3mEkDP9+x5/Ge8+ryUDFlwPyB30zyY1F9pQhtU6xnjt26Ax5ser/XlqlyjVSdxSbL0hrkuC4D5ayWLashLIhj9PLPMqxpus6LmUqChaRSryf5Xz68EIxXfed9PeT6tLWyKOfuMwdG7Y9LEBg1pHXQHTopK43BJf5mhaNxwYsaOxQCXCZJftgqlE7tfb8uGbiOJrzH5DhzaUGbDhH4BRgmr0G1aoV7xMV0vQBjb7m5+aBSGytOeEaPtHUjz9g==">
            <a:extLst>
              <a:ext uri="{FF2B5EF4-FFF2-40B4-BE49-F238E27FC236}">
                <a16:creationId xmlns:a16="http://schemas.microsoft.com/office/drawing/2014/main" id="{7F343AAD-B216-000B-8B5B-E1AA687222CB}"/>
              </a:ext>
            </a:extLst>
          </p:cNvPr>
          <p:cNvSpPr>
            <a:spLocks noChangeAspect="1"/>
          </p:cNvSpPr>
          <p:nvPr>
            <p:custDataLst>
              <p:tags r:id="rId3"/>
            </p:custDataLst>
          </p:nvPr>
        </p:nvSpPr>
        <p:spPr bwMode="gray">
          <a:xfrm>
            <a:off x="362381" y="1188381"/>
            <a:ext cx="11531600" cy="5295901"/>
          </a:xfrm>
          <a:prstGeom prst="rect">
            <a:avLst/>
          </a:prstGeom>
          <a:blipFill>
            <a:blip r:embed="rId11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1"/>
              </a:solidFill>
            </a:endParaRPr>
          </a:p>
        </p:txBody>
      </p:sp>
      <p:grpSp>
        <p:nvGrpSpPr>
          <p:cNvPr id="47" name="btfpColumnIndicatorGroup2">
            <a:extLst>
              <a:ext uri="{FF2B5EF4-FFF2-40B4-BE49-F238E27FC236}">
                <a16:creationId xmlns:a16="http://schemas.microsoft.com/office/drawing/2014/main" id="{5EBFF7E0-BCAB-9E4D-B587-5C3037DECED4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45" name="btfpColumnGapBlocker409253">
              <a:extLst>
                <a:ext uri="{FF2B5EF4-FFF2-40B4-BE49-F238E27FC236}">
                  <a16:creationId xmlns:a16="http://schemas.microsoft.com/office/drawing/2014/main" id="{18B8A927-ED51-C7DE-582E-49B00B77D760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43" name="btfpColumnGapBlocker327041">
              <a:extLst>
                <a:ext uri="{FF2B5EF4-FFF2-40B4-BE49-F238E27FC236}">
                  <a16:creationId xmlns:a16="http://schemas.microsoft.com/office/drawing/2014/main" id="{653F5499-8FA7-2AAD-FACA-FDCBA50CACA9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41" name="btfpColumnIndicator888995">
              <a:extLst>
                <a:ext uri="{FF2B5EF4-FFF2-40B4-BE49-F238E27FC236}">
                  <a16:creationId xmlns:a16="http://schemas.microsoft.com/office/drawing/2014/main" id="{530020F3-8BDA-69F2-E6B1-E22C566C0CED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btfpColumnIndicator177542">
              <a:extLst>
                <a:ext uri="{FF2B5EF4-FFF2-40B4-BE49-F238E27FC236}">
                  <a16:creationId xmlns:a16="http://schemas.microsoft.com/office/drawing/2014/main" id="{A7ECF48B-5530-C90D-92C0-228DE695899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6" name="btfpColumnIndicatorGroup1">
            <a:extLst>
              <a:ext uri="{FF2B5EF4-FFF2-40B4-BE49-F238E27FC236}">
                <a16:creationId xmlns:a16="http://schemas.microsoft.com/office/drawing/2014/main" id="{A764E5DA-60A3-96DB-42D9-40F992E0A669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44" name="btfpColumnGapBlocker488366">
              <a:extLst>
                <a:ext uri="{FF2B5EF4-FFF2-40B4-BE49-F238E27FC236}">
                  <a16:creationId xmlns:a16="http://schemas.microsoft.com/office/drawing/2014/main" id="{6939D8AC-FA2A-6DF0-F2B2-B1CA1535A8E9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42" name="btfpColumnGapBlocker215863">
              <a:extLst>
                <a:ext uri="{FF2B5EF4-FFF2-40B4-BE49-F238E27FC236}">
                  <a16:creationId xmlns:a16="http://schemas.microsoft.com/office/drawing/2014/main" id="{A2E13F92-4622-16C6-8852-95A4B22C8F8F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40" name="btfpColumnIndicator118872">
              <a:extLst>
                <a:ext uri="{FF2B5EF4-FFF2-40B4-BE49-F238E27FC236}">
                  <a16:creationId xmlns:a16="http://schemas.microsoft.com/office/drawing/2014/main" id="{CABDCF74-B5F5-F4B1-D33B-924A762B1A59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btfpColumnIndicator502338">
              <a:extLst>
                <a:ext uri="{FF2B5EF4-FFF2-40B4-BE49-F238E27FC236}">
                  <a16:creationId xmlns:a16="http://schemas.microsoft.com/office/drawing/2014/main" id="{616D4501-1582-114F-815E-A19CD45EF79A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3DC39051-2D28-1A70-FB5D-0EF23A2176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Majority of employees are based out of HQ locations; California, New York, Washington, and Utah are the most common US regions</a:t>
            </a:r>
          </a:p>
        </p:txBody>
      </p:sp>
      <p:grpSp>
        <p:nvGrpSpPr>
          <p:cNvPr id="25" name="btfpStatusSticker475463">
            <a:extLst>
              <a:ext uri="{FF2B5EF4-FFF2-40B4-BE49-F238E27FC236}">
                <a16:creationId xmlns:a16="http://schemas.microsoft.com/office/drawing/2014/main" id="{FDC3EF6C-A121-8AFC-D63C-01BE63889883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100356" y="955344"/>
            <a:ext cx="1761444" cy="235611"/>
            <a:chOff x="-2280176" y="876300"/>
            <a:chExt cx="1761444" cy="235611"/>
          </a:xfrm>
        </p:grpSpPr>
        <p:sp>
          <p:nvSpPr>
            <p:cNvPr id="23" name="btfpStatusStickerText475463">
              <a:extLst>
                <a:ext uri="{FF2B5EF4-FFF2-40B4-BE49-F238E27FC236}">
                  <a16:creationId xmlns:a16="http://schemas.microsoft.com/office/drawing/2014/main" id="{4AD8F0A1-7084-B727-5CA6-B7D5C4984CF1}"/>
                </a:ext>
              </a:extLst>
            </p:cNvPr>
            <p:cNvSpPr txBox="1"/>
            <p:nvPr/>
          </p:nvSpPr>
          <p:spPr bwMode="gray">
            <a:xfrm>
              <a:off x="-2280176" y="876300"/>
              <a:ext cx="1761444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000000"/>
                  </a:solidFill>
                </a:rPr>
                <a:t>directional</a:t>
              </a:r>
            </a:p>
          </p:txBody>
        </p:sp>
        <p:cxnSp>
          <p:nvCxnSpPr>
            <p:cNvPr id="24" name="btfpStatusStickerLine475463">
              <a:extLst>
                <a:ext uri="{FF2B5EF4-FFF2-40B4-BE49-F238E27FC236}">
                  <a16:creationId xmlns:a16="http://schemas.microsoft.com/office/drawing/2014/main" id="{F06F4AA3-95BC-F2F3-FCEC-522AC25EB540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2280176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btfpStatusSticker288847">
            <a:extLst>
              <a:ext uri="{FF2B5EF4-FFF2-40B4-BE49-F238E27FC236}">
                <a16:creationId xmlns:a16="http://schemas.microsoft.com/office/drawing/2014/main" id="{ADEFD54F-9B61-114E-3C02-649F22FBC101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8760843" y="955344"/>
            <a:ext cx="1212512" cy="235611"/>
            <a:chOff x="-2619627" y="876300"/>
            <a:chExt cx="1212512" cy="235611"/>
          </a:xfrm>
        </p:grpSpPr>
        <p:sp>
          <p:nvSpPr>
            <p:cNvPr id="26" name="btfpStatusStickerText288847">
              <a:extLst>
                <a:ext uri="{FF2B5EF4-FFF2-40B4-BE49-F238E27FC236}">
                  <a16:creationId xmlns:a16="http://schemas.microsoft.com/office/drawing/2014/main" id="{A2F0A987-98DC-E691-9EB5-1F3F3D413BD7}"/>
                </a:ext>
              </a:extLst>
            </p:cNvPr>
            <p:cNvSpPr txBox="1"/>
            <p:nvPr/>
          </p:nvSpPr>
          <p:spPr bwMode="gray">
            <a:xfrm>
              <a:off x="-2619627" y="876300"/>
              <a:ext cx="1212512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000000"/>
                  </a:solidFill>
                </a:rPr>
                <a:t>overall</a:t>
              </a:r>
            </a:p>
          </p:txBody>
        </p:sp>
        <p:cxnSp>
          <p:nvCxnSpPr>
            <p:cNvPr id="27" name="btfpStatusStickerLine288847">
              <a:extLst>
                <a:ext uri="{FF2B5EF4-FFF2-40B4-BE49-F238E27FC236}">
                  <a16:creationId xmlns:a16="http://schemas.microsoft.com/office/drawing/2014/main" id="{088407AD-1797-559D-7639-0449668D2E1D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2619627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" name="btfpNotesBox394139">
            <a:extLst>
              <a:ext uri="{FF2B5EF4-FFF2-40B4-BE49-F238E27FC236}">
                <a16:creationId xmlns:a16="http://schemas.microsoft.com/office/drawing/2014/main" id="{8446534B-0E8D-6400-F78D-CB85D8BEED55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gray">
          <a:xfrm>
            <a:off x="330199" y="6328225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Note: Top US states across players and countries shown on the chart, Bars sorted basis the # of profiles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Source: Aura, Bain analysis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22E146A7-5781-EBC3-1341-D5D35393FBC5}"/>
              </a:ext>
            </a:extLst>
          </p:cNvPr>
          <p:cNvSpPr/>
          <p:nvPr/>
        </p:nvSpPr>
        <p:spPr bwMode="gray">
          <a:xfrm>
            <a:off x="892215" y="1538852"/>
            <a:ext cx="1966555" cy="4728681"/>
          </a:xfrm>
          <a:prstGeom prst="rect">
            <a:avLst/>
          </a:prstGeom>
          <a:noFill/>
          <a:ln w="9525">
            <a:solidFill>
              <a:srgbClr val="C00000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ln>
                <a:solidFill>
                  <a:schemeClr val="tx1"/>
                </a:solidFill>
                <a:prstDash val="dash"/>
              </a:ln>
              <a:solidFill>
                <a:schemeClr val="tx1"/>
              </a:solidFill>
            </a:endParaRPr>
          </a:p>
        </p:txBody>
      </p:sp>
      <p:grpSp>
        <p:nvGrpSpPr>
          <p:cNvPr id="5" name="btfpRunningAgenda2Level175785">
            <a:extLst>
              <a:ext uri="{FF2B5EF4-FFF2-40B4-BE49-F238E27FC236}">
                <a16:creationId xmlns:a16="http://schemas.microsoft.com/office/drawing/2014/main" id="{F8DF7D2A-ECBB-D8A4-0682-04C907407A2E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0" y="944429"/>
            <a:ext cx="4440349" cy="257443"/>
            <a:chOff x="0" y="876300"/>
            <a:chExt cx="4440349" cy="257443"/>
          </a:xfrm>
        </p:grpSpPr>
        <p:sp>
          <p:nvSpPr>
            <p:cNvPr id="18" name="btfpRunningAgenda2LevelBarLeft175785">
              <a:extLst>
                <a:ext uri="{FF2B5EF4-FFF2-40B4-BE49-F238E27FC236}">
                  <a16:creationId xmlns:a16="http://schemas.microsoft.com/office/drawing/2014/main" id="{B22CCFE6-753C-2F30-679D-372563032572}"/>
                </a:ext>
              </a:extLst>
            </p:cNvPr>
            <p:cNvSpPr/>
            <p:nvPr/>
          </p:nvSpPr>
          <p:spPr bwMode="gray">
            <a:xfrm>
              <a:off x="0" y="876300"/>
              <a:ext cx="2327781" cy="257443"/>
            </a:xfrm>
            <a:custGeom>
              <a:avLst/>
              <a:gdLst/>
              <a:ahLst/>
              <a:cxnLst/>
              <a:rect l="0" t="0" r="0" b="0"/>
              <a:pathLst>
                <a:path w="2327781" h="257443">
                  <a:moveTo>
                    <a:pt x="0" y="0"/>
                  </a:moveTo>
                  <a:lnTo>
                    <a:pt x="2327780" y="0"/>
                  </a:lnTo>
                  <a:lnTo>
                    <a:pt x="2273059" y="257442"/>
                  </a:lnTo>
                  <a:lnTo>
                    <a:pt x="0" y="257442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30" name="btfpRunningAgenda2LevelTextLeft175785">
              <a:extLst>
                <a:ext uri="{FF2B5EF4-FFF2-40B4-BE49-F238E27FC236}">
                  <a16:creationId xmlns:a16="http://schemas.microsoft.com/office/drawing/2014/main" id="{8935C5F4-D83A-DE3A-2547-C0B1D7B6C677}"/>
                </a:ext>
              </a:extLst>
            </p:cNvPr>
            <p:cNvSpPr txBox="1"/>
            <p:nvPr/>
          </p:nvSpPr>
          <p:spPr bwMode="gray">
            <a:xfrm>
              <a:off x="0" y="876300"/>
              <a:ext cx="2273059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Workforce</a:t>
              </a:r>
            </a:p>
          </p:txBody>
        </p:sp>
        <p:sp>
          <p:nvSpPr>
            <p:cNvPr id="31" name="btfpRunningAgenda2LevelBarRight175785">
              <a:extLst>
                <a:ext uri="{FF2B5EF4-FFF2-40B4-BE49-F238E27FC236}">
                  <a16:creationId xmlns:a16="http://schemas.microsoft.com/office/drawing/2014/main" id="{3461EDEA-0645-CB0C-CEC8-6745DAD42524}"/>
                </a:ext>
              </a:extLst>
            </p:cNvPr>
            <p:cNvSpPr/>
            <p:nvPr/>
          </p:nvSpPr>
          <p:spPr bwMode="gray">
            <a:xfrm>
              <a:off x="2192938" y="876300"/>
              <a:ext cx="2112786" cy="257442"/>
            </a:xfrm>
            <a:custGeom>
              <a:avLst/>
              <a:gdLst>
                <a:gd name="connsiteX0" fmla="*/ 950801 w 2367856"/>
                <a:gd name="connsiteY0" fmla="*/ 0 h 257442"/>
                <a:gd name="connsiteX1" fmla="*/ 2367856 w 2367856"/>
                <a:gd name="connsiteY1" fmla="*/ 0 h 257442"/>
                <a:gd name="connsiteX2" fmla="*/ 2313135 w 2367856"/>
                <a:gd name="connsiteY2" fmla="*/ 257442 h 257442"/>
                <a:gd name="connsiteX3" fmla="*/ 0 w 2367856"/>
                <a:gd name="connsiteY3" fmla="*/ 257442 h 257442"/>
                <a:gd name="connsiteX0" fmla="*/ 950801 w 2313135"/>
                <a:gd name="connsiteY0" fmla="*/ 0 h 257442"/>
                <a:gd name="connsiteX1" fmla="*/ 896080 w 2313135"/>
                <a:gd name="connsiteY1" fmla="*/ 257442 h 257442"/>
                <a:gd name="connsiteX2" fmla="*/ 2313135 w 2313135"/>
                <a:gd name="connsiteY2" fmla="*/ 257442 h 257442"/>
                <a:gd name="connsiteX3" fmla="*/ 0 w 2313135"/>
                <a:gd name="connsiteY3" fmla="*/ 257442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54721 w 950800"/>
                <a:gd name="connsiteY3" fmla="*/ 0 h 257442"/>
                <a:gd name="connsiteX0" fmla="*/ 1243957 w 1243957"/>
                <a:gd name="connsiteY0" fmla="*/ 0 h 257442"/>
                <a:gd name="connsiteX1" fmla="*/ 896079 w 1243957"/>
                <a:gd name="connsiteY1" fmla="*/ 257442 h 257442"/>
                <a:gd name="connsiteX2" fmla="*/ 0 w 1243957"/>
                <a:gd name="connsiteY2" fmla="*/ 257442 h 257442"/>
                <a:gd name="connsiteX3" fmla="*/ 54721 w 1243957"/>
                <a:gd name="connsiteY3" fmla="*/ 0 h 257442"/>
                <a:gd name="connsiteX0" fmla="*/ 1243957 w 1243957"/>
                <a:gd name="connsiteY0" fmla="*/ 0 h 257442"/>
                <a:gd name="connsiteX1" fmla="*/ 1189236 w 1243957"/>
                <a:gd name="connsiteY1" fmla="*/ 257442 h 257442"/>
                <a:gd name="connsiteX2" fmla="*/ 0 w 1243957"/>
                <a:gd name="connsiteY2" fmla="*/ 257442 h 257442"/>
                <a:gd name="connsiteX3" fmla="*/ 54721 w 1243957"/>
                <a:gd name="connsiteY3" fmla="*/ 0 h 257442"/>
                <a:gd name="connsiteX0" fmla="*/ 1243958 w 1243958"/>
                <a:gd name="connsiteY0" fmla="*/ 0 h 257442"/>
                <a:gd name="connsiteX1" fmla="*/ 1189237 w 1243958"/>
                <a:gd name="connsiteY1" fmla="*/ 257442 h 257442"/>
                <a:gd name="connsiteX2" fmla="*/ 0 w 1243958"/>
                <a:gd name="connsiteY2" fmla="*/ 257442 h 257442"/>
                <a:gd name="connsiteX3" fmla="*/ 54722 w 1243958"/>
                <a:gd name="connsiteY3" fmla="*/ 0 h 257442"/>
                <a:gd name="connsiteX0" fmla="*/ 1243958 w 1243958"/>
                <a:gd name="connsiteY0" fmla="*/ 0 h 257442"/>
                <a:gd name="connsiteX1" fmla="*/ 1189237 w 1243958"/>
                <a:gd name="connsiteY1" fmla="*/ 257442 h 257442"/>
                <a:gd name="connsiteX2" fmla="*/ 0 w 1243958"/>
                <a:gd name="connsiteY2" fmla="*/ 257442 h 257442"/>
                <a:gd name="connsiteX3" fmla="*/ 54721 w 1243958"/>
                <a:gd name="connsiteY3" fmla="*/ 0 h 257442"/>
                <a:gd name="connsiteX0" fmla="*/ 1412273 w 1412273"/>
                <a:gd name="connsiteY0" fmla="*/ 0 h 257442"/>
                <a:gd name="connsiteX1" fmla="*/ 1189237 w 1412273"/>
                <a:gd name="connsiteY1" fmla="*/ 257442 h 257442"/>
                <a:gd name="connsiteX2" fmla="*/ 0 w 1412273"/>
                <a:gd name="connsiteY2" fmla="*/ 257442 h 257442"/>
                <a:gd name="connsiteX3" fmla="*/ 54721 w 1412273"/>
                <a:gd name="connsiteY3" fmla="*/ 0 h 257442"/>
                <a:gd name="connsiteX0" fmla="*/ 1412273 w 1412273"/>
                <a:gd name="connsiteY0" fmla="*/ 0 h 257442"/>
                <a:gd name="connsiteX1" fmla="*/ 1357552 w 1412273"/>
                <a:gd name="connsiteY1" fmla="*/ 257442 h 257442"/>
                <a:gd name="connsiteX2" fmla="*/ 0 w 1412273"/>
                <a:gd name="connsiteY2" fmla="*/ 257442 h 257442"/>
                <a:gd name="connsiteX3" fmla="*/ 54721 w 1412273"/>
                <a:gd name="connsiteY3" fmla="*/ 0 h 257442"/>
                <a:gd name="connsiteX0" fmla="*/ 1412273 w 1412273"/>
                <a:gd name="connsiteY0" fmla="*/ 0 h 257442"/>
                <a:gd name="connsiteX1" fmla="*/ 1357552 w 1412273"/>
                <a:gd name="connsiteY1" fmla="*/ 257442 h 257442"/>
                <a:gd name="connsiteX2" fmla="*/ 0 w 1412273"/>
                <a:gd name="connsiteY2" fmla="*/ 257442 h 257442"/>
                <a:gd name="connsiteX3" fmla="*/ 54721 w 1412273"/>
                <a:gd name="connsiteY3" fmla="*/ 0 h 257442"/>
                <a:gd name="connsiteX0" fmla="*/ 1412273 w 1412273"/>
                <a:gd name="connsiteY0" fmla="*/ 0 h 257442"/>
                <a:gd name="connsiteX1" fmla="*/ 1357552 w 1412273"/>
                <a:gd name="connsiteY1" fmla="*/ 257442 h 257442"/>
                <a:gd name="connsiteX2" fmla="*/ 0 w 1412273"/>
                <a:gd name="connsiteY2" fmla="*/ 257442 h 257442"/>
                <a:gd name="connsiteX3" fmla="*/ 54721 w 1412273"/>
                <a:gd name="connsiteY3" fmla="*/ 0 h 257442"/>
                <a:gd name="connsiteX0" fmla="*/ 1665548 w 1665548"/>
                <a:gd name="connsiteY0" fmla="*/ 0 h 257442"/>
                <a:gd name="connsiteX1" fmla="*/ 1357552 w 1665548"/>
                <a:gd name="connsiteY1" fmla="*/ 257442 h 257442"/>
                <a:gd name="connsiteX2" fmla="*/ 0 w 1665548"/>
                <a:gd name="connsiteY2" fmla="*/ 257442 h 257442"/>
                <a:gd name="connsiteX3" fmla="*/ 54721 w 1665548"/>
                <a:gd name="connsiteY3" fmla="*/ 0 h 257442"/>
                <a:gd name="connsiteX0" fmla="*/ 1665548 w 1665548"/>
                <a:gd name="connsiteY0" fmla="*/ 0 h 257442"/>
                <a:gd name="connsiteX1" fmla="*/ 1610826 w 1665548"/>
                <a:gd name="connsiteY1" fmla="*/ 257442 h 257442"/>
                <a:gd name="connsiteX2" fmla="*/ 0 w 1665548"/>
                <a:gd name="connsiteY2" fmla="*/ 257442 h 257442"/>
                <a:gd name="connsiteX3" fmla="*/ 54721 w 1665548"/>
                <a:gd name="connsiteY3" fmla="*/ 0 h 257442"/>
                <a:gd name="connsiteX0" fmla="*/ 1665549 w 1665549"/>
                <a:gd name="connsiteY0" fmla="*/ 0 h 257442"/>
                <a:gd name="connsiteX1" fmla="*/ 1610827 w 1665549"/>
                <a:gd name="connsiteY1" fmla="*/ 257442 h 257442"/>
                <a:gd name="connsiteX2" fmla="*/ 0 w 1665549"/>
                <a:gd name="connsiteY2" fmla="*/ 257442 h 257442"/>
                <a:gd name="connsiteX3" fmla="*/ 54722 w 1665549"/>
                <a:gd name="connsiteY3" fmla="*/ 0 h 257442"/>
                <a:gd name="connsiteX0" fmla="*/ 1665549 w 1665549"/>
                <a:gd name="connsiteY0" fmla="*/ 0 h 257442"/>
                <a:gd name="connsiteX1" fmla="*/ 1610827 w 1665549"/>
                <a:gd name="connsiteY1" fmla="*/ 257442 h 257442"/>
                <a:gd name="connsiteX2" fmla="*/ 0 w 1665549"/>
                <a:gd name="connsiteY2" fmla="*/ 257442 h 257442"/>
                <a:gd name="connsiteX3" fmla="*/ 54722 w 1665549"/>
                <a:gd name="connsiteY3" fmla="*/ 0 h 257442"/>
                <a:gd name="connsiteX0" fmla="*/ 1944471 w 1944471"/>
                <a:gd name="connsiteY0" fmla="*/ 0 h 257442"/>
                <a:gd name="connsiteX1" fmla="*/ 1610827 w 1944471"/>
                <a:gd name="connsiteY1" fmla="*/ 257442 h 257442"/>
                <a:gd name="connsiteX2" fmla="*/ 0 w 1944471"/>
                <a:gd name="connsiteY2" fmla="*/ 257442 h 257442"/>
                <a:gd name="connsiteX3" fmla="*/ 54722 w 1944471"/>
                <a:gd name="connsiteY3" fmla="*/ 0 h 257442"/>
                <a:gd name="connsiteX0" fmla="*/ 1944471 w 1944471"/>
                <a:gd name="connsiteY0" fmla="*/ 0 h 257442"/>
                <a:gd name="connsiteX1" fmla="*/ 1889750 w 1944471"/>
                <a:gd name="connsiteY1" fmla="*/ 257442 h 257442"/>
                <a:gd name="connsiteX2" fmla="*/ 0 w 1944471"/>
                <a:gd name="connsiteY2" fmla="*/ 257442 h 257442"/>
                <a:gd name="connsiteX3" fmla="*/ 54722 w 1944471"/>
                <a:gd name="connsiteY3" fmla="*/ 0 h 257442"/>
                <a:gd name="connsiteX0" fmla="*/ 1944470 w 1944470"/>
                <a:gd name="connsiteY0" fmla="*/ 0 h 257442"/>
                <a:gd name="connsiteX1" fmla="*/ 1889749 w 1944470"/>
                <a:gd name="connsiteY1" fmla="*/ 257442 h 257442"/>
                <a:gd name="connsiteX2" fmla="*/ 0 w 1944470"/>
                <a:gd name="connsiteY2" fmla="*/ 257442 h 257442"/>
                <a:gd name="connsiteX3" fmla="*/ 54721 w 1944470"/>
                <a:gd name="connsiteY3" fmla="*/ 0 h 257442"/>
                <a:gd name="connsiteX0" fmla="*/ 1944470 w 1944470"/>
                <a:gd name="connsiteY0" fmla="*/ 0 h 257442"/>
                <a:gd name="connsiteX1" fmla="*/ 1889749 w 1944470"/>
                <a:gd name="connsiteY1" fmla="*/ 257442 h 257442"/>
                <a:gd name="connsiteX2" fmla="*/ 0 w 1944470"/>
                <a:gd name="connsiteY2" fmla="*/ 257442 h 257442"/>
                <a:gd name="connsiteX3" fmla="*/ 54720 w 1944470"/>
                <a:gd name="connsiteY3" fmla="*/ 0 h 257442"/>
                <a:gd name="connsiteX0" fmla="*/ 2112785 w 2112785"/>
                <a:gd name="connsiteY0" fmla="*/ 0 h 257442"/>
                <a:gd name="connsiteX1" fmla="*/ 1889749 w 2112785"/>
                <a:gd name="connsiteY1" fmla="*/ 257442 h 257442"/>
                <a:gd name="connsiteX2" fmla="*/ 0 w 2112785"/>
                <a:gd name="connsiteY2" fmla="*/ 257442 h 257442"/>
                <a:gd name="connsiteX3" fmla="*/ 54720 w 2112785"/>
                <a:gd name="connsiteY3" fmla="*/ 0 h 257442"/>
                <a:gd name="connsiteX0" fmla="*/ 2112785 w 2112785"/>
                <a:gd name="connsiteY0" fmla="*/ 0 h 257442"/>
                <a:gd name="connsiteX1" fmla="*/ 2058064 w 2112785"/>
                <a:gd name="connsiteY1" fmla="*/ 257442 h 257442"/>
                <a:gd name="connsiteX2" fmla="*/ 0 w 2112785"/>
                <a:gd name="connsiteY2" fmla="*/ 257442 h 257442"/>
                <a:gd name="connsiteX3" fmla="*/ 54720 w 2112785"/>
                <a:gd name="connsiteY3" fmla="*/ 0 h 257442"/>
                <a:gd name="connsiteX0" fmla="*/ 2112786 w 2112786"/>
                <a:gd name="connsiteY0" fmla="*/ 0 h 257442"/>
                <a:gd name="connsiteX1" fmla="*/ 2058065 w 2112786"/>
                <a:gd name="connsiteY1" fmla="*/ 257442 h 257442"/>
                <a:gd name="connsiteX2" fmla="*/ 0 w 2112786"/>
                <a:gd name="connsiteY2" fmla="*/ 257442 h 257442"/>
                <a:gd name="connsiteX3" fmla="*/ 54721 w 2112786"/>
                <a:gd name="connsiteY3" fmla="*/ 0 h 257442"/>
                <a:gd name="connsiteX0" fmla="*/ 2112786 w 2112786"/>
                <a:gd name="connsiteY0" fmla="*/ 0 h 257442"/>
                <a:gd name="connsiteX1" fmla="*/ 2058065 w 2112786"/>
                <a:gd name="connsiteY1" fmla="*/ 257442 h 257442"/>
                <a:gd name="connsiteX2" fmla="*/ 0 w 2112786"/>
                <a:gd name="connsiteY2" fmla="*/ 257442 h 257442"/>
                <a:gd name="connsiteX3" fmla="*/ 54721 w 2112786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12786" h="257442">
                  <a:moveTo>
                    <a:pt x="2112786" y="0"/>
                  </a:moveTo>
                  <a:lnTo>
                    <a:pt x="2058065" y="257442"/>
                  </a:lnTo>
                  <a:lnTo>
                    <a:pt x="0" y="257442"/>
                  </a:lnTo>
                  <a:lnTo>
                    <a:pt x="54721" y="0"/>
                  </a:lnTo>
                  <a:close/>
                </a:path>
              </a:pathLst>
            </a:custGeom>
            <a:solidFill>
              <a:srgbClr val="B4B4B4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32" name="btfpRunningAgenda2LevelTextRight175785">
              <a:extLst>
                <a:ext uri="{FF2B5EF4-FFF2-40B4-BE49-F238E27FC236}">
                  <a16:creationId xmlns:a16="http://schemas.microsoft.com/office/drawing/2014/main" id="{C468510F-95B6-2A17-4936-9882690A53EF}"/>
                </a:ext>
              </a:extLst>
            </p:cNvPr>
            <p:cNvSpPr txBox="1"/>
            <p:nvPr/>
          </p:nvSpPr>
          <p:spPr bwMode="gray">
            <a:xfrm>
              <a:off x="2192938" y="876300"/>
              <a:ext cx="2247411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geography</a:t>
              </a:r>
            </a:p>
          </p:txBody>
        </p:sp>
      </p:grp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81B10D8F-75FE-000A-4D0E-A2601CC8AFD3}"/>
              </a:ext>
            </a:extLst>
          </p:cNvPr>
          <p:cNvSpPr/>
          <p:nvPr/>
        </p:nvSpPr>
        <p:spPr bwMode="gray">
          <a:xfrm>
            <a:off x="10621426" y="808996"/>
            <a:ext cx="1144677" cy="504045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200" dirty="0">
                <a:solidFill>
                  <a:schemeClr val="tx1"/>
                </a:solidFill>
              </a:rPr>
              <a:t>BCN updated 09/13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524AC5A-882A-F496-64F0-E936A67D2163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0646654" y="6191366"/>
            <a:ext cx="1261892" cy="35360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5442072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COLUMNGUIDE" val="Visible"/>
  <p:tag name="OFFICE" val="Boston"/>
  <p:tag name="MEKKOFORMATS" val="&lt;MekkoFormats&gt;&lt;NumberFormat DecimalSeparator=&quot;.&quot; ThousandSeparator=&quot;,&quot; NegativeNumberFormat=&quot;1&quot; /&gt;&lt;DateFormat CultureID=&quot;1033&quot; FormatString=&quot;M/d/yyyy&quot; /&gt;&lt;Font&gt;&lt;Output_Font_Name Default=&quot;Arial&quot; UsePPTTheme=&quot;True&quot; /&gt;&lt;/Font&gt;&lt;/MekkoFormats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3"/>
  <p:tag name="BTFPLAYOUTENABLED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iWcfk2RmY+GE6Q6T90sFUr0lg9IPP9y8umrse/9AoLT5R0GKq+XM9pr/aTyOTf0wptcuHbHxeyqBm9svU01qeeEM1v0hpSHUgirOnAK/wuhh4R0jlrHnY+9pFyM8mIa/v+EBRT4DxCrO4MOZv053OPZGuBPBkVTM93MBe9Uwqf4aYnlMSZvsL3oxynmN4ZyHez2Gu5Besl3qxqPf4w7kkGjcfx21rtUtqz54pGW2EahJvCwJSTBgeYUe/G/Za7TK2ixHK+x3nW56q7eZo+z2won0JnoKCGwuAbm+KG95GAvJp9MB862hQs23z3qdKCjiZwGj33JaHcf7hyG9TAcfS4Q4kM7UpETKrfjCJJhZxJ/ddhWAVBiI/BwsHAOu2NO7XupYekC73SwZ3vnasUIHncp7Vyzo87WZmd52Cx1c2TT5VVkuMPUzLYVTqHPg0eXGsUeFpz7OB7SBzXxyCy3aCdIffsQeYD3aCLWJlwwKNPv2tec33KOtSB6kjrPg5Gfs5kdn9xKXrPyVPvEA9pncWdryI84Hp2NSNXLyVKpzZ/MkFRZgykPF0l0iHrj4MNzuqfDfeQMAvUoOow+GFQz6erGgc1ZY6CUcQ5UnEO08M3LTJd5AtGYrnS1c4e0fmw5BKzcgmRKK0rrM7qqb+i7DhaQHJ4tWCUyhjt8GRacpbdUmy69U1+zRLvtLUorkL0l4V00N+NUcpr2OeTt3MTX3ul1GNlib+Hug9fBRPgqVMrdxIpV4Qe7FaIT5T2+vWqTiCGTvD89NERNxYPbDxhbu59ybmUyXVa20InxFhiI0ZwgxUQZj3NJS4//fl4trdCPlE09wBA61XRi3LGv8TmWW+l/i/1q5bhEkPVLcVLghwkoCj+ensA9dU+WDnvbMJb/NWe8kZ85++OvuUHjDT0pUIoAa8eidxr1oimVbISJ0c8o4EypnYb1JkCTJdXyUMLsilWzxocp1+f+N1QNxQarDAJsBg/T0HJr1iGcQvh130XTdok4oTNVUcqbBaYY1RsTi5bXVrVNoup8t16FiEyfPo1jbVYBnz5QwHurZqZhU1+MRIxlfny+YW0nYs4bEna16QtPe9YmiNrzuuSlPCE7w7dPwBsn4BXxoKt1qZWvnQ60u26SZeY6vzU/sBSzjVr6TSookafwu8SuoyW05GhksowTM8BvKxtveUxbmKosHb74o3XrOPTm8GQOmdmJvV3uIFaS3RFuOALxmr2GlSI/ICA6YbPJJ1fwHd0PzclVVb8IszpKFkxN7dJDRxrrEsheknSRBs0CXyIwbQOFPdQCZMSEp3FO7yZIpRfgRiTTDs+CRWUQSq1yOhSXMQ22NhIHsMpQw50D3nm0YBc66J2YzZr+4pyisx98cs2UdYowe798SNwBnLr3dg4kr/NFwiqISOfWBCidfLS5jer2e3WQ5XSqb0bbNJ+CT1zTKUHTOR5QOUK0ABVk4PNYKsFBCvLZFLSdVYu4ex2qk8XRLRm/3x9uvS4sLhsGChIKpw0jQA8826mCI8gpcn/JI9qZv4yhxnvY5nq89xZvgmpJkVlhEHZCmdZjtKjDotGF9mpU3Xu2+Gsyw3/0sP11iPwDhiRqRcxYGT6XIvaD09hY7GL6pazuFMErD35cPMUErZbkFJ8/Fxlo7NvO/XNt+NXc1p/n4upWCK2vi0KPqgC5gfJkPtfsLJSgvMuJYhAAJSl7G4DZt0p5qS7BUi+Nv7hY6elDFcis9JJ3dvgT+VmVoCBiGf2JoDvxnW+qf307TSYaC/4xzCmO2R3xacPTYH+wB+Ncj/6Pv8KKhVkRzlDKMUHLffPjtzimjDExrG76L+MyCiEenoVbg4bSJj4WAB0HeciwyLH+eR18Vmr6PZdahmuPLtsfYPuN+7efY5jidrD38eTR7YVjmvnbV2WNCtOL2m10frW6YBadZT5kP+TqIPWMrw9HXmG2/hm5L0vKKTRGL/wK2/RtwQvTRKq/vXfZARzoey+1Sxv6IUmdHyXnipv0W3kWkZk+ecEY3R0Jyd+BP9LJfd1ugGdaPTYwF5jjD9ebiDcOi1CJSA/PNaxRlVfAwxaGzSERGPilYUrlphyVYkwe8K8pO13lZyw2GveZs8sZizWDtPY/TvL+xwq/1jVkqsx+rfP6fRKrk425RF+A7lVvoHAryHHIVVe4jA58LxPY4Kcad1mGqLk6x6mqqScCmUp8/eVDf8TqOBgv4h60mbkpohSTTCbFKAv/PCqjhtjCZfwxONIAd01OJsmIo51C7AJ72zDJd2oBOxBCFcGsSqaGvmXw6HZ/9iCc1FUtfiQYFU1FdoliKRy4Ryry7WP9r/sO6tHvB/P1b2Y5P+0GXQFWtSTBBAj2PzraysiNw2OqQaY8yUNNixgaCqih/1bslrqibXix4RiaKyaV0+mXffQHxU3ZDV+x8+WicE3FH/17NMJgM//rkKM3XH8OxGEkrIEoEylJYGzBR4zgkqQozCN/TdFd1t9CGBfrBCpg6w13+ifAQSEq2Abz052T3/qicjjRe81JW5y/WZpouR1swLe+KX/pEG0hWsK4f4nc9SU5AexC3BgsrzBttKdVOahMzg3R648cYO9UtKjaCD+UY4xE8oPPoIHNJgNSi9MTo71zfszFWPpFxwsju6uFJh3Dwrts5jcVHBduara6zrp+kZi+H+Wj3R+c/y5HbKHi7zhX08Wjph/8B7MKrAt9wXqzOrICOhcdoIlsoJFCT8Jp4BZtaH0hvRHB32KtjTxheBAo9r0W5KmcY1tsMgL8jv54/HjR1xPO0F07o8hfKDiMRgafKtfa6htGbIZUhLQGUFvyauF1S3g6ukAnfPf6bQWbpfLNnw7mx0teyHVDaPogeftRmoSR7LESrxp7wdPGlg60qU6pfSolEljDfODGhYt1JKHkpG4mKwwxUaOjk6Fwsywo0j3sWkpNUdyF4A/cBAk1HkzhemRSKaxQKzY6j3U8OUe6nkGvwEFoyXHM9XAzd/LcCONXHR8+RZz/esnLlxV/0ujEfpCFxrTKWDukOmm382HSdriZsObTpoa2Ooc9BahgGI4sx+riLX61UZ1DyaU3qjirLmo1Jx6jFP/oPc3BtKi+nWgimNBXodVQNm70ENdWjhFgyObFMTEMD6upAzX3EIBLCkln0h91SD6bIMPJ/VXWoQQaJUa+Q9Crz9Vj2qDIj7mgZ/wnLaVmNVBqjq54j5liCTVMCPfnUM1V65qmOQuA0rToKI/ud92lT9GFVkn5uElDz2yjnyHGiLjjVn6M/y9g2xrtzCNFtL94uc4Me+uOTEb5plQ6HhwC+zopyqr7Y2/ODtABPaFaf+sFxWrvchIgQ0q4Y6syi15zEIohAtRs1USx960R3+AcCWeSuOmT8oqdvBiCRVuuj9UdMBVhh94kbfY6h7hzw/5I3ANzdZo6fodPEfcAdD1qkTwULBb6mKWdCNnSk4ZPjX8ZUu7H2nx5OH/uUIbBBfQSqTtNqf36Q4SBo2hdTXMJkIc+Hezv19tAcpum7By6TLnrTqUKSee1xvSUETjfgSaDDE10p0teFWR4FUsnCOvTi0GAiQBY8moWUqNUAqdaBuQHvGT+99Bb5TF3XSwYNlOoqhLDi5CZVmGwdX/fAfskYLJ2zS0Vuo3hbaJ1fFIUb684KYn2FRzaDaT8QNXr2Ondx0WEVK78aPvlWHETakIfI7NK9EUQnHFLRl92axHnSH4qyudnkyYbiKVJYPB+jLxtqh0CoYDuVbeSJ6bN16eQOBAEYYxuv4evAKVORN+lRbQyB27VyUWJpJyRrejj/ouFni8TeFbSSXBDNrj8qM5pd6U0ZGLR74h2OEw9V+vGJ6C4dmHRBMC7ZMgkGblr0GXMEV7w0q2KRTd+RyTlOwf7FEdCgPyW1LoMECa+FVTin7+WH8Che1HO4AkqpxhuOSc6o3F98guec5yBA4cCYMU261Ja3bc4spgIFuZ5gEIy1xEMjbhPULvYX6wtEal2bQD+7i5ICzIvQYkASRJ7E6uPo4yJ+ILB8/KhGv4oiv+ivZ/ilPeg9ukxCxRkn0CFNa49CgZBjQwGbltZJNFaNUUGtyR6bB8b0PSSTKE7n8rYhIYvvLfcWOVAH/bbnzhYEztcn9gRqFjapwsE2CRchQ2xaT+RwrCHkbQ1a6Nff2Cz7Z7VS9wkxjywRir9xrmroufJi0MK7pdpDjm816ou2IKnuDeO7G9tPGlqqxkMy0qz7hyr6vkL+r/5NNoCrzF/CVwsP9k/lK4rav+mUdwXj20mTn2+fdtmVgqyhjI/shsDnc6HPEy1M3AUYMGiC23IEsXCW1fyFFzwcCgTPvgEMVeItkqrDx8BZUCZGd6I0Dob2RLRaj2X1B1/7OePOSWbwJnMQGChbt0c0bsQcMGGsqdErg8CeE1MM87colW4Q//5r/VFhOQnx365wFrLT6sFADne6HrW4vPOTtFX1a5O/vrPFwUQpPif2NSEpbtBwFDvsMcdN4EKJuix1/9mvLCryNWILADoe8Xo1a7Ejjns1KjE92B3Bg6XeQDWL1maN6CRtZ7Tv+lw8DvpIJoYTO7ctNlq0WI70fUzNBviU6AnXzBhJeehv9uNdJPZsLnFU/LTjPvNWuqU9+Z6/oD4TeSrIrZ+EFEK4x+TQezZDDSXzswPIZ/UlTc2eJD7my3hO2KYZ8FJGfpN2aXM4y1o0po7FfuanNraA4NApjtE6PBF7TlpLLzhAuMZrZ95TMl3D3MceWgWI/BNVT8SIWVvCSRixx0xwoEdgDB7yY3mVu4Z4/gdhJm4HYQXYww0BfBLj8YYSH0nNh43tWWye/bd7m5W6qK2O5MG218Vqhos1YAn4690VAkrlOLWgR3bAKgTlNhYbNqpps+l91kexC6cScH3DU3Yius312AJGpo1aOGqQWAJIiH7lVEBkcAWReOpo0MiXZpL5keNxMJBhaqLowi9wBirAREMjXxTYmajh+Th5OFZiFxclq9C5GFAw7lIlfnk5NRx6AM16nJj8+g722q5mxE6xJmONOykN/tjKUfgFISG+Njr9Blhx1WLkNq+P9tzns6OEeopGySe6C+7ZFBsDkXpz+lx6IHsOvn9NllzngXetkoVtn7b71jNjyl4CaJJtKbNEnTjfL3KhCJR3o+5HshkBwkPBm28F+sFfh3uUucK/TxA9Zlff01bLWB/taRJP7rdGVR+zBmmB9DhSC/MinVI+Jkbg2GuhVkalpPAm9Wwp9TMOfUXphdh+72HivuM4jAfdvMDHxYoJPPL8oVZA/PMfz09bKgJvsDgyOsjGwBaQ6efQWWIGGTcMPlwvC77elrm7dMrzE4VxWKIy7SJGQYHAdJ4AlY4z4QQX8azO+7gGnuZjdlySppMi3FmcgoeW5kSDw1f/MQov/DRoOL4VzfavLDHaF7Y8m/TsJx3e2Ep7n+t0VTtvrLwtT6mC/YuitUd6UmtLc2UUe0d/rySgD+nPCnobuP6Dc4R2/xIWqQ2ppfc2eyYyMhy3LXCKnNIZZ3TZ/ZEO3hxdWxUiaAADsec0XBm1ukTONpbDKbgQCjncdioB+oClyZ0IcWmc9PC9cjIa1ccxdvm1fTU2SOf9AbU0ASuqAXoo1C4x/DY+ljQmG8Idx6SOS1lTKUGpptTrqb0mhpMSfOZeDhtU1OCpXUUqUTGBd3qJNlYl1+tngNQYKhRElL/OdogMZQBib0Fwk25c32/conusy92Y7vm/BZWKvYW3jYu4N4Y1thixE5As1pzP2rdP5lzZibU0Lax4fpZVOqvRgeOnmUgcRMvjJTTtgX9GzvdBfGpBHauEoDpdVGgU2m+W05eMZ4vQJ7yE5yUgXqSEnwOdjFTm/PHq6cTU84jqebPk/nDqCrbJ/NGnnS4Pl584TgywiRafHkBFJKj3RQdpZhm37cfF1GTsbT+SzlVd+Gu9CJDYF0h2sAsScUpFbWB0xzr+aUWIta4+O7m9SoIhKWUoqGOojHklcB0zd2CsWwcYIxeTult9Lno6Y8aSKoxiXsXfHAZr/qJdo3NitMFazNiOPrHNTcll8QpP4iO8N/7kjSp/VyGJkmTON/08006DJx72PmVLzQ/B41sIzJ//ZevjVkIplzS9NpqrKxT9EeRd6iHMwhYITcn1PqPrw3QYJRgwwOC/uEYLgZXJ3qJDjRfWjxgypd1ENyt5PBL3jcUTGLzkRJ9DCJNFVBQ1v9IWLgw++aCiCqrhrqiQAcSgCzzBt6kuT4S2+Dkkze7spRGNXKOuD4jkMD1jn9YAJN81ls70/yrarOfHGJ4KvdDiJ4q6ztuIJq3QltpwIaU7p+/svgo8TkbrXLjs6BJHLHHGGqmO5viTf4KgMMmGpFUMuc63uc/gbdrVcbPvYSIbwXlKtI0gpjLTRp74pqVt+yyTmIfm4UEd9bZE7QBx5aEuqgJroGGsC+CrsJ4AwMrthtINoTG/V5AjDIUEJykBv/HwFtUfdj5oK6NDON7YB6nk+BXffSuqVJGjiCdMALv6AJgwByyo7deoQOGzDhWZjmedqcG8xgAG6bQrK+q2pVwtfeGlsRQsaNST71vx2A55vDBiBsrF6LJir/+93NYc1uqWlr2xLcHbb2SbFBSzgE+193mWddXvIuBZIcpMx2HLuvhGQg279/lUMNQlUFZJ91Kq2Ta6GvbU4oJeT4o3s8jVNS2+0O896Ze5Ny/+9OpdOCJe1v5Y+piMK3IHraIAf1M5aH7J7UaolG88/TVxCdRg0NV2bgPp1ZvE94ObMrciTsiQHcEOsM2hD+u+UpnUZlLCOGPuy645xHv38IXHbcp4D5bCuS8I+UBpZN21ris7r8PX8vIn5BdE0sWW/vIz7W9pCojF5Tjmd3kt0csFbaD6UnakLL9C61N39tZ88P2nmlHzo5cZMyO68zaYxLkNmPVnDvO6LYKBcW0u2RuzQqXMMyjMKrc7uKxdMFncmR2hvJawsnszYvlS0hQgA9sWlnfbgVj+03CQsbqHOumTlfMoiBYL3CkYGlnOcg84jS0+pnlIEtDokNJu5OpmYOH0QJ6/O592FuiVzPcd3clYj225Dko23mesxMTISmH8odcFsXtT2q2H7HpBHAcDDNfNRUwRP/t/Wl9kQSShNLoshlmyZyaldw9hdhjByaU5IWFEm5nBborKgc3vgW1Fyzvznj5c7Vg6Q6/bEqa51Sm+DxUoImhIW0ocUYWQuGdgZM4k7Qx1beVdJENwYX153x328RXarw43Cr4ZKqswYLOMynQmgDES6KZ9mc84z3SbhP6O7grk4jbhwLZTDoD6pCyJ/lPzMGdL8aXtT0Sh3zW3UYOycRkHlW1S2EyNfkWYVbk+8CNxG5V9iqua9q8//gcg+8GTQe4/Lzumn4vR3mm4aKqAsV31bm1l7sbI/UX+5OqkY0mwDgET2S/Yc/JJcspLv11m4BZE1ZWm565L3rpDuSiFb7hKsNv6v7MFRQXb8dA4EphcIC0RcT2b8fd0KK8J9xtjapak55eClzgz1nV7o498PcEweqLahBy7OM9Blf9kDtcqjpDrUhu+Hd2wMkte8Bya8Dp/nhYSdZO06/YynNIfhg2jXcDc/eV3vd1iWLtllJXYXNA+cFF/cAGDe4GfPfpOsXAaoD3ZKTCVa/0Wi6RFKiUeNZKwNJGRalK3ZkV9MD55h+inqlETjbkf8sPX5H7NgOA8HrIbvEelUfOiRBS1UENTdEpHQumwjgT3q8gimp2qxxZkbiuDNIA2cvu3s7AoydoSofCKtuwuaQUGjcds5eXi5E4dAhjY4+2sKN7L1HxHk/3XZaQq/UDwrEzLb6Kk7dq8LNZPMn7ZhEGNeDwqfw1h5Bd/udDGdkgqtuDwF1MCn7Jn0/ipIbmmRvG343rtYyBOcCTUuHFa/c/S6UD7zpMJYJouVM9WfynwQvo5OPGIqKiQzavgJMBbdLZDuq7FKHxa6xB3QwWOwWdRwjjTrc9r76pxisz8rLLPjFy4Z5mb5PNQBXSjCwllQ5hTWHWQFvLr3qvXn/vno42zwXVYvMcOnu2GA6sQg+gM/Q00yb/Z/WpxKFRHnLJy7aBQPYoDycn3YO+YI+xAvASiEJV5izRpDoec6NmC7ks8KS4dovrZGiNXdU18TtuWJH3rHGQfOup2qLgaLiS95kcWrPkVJ0IZiuHCjZBraDcEpRE7CUQ7DLHBqRUhVH4CBHbgw3XgRuwOvAj/mH0jxr7ivskYfgjOlLO3M7UPbbdMhTxE4dH72UCSBTjI9NXJWYHBfiMkQyRJ1lSKo5CVxGGYtmdXfqkwPwDkG5v42CtBg3EqxueZGdzEI+qphPrwCVnbERy2q4y8DBXpXu1d6l1n7Ct0riBzFaj3XK75Gdxd0N5TKXBxrIlun9Tne3w+Hxr7Wsi1xWTGY6wXLlJchllYXrBl6PTVws2EXDN8Hni8dlMbP4RoVZuqkn4xAgvX0wRSlRzAvzk68EBAJ+o+Za8cp1HgO0VFlJadnvGM9TLytuY4fLlfUajQFYh6lA5XeK6HEhDnd+7cj/ORFfwzZ5m4myCORQuYGIGbZeNoe5SoITEPxWfcFB7HcQnrrkl+NPA3Iszqs9Mzt6pTsqQC/Mxx2MZOJS24xBaIvgqaT1r3yId6wtXIqYf6e/oAIOqEODK1NW3kayRK0tW0rdznL0GsNkGD7SxMB9Msdpws8Hn3cOWHOUenjtfv3xVwROLE674qSV7Xf+4VPjukjW40JZ4DDQxQ/dQP3tbzXilBJb3qFT8NMjXLTS8W17LtSFGLvvCSyknY0ad2cJFvjV2HSCbM0oo7sfM69TDdo5gJt18m2A2+VHXNsRLB4ogh2REipXVJOvfi59OTAyBuQV04rHyMxlWcMGivRnuBDVjOb5uZ6Hx3A9/v+f+4ylUrPbKY1XP6P6eb5c3gFCS/S2xZyv7GEg/hXbsYQmdnTuoiz0VES6ZLSvV/s3cIdY2S8cTQP9chli4v5sV2cgWNpUfDsBkjRWzMc3HUS9FBXHIiiP0xoxrpkqQ8Nm26v5lO9dnvAXHbRY+HSYGHuGdT3X+cMeyMp/FsCdrne/kIZ4KfH+2q29n5xpUwp8PbJd3FMWgrJmjEyHrRfuTBZXVkWcyCVU0b7PutLxM9P7GG9mFnUYUo0eHxy+PAojzSefQqfhbrIFq6Jyc0amKb2Lac5cwk4ljy8WUB1e0SfhreQTzIZRkv8mXIZ/RA+7H2vNc9DXqqz39uJU877C8ieWbB41EaN8Hs0E7ACEhJThTmzQSkO23WLp6wOC1yzbqSETQph8ZZMLyL8jwVmBWgK34/3F+4K/bv/wEtSlvktoQ2cLgsnsJWNrBrQmHNu0BDxtQ4X4DxCUnA+IQwFaLcXqc6y3U9SDV+ni1Ho7o53D29Imn8OVXke5CO2qBgHlVGkuoe0ahkuH70rmeJdUIVyVG+YSds5gNTDFtpuQMUdxHTzhW7jOjQ3NQ78fOVGDemuIjgxy77je5TsHYsjEq4EjX/mMKkp91UqV94IBdKiaJFqy/jyvWCSAPy8tfqhJee5aFbe+kxpHYu6GGA+euPMrDsUCWDxnQkIK6SuhY1rfcAI3pJKqCXFCQGoF9qT87djXJdb4hoPFxwQPSmXWaZwnRq1v4s5k8sypH7m6CTWYmX1m6V3jxw63NH5WO7r7oec+hidvH/sbrIuuM7zy5SAUVdzSnehyvX7ioBS4OhE56WpVvKG9BH7eCFyifB7QSx9xWV19lzoF3k4u5PnAnXdhpEeb5H5G1kBjYmOIErqxG40STTPynz7Ui1fG3ddG1wkN8jkkU++/hm6bs0NWxJhoi0vh0mjWJlOMwuiOSpKixZPjxof7qhKUqVAdZn+YhnHaEZazsXRLYph+FKVuTNZPRsNYf71eOAz9inUGpoBEJf1TIuhDvVpsJ2zznxcZXOy8auJiUyAgGtzLAz7vXhFNieXIRXVzgfq3WvCG6P75bspPd3xTMWN2HN620XeZOmwKZ8lTlwepKSSVwF3XsrF3D72WODV2HUuup6Ca/6JSXE8nqmG4JegfJHpNEKsuLA+hKhkfJsvkMJcF2LwRsbNzqbHiPpeUZfqorFZ7fdTpJfMIopKi11V+VxkJZhwBDR9qyQhySRFmlq6l+RgjT6SeyyZXCOaGQh97hpH2ibiAhuHPMC5HIAqSuUfHhOhnXrzzogjeyW4e9WvDBeovBMDuUjk14J5kTj/M1FHhkPhAx1rm8nIT9dNXpp53Kiqz6sS0B10lxn+FJiwww6xVrRXTBmyipgsnXaB/S6/D7l4eDwE4V7kabN5ytzWAokwupivmSsFM20GUBcTHJtD6KAeKCNjk2ONZcN5bfr+hOuZgssxQykehsKBWOz1adgBXnvdw5Ha5mcf/gmpdmB5jsshWYwO6eYxhkAw3BhsJuCBYzpbGpGNy/cDe2UiEicYE2AmAt+dXVicmzz+jDCylTlbuLwbjVbDqb6RyH/fgqTrYYVXh/9egxygsdZN5CGl/Svh1DofAoM46M8O1BaebcOoJ4MhToHNQL0w5Mao24lhafxP9EJvNMSBnqb8lxxVgOgOBKm9jpbEjVtjv1t8HRwAcF0HZA6audNaMJo7u2Gkevw2lkvQ4k272oyCfm/3I7JYfGmkBMCESqZ5edUYHKFolnmoeJ65fomUXk20NqjLGqndyE+izvK62LgC43t3RlB7k2T4AdnzeXw1R1McYaq2Z59qF9VeyP/SgJrM07hokgdG3Ex53f0y6EbfGZv+Nd9LLiQ3idR0JhTY8s0REiDrnp/++h3bD88hCNRSIHJLCOge6tyo1Lu74MfNyi+jI4+/geN16jDbFt1CI2twJwagXAszecOu2ghJ+j02kwJ+PUWJTESfVniwEYVo1z/HpXhVahGiU6M7iSwRgO2D+FrgZa+R5XLI8Oufg8228pyyG/aDMN/3E+NSYd74OwJg9uTzNq22KWzBrZHcI0Zp5BY5kesm1kE/k+IXU4zVVkQLiCBNgpYLdIxh8pKGSau/KDHTzrJRR5tEoqqectU8Mrw7Hcljw2WbsGdqSOPJoGqjlHfsBKUmTdPPb/CBK+UKl9R6Eh3srmDuyS0EnHBvWPspEiMDUdA7CJEtnvTeYCy9+BYGXroaUmh2rG9nJu/uwXCqA3n+O8pu/7m0a9yTGh/wW3Z3iYzhs815FZzKyLoMnxICPInf15aMJiTfQsC7NPs4QiFeE2kPnn9K58vCSbImlIMdXf6bUBT6GSPbufg08ADRDquc28j7masT0lZHFQkVfg+pDGbv52eva/wWKwmZMr5xk9e5WkegHiO2CHyQKbgkT+qcHN53DgGRS70ThmiGx24+/EssieTT7smvN7737aYEf9EDXKwAuKqw2Fd4nIfqee215uR5CQCiYQZlY7vZxD5POmdelT898qMOHRMivgmEn0qtXJXpGK2LOrO3seP3XcafdfefY/RnTZqmOcRIC0SYCdXKPdzFpkn+1fOvNADS56lTZ/qJ0wh4R31xvOaEp38Vlwt3TrdnorfAGep0pM4/IuYj4gLQWdK/xElnAAgsaPMZdlDMI9glm/TW5Ijc+aO96ZTH8J5U76CeBiUfuWQ2tBdMZnvuyrvQ+wZTDJfac0hDxufjrzlV4tzuTDGFavqZhfINce+zDe9Pf6DMEpRK1zLL7q2RS1xAZ4Puiq4N8LrCJy8x9107Yq8z9Eup6RtJa/7B0e75r+q0WF9zhJljKkg0W7VqZJIOGUeu3BHknniZ7CzzCDNE0529hKKeXQn3WcUU+ALLymJSsXMZu2JQu4mMZjIDxlFZJJGlHiBXuVuD5fUdiGyH+ecpH6UGigNvxMyb/uqM2LVN7yvWwsSwiu9b5JoJODw49FuwoN2q96P1DVfZVu1SBgslg2hq1gUQM4lN9JbO1VYoQH1gyAE5a7xetu7MUqmE7D8hcM9MUbjWn0CLRUPbLXhVxb8X4mf/3ETU7palbOhrw1+yCl8v6MqxfB4iN/lNjSIH1YkPTULL4mnVTVq1n5P4ooscLeIbS+UxbarzhPxRW2ed1a2/rCZgdcvos7R7Kibth/v6jpE7+4AwkbnpL1GYqim9dIYg1vkJLdZco44yq5lyTQ8Sneg31rpoej3cXdfU6RidqCOj+fBykh8bXG+gFXEeKHC8SpWSwXJXt/QD3qAwcPXpzKSsuP4HrV2igZ1/tHuwpMaJV2qC1xiGT9AXGdiuULoHOrVAZ3H6pREFzHPCxWejdbhYVaOPQ8Pr+qDMGnMyzRjc2olfGPo+s6lywlCuV+GcJP7afpbPr50+KJ2k7QlXQazbDhtQJXyh1cZEP9RUl84E+z8zhJt0N3C+PvTb3/diM/xCZrM9qUG3GTQYaPOi/ijwM8KilvrIMzyUfEhVaWRJbNMKlGLhYT+m64/6udSf3/dJ/tWgCQlMRCqgSHuyrSvIz8nLG0ZvPRV8yssoeRNmJ+vdnDHkRlfpDSiKxXfbEoNp0XCW8NkvRwiVWcu2jPH9+YdV1ziXX8g0PteqWdaXvfqUVam4xzqrYcsXe9v7/Y9UDqncBzqQsAXqfw/yeFRs65cihXMCxEKJFnIQwnUmYnf3Ut15XZMsbGrldYNfSxXr70YtljLx1CKoeGpYungwfp5Bujsa6MyNGzrZFaORr5S42oQAyghfuhh6WsCTso9RN+71zGQMzuOtUYwQBP9wj+gY/wJeHvjU7IH2GLtwKwDYN+Y+6ewdI9izHrYs/sSsdPcIGkCpj8b3Xxi3EdzvMrmLGue6GwxE/9s5GYW5ks9AKHjE6yUOpNiae1W9nV1tZ56C4ihOpp6lx68h0djtd3xjZZ8TT5USLoZKgnHTVlw4XUrf+omleEDGwsHs+s0eLIYg3Rah8Avzew3gfml+C6qIB0DRZGwWIbVXJCT0v8ygmcgZQz4HUqYBi1k2/A6ZrMBdRBOoRuokrEoQoU9Y+wZIz0EmrgJ4btzJwy78t0cvgQUpgkKhi6VWK943nahzST6spTXSvbxPSd0KlK2vdP+GxJ/oTuRPxUeIhB/eRnxbOzAv1rVx0C2niFOIxasrR5oCzsxcIYRMtK76k1EEnsZ1x5uTRzb2P0YhcWdAoIRDKo+dXeivvKm6oxCwKdC8thb+i1YryFwXmXRFBAME4WXa5qc2tKoZ2+ypNzYeIJZoM6Iau9l5qUTf3liwjvBjP26wuqFdh9C35hUbeOfau9KAlG18j8zNV7g0qYu7E1aMfpkkLp2V+XhkL0T2XW5CZg9V1TnUdckzvOkzci6zCjMvqr5N3fWqXNs3IEkqfeNSgMRR/VHQXbJx5q3JXI2QWyuF7Ca62q9YQzTVtPCiX/NjvhizzQHw3kPlbo3M50/LXgv9JVqQz5aMdkZTzg9lvL9qrLDhelSyudWPDL0jpznQB0v25/bUMFLCqjnnaQ8oq0y6JUwqJp4DfIRRfbG3WYELxtucJNV270ASFAaRVLIF3Ka4GxVjf4wklAzMN+k+A97d13zmRgJQVX5DUjKwrfK4xzuesFjDfpn6YyzRXYGR8m8UKM0Cwd3HDWhDq5JG2Id+84EEg/ZCCxrapbkKfTUldbGR8WsE0731jV4ch35mc1ji8I9+4CkQZgRmQQqV/fM2GK0xdVW1Cke92fmq3JUCdTjijjnIuuw8ijMPTubJ94p8/t/CudBvLkrVfcD1YtSb5Px82rQq3CCdAAFDEyOLTpbjj32UOT4EbVuURj2F2S/T+5JeGVMqDBiwhwUGU65JSPzjyfoOfbF7Zmd2uKWppbao6J/sZz5gG60dRd9cYIOc3cz4Bj0bidvQxljB97m4oNINvZh/olpT9z0K/yatRdtOwpmh9tSSO0kYX2FiwPqYaqeVwk+/B6ZxJsUfvJSJxUSjfWb5fo3rEOBWO8mFrgit1BhSs9I6Bhv5jXa2m07htC8C9EU4nu3w5OmlZcY6l1Lj/9zx4SDZqZ17FypKgBt9l3oAh2/nvqfRS3eCdw+6dTjjl0vVp5RERWcGxJfakEs55lL/+7gt3HhTyab2vrTnPn6YaHM3Mfu5L4YJjdhPzmjWldtxgNZwWY5WOP6tTQAURjCpqpm5/StG0dUrH1gcK0K++khhCr5njBVDInddJOp5d/fh36/wQDM+4MaV+zabc7qn2kLVdIRvlKB9M7Gg+F9N8oB2HeRB4Mi5NPrJUYKQtSp7XR3pop/g1fcyInmLu3M9ja4w5A3DuKm1j05+Fdyx7911GnUUQHmzYxib3MvH2WGo00+w90O+bph8vjTfe4fQHT2MbHThgMJaTWO3wV+7fr3LGXaOy4DNEfxNFn5Z4VnOAQ+h3WSi7DSRnQ+TcrgM8Q5F+GV4z7HaXJBWC3gXVgCbl49RdNTWlzqub0hoQjJS+wdU0R8UGwyzlP1ABdx67FJXDLYK85oFoYQgAPs1Hamnr6zHIYv3ytwUdkSJ8+pJHIE9qcahJ4pOOs8jCx0++2ymHc1ypIl+VRlLpLqLl7+LSv/VGNQbBb6VHCKfj1xeeA89B3ZJkm412biQ6EqCql+kWQbJ9mVVMH9+38Hd5OJ9dF3Ovq4n6TF9R54vdHIbPVv1JFwL2EH/UPVWZUWOuFShOg/fdvAVTQ+Milb9+iRLWJjyvB2xkdwNLzb3XtZKNimqR9+29edNC6br3HSvQ6h1fluwM2QBuISaEFEll9wh0KH4gs1jGPnkttZdz2z4o+bO0iWukqeTV3HNT8SRdOOQ/5djNAnlEgNKU1mbJBOKLupHBx2k2/5cwoMcPSIl5k7U3IlGp7vqFcUlBaoGP1acNtlRVBrY7Rzn/pmprfi/IPWARCue+hKMnwRaDod8QaPMZj32Kp0b2ckwjtqHFT/rvUqsWXWMIg3yB2Dk/OE/Vq0VlkpkutJoWGmbcR0KqzFPN2G/uN/oG2b6B0bkVo+Ka/YMqqrjEIIP7rGzIpPqFseczCTo0VFCp8m62QP+dXMzPilcjl1epLfniJZfVLyrHSX1t8/EOREoBevrY4E65xMWmUYkndsSAxApIIRfQdEuKMyj2L49RBeBxBzBdLSeaMggsThC5RPrCtZn6F3mWimJcNMLa1nmffuH4msI+xkWKmzqHyLGZcM2PHAMK5C55xlNwnWftid+si8g4cIu6BBdlN5bQ6/VIz3T8HMjyzoF537wHOQa3fczyxuXElkeZHnF7d+1y4O/Nx/ONS4hI79/5HY/Nd1/+XIRSmPQtX8I340E743UuiamLqmH3UPV/8Vc2KdaSiQ7xIEwQ0UPz6OOrSeKhkutbm+Ts2+u2Y18anLnOcdCBL/9ARRD/HMgDMDxSh0wCq1FISZYo9W4wGGdjhWMOY+Nu/jvWqVuSWvJJAZLmQv/QXRUizCZG7tpK5A1pC/C5fGBjLmZOUGIQXU2jtmWtk7eqR68vuhG+kc4oEX7WpgaaWLGeOn2IxZ0VaBN8LCg8Lv2+9KGdRgUeHGpUvaWzugaXuCe2HP7BOxjvWZb+tgjiMV/YpE4riqss+GCPhDkfw0GfuxDlJueEbGFDQaaV6RGhKP5HdrHYnWEzy3vHKeJwy47yvhDw93ucJQb5XD41Ciz5uRl5c1ocNOuoQrPG9nhelS8GIZEfHUMDL1qmgj7jr59bukdo7XW3tGOQNKLhpsiPSbPQZJDd2lRPlskYMQkjcCoOPO6N6ssdAEazZCWJBLxj30IdiVCkcBjqXh9MUyxWhDQzqPmoHb0UssBaOkxxr4FSkUmS7X1ECmyTO7olcs2HegWZBQGdYH3QDcnogqUhyDPt0xSbc0BOJ2IrS4BVV/rwuobO5Z0V3PBx05GXIeuG4Y644aN5R4CiCi2+j42nJ7RQehqrxiyfLczFYgfJNbkfQxyQxQU0mQ6hOIRhsiT0SUbWe/bYU5Z0dYotdQ4J/O8JOxcUCnwutc/or4GsaMnuU8+yi9ftqYKnLBFgm5TSRk3V7HpDbidDDQ2zjP9CmaM5V0JvbmlzOR1OFV4kd5GrXVRDegw+/pIeYYhj5/7RHfMfVxTLGKIRnQ3mdBE0wIP8xHC0kcAowrMHvx98CdcCPniKmIt+wagW76CIwtWeuqQkPOB333+UqnnaM8Zms/6sOtnM0NeLC8YtLP0kGk5sl2tF/5tlCItMk9/OcukBeGna3bAB1lvMiWidJ1WSp64rtSWXdGCDePMJT874mNpHkiuivC2lJ9YBQOdhxrif9EmFxmAskZ+glS4RxAetTXofrC9Kfw7M07qbkBeOmdPpAozfWOFAO1VBiTLFWB7lIqhIYQAH1Ove+iIBUmLCQnCH8QPkQa03BAvjEv7eY8Z4R2FSqXgqHxitKRfza+4/gIyw7qbmIcSyDeaKBiORFQZFj2GSPMUTOfdpXbcBczmiwAPyljAUrh93zzcANOTRFHCubneQF5rm0TMGcCjTe3nYqVnOG0v3IoCr7VkQwETS6VePhkjDnwiJ/soYZQmCXffPyO8NGQ3bbRjCX21UxmnbAVpgh5BPOdy4XuF7S963SKFrRXzLGTlBjyH8Mjun8HjROQs4JAXYUa1t2xWdNLW17+oz5L5OdWUPHWwOfN2oFSugznZZs+oDvvv+pTEY/P6FbforOysuFhS4H/JPsloTiWkyjpiBmrQ8XXUCygi7AmieXDODHrw1DbHXGPWuWJnVAjUGH9jkbKURggetHwpTpjkmRlJIZMhvpBstZZ/pqTibSuvwbY156kZGYAh5M7POYDi+pS9AkrAmnQhCrLARNfEnYNxk8vCJH8uAaeApR6DXMpGIaD1WlqfMt52+UR5lSb3xkdEPYvIm7KidPsN5UdjJRLFzkAUo7bWEpgTeBL81vJcmXPLvpgoVIyAu32xQTNkfWh5QZXlKm27Z3klv54Zjbo9Vc8iOb68EEYN12iiGla0WRgl27BV5wVaRFBLIz8cjfbZtp24WsMZ/W/23Ph7e1BDFoyOvZVf9BoLDGQ4+LMN4PzmtvbNzrbWSJaznxYFQz2ya2W3tjAV4Qn02ab1VSJMrUsg8z+6vh216pqZ6JZ1QvZ0T1WNvosn2k2vwPc/+NaBOET9mA/TXpPL83PQCZ4dK+DN9ZRNSbd20CH26Xne39owxICjqkSpIi1cku09Ym8WrL8y8DVvU5SNtVAqUh6nI0vap1z90JDSkPSyZeG7Gp0VPsAUuZq67W0dxma715B1+oJryIX1zE4FpwsJ1QbvL9AeSeo/dcfn0Zpl/ZyJya3QtkRvPlGkrmhrX9XFgBSb6Bp6pqiQnXeoWIKCaUhwlYdeOc1Mj413G6NrgApQHjy8sg3Loqgg9ravhgmF/K17kAnXGGFnbHNfXsMqgpgAO4Y3NskuLOcQ3eNkQeCOR2yL/eYVcwQr67NSMdZ2hJ02CuK2i34ejTrnwQruXu76NNTN3TDBs6DVVedkccn+rwZ3CGqSmC0Pb54A234gvydulCQg1dYhTcBHynI1BJ8ed+alVmSqHClPBhoF+in5B08BHEXy4bYAYMIUz+NH1owGJAKkLrjOrLKj/JZSlgPUXnN5cP6kF/2SXNisjDGyZKgJ0czwvq5SSRdq0M/fFqFnN9I+BARvvzILCP+8896MYdX6abbDXnZrOUwzDOTl6TZXe4D6xSD6HMjDVsaEqUSK3+1Kj9xmMU3tveRaStfHAh04NJIVrGZfrfqA187CLcFB0AuX2HtadrIOORbRQKF5yzUfwtr7/JslgH3aAV+c5Kn197m8gv3Ut2P3vGN0AjNPTTuAn1gs4qJdw2xQEh+beqLbMlN93eodUvSU0vcMeMzvVFg9lmz0gn9kUnqRiQyVf+07mLWz+riHV0qjw+sUV7pprGywNccgrjTxZ6Pcc4OfliNzYw/kElv4VSLMJ4NuXHfpRklqIGBWs73kdjMIq4xj6lh80He5G5ndwXnM0gqa605z6Sp9JJmH572f7Bt0klbW1p+G2L/ckxh9OvZSedvYOeqEadoVvNyhIKk+YUFS+AsUudvy2bK9WI24qPTfM2K+r35i7KsQ1A+qp5ArJisyshCbZFnx04klEqTXRsvLuZKFniscxtLldV4p3H1P14ewuesMj5GDNp/KlDOv/pNO3qMFGUQLI9727XJzE21Qh7lmGzPR7iJH0EEY9fHdHMdEh+r7akPXgkBChFybOsqZ11QfjgGrTu36OSg+O3s9Th/AXofqF27gpFfpne/TI9hShcCSpAW5jj6lp6+Cf99zvUY2OOiz3xMDCiKg5wAOrKm0gYg6cs+BcfC9+7Ob5oF84mj3/U4RUSbnRNWjfRqsOTMD3x/yHSRDEUjzGOas1bpsNv7APHdXPFThrv4egqLRk7G24bf19y2BpzFbO9tVb+VwC9tItawfIF370PSrLXKxdeCDUzTeMmN+E3ZTP3N0GoHDWPY0z8Y6ZNB2rd9leea5szK3MFc/ieMR+C2Zz1ISKqEN3qvUx+KUQptwf9AgDZYRUPo34CIi9qR/i4fzSLDllpwQDJYGo5wUXOyD52/RQOHkK8sT1F7NTvIBPIhe6f+VWwNyuQX6TS0dxwX5tEql31TwtKcDikzUFsqQtuOtsvMrIyVZWvvJXSwhfTqpje+zrj74LweW3xbsKKxdcPTzMTsKJReN6aJLNfbezFCI222JUGZejx0h8n0LygW8YQpUH6cwjMBU2VoSleIGHk7kYKe1x1d+gzfckuW8OmV8I5dobfUXdF53BEgxBWMBIsa9gpOWPHXrlRZdWT16o120KpKK8cUaSUX48KcnswH4qbKdJ4fiWHPs7AEtZmlz5XdyXBuGR3FBAewl2hsT4mCJFpVix2adm1dPH6EJ9rJbCt3I2ZhnPmEPSm8zZrml9/RxFtgUffAbGLRY8hbaSyxS4mHEzg+P1Y8Hni/wEwljFe2HZ8/oAzoLUWXIajabILAjpxWQIqb9An1spXzYKohLt1sRG/AKP7Lvs2pceFQ3FwWbr6r1iZjIth5ff+EJiTdNQ0XDzxQnF7A9WQ6dCcOZwtXNd/SeFS5VGqnbgS1w+TBYNYw6oiRR2ykfLIWMn7VPP3aIFD3ZB7J+FE0H8MaZlpwPLYjXZZLT3xpArUqE0y1V5wD/w7tMyBAgvTgMnR1VsPZBlootA5XF1SMQ7Xfq+Lf4X5eAeoAEou+WbPWENu/Y0spt70lyBKN6wxEkBfJGEU2mtDBiDFLdx4mkLqgakmoE4sk8hcqJKz+czd9Fps/Hydc92AV2WaylDK8Kt7zfHIIotnvug9BNdQFc/r+XBE6v+Hay2wNetpT0ea6sAHjX2URfEuZ3YTPpSS6KKLABptR0I6/vy5r86clEv1h4zi258u8D0kiCbhEvg9J3EleKPMHidLEfftDu/7fm9vYRjvzG+zI1+dOfLwuZrrcFr7FzwgBADNurjCWtU4O23maQMyk/Ehl1DKQMqVfqaPiilznXS2RfNhjZWeKapuZeBIGJ0y6avBuFmqrmQo+YO+o0d2PjmaK2/DTxNoFICsfny+7qsvtT8rRXE+bbbVuvKZ1C1beJ0V70hrsdkfNIGp5eO1td4D0AFCGjz8umIDyfgWizyRn85yuU0M34IYeXwUkEdaYzcsrsCFtjd4d+04/lQP18ne9C4nHYunm62cpxZAExWB3GBTyfLVrXKZt6Zzq6up17yQUu4YBbJqr58uEC0Yha/q2pgbm5YEEls7XzsmckZBaaVBfGgJ5f/JFOwRFV+f9QPnHu6qe5UOEIDodSKWXk/wP0tVj1LU7IIBOu9EU/DEl/3HIudjEARQ3aoIRV1Popa1X6X2uP5sJodf/PJEx6m2UaoKwUMHuwxyYT3guE8W2my32tf9z7IkR99pdjdrIKu5a8Fs9Ldu4Eo5qBwzo2W4yHus5VqWBfLb875cjTU8G6G6zDM8Tbdrq3I1Na+dq9NaEHhQzMQILIv9N5LmMZbyry+PNO+MQlxODBaci6l/8/IZHHWqYHYzHzv03zmIuXlYQgKDEs+8sXFq/1k4RGdNlkOQcNHYXWzVUdB4B/60LgGbKPktFOTByYjyRCjxt5vMMHX8/vyaPAFMR2CUWu7iu352hVgYdf17TUROpGaD/yIasaHmh/XRLMXyVQTIONsURjbtX0PrZtBUxTxnvOdzme4+4BuWBKBx14T0a8LaqhK3o47npfbrk4b+4DtK4txhT7uAh9LO0DlPJUECTGRzeFduiYdkQEAUAjRE0exvckt+ytBxomF/9m7XgVCyBZoYy63x5NRLMmlgXK869PRhVNAXDbbPR0hm7aYqOvDd8eSDDbZWQdN495r6zew7G3rGGSn9509148fmaotm+p8hBdYa5dDwkBGlsPQXJS2dIB1VPFtlOj5eBZzLTcjqUuG8TyB1J9iCDz9hVQKP8QiMGceBKTSQJ+r+b+pinG0oZBaK9mUVp9EdaZWLoz4v3ntJEkJWIGpa8ntFze3LqP5k/G3UaCBRVPfDAnx1se+GMpcFXtRvONWd6iXqlUCDHswTKtkRfwAx8kbFqI0QRvhjvzKIsTX012YQPL+gEcYTIWhf0l15rzAPVTcXjD1bbLMyo2TRQB8IeNsBl88cfIek+PnfdfF63juCl1Pb/oeinfSas7dr1hi+cq/gZDGERKLHYZlkG+95ahHao1CmXQnOhq8Ha00rUIRAXA2yT0dVBsN+GWmehOzvi7gHekHCHPFRNJ3M6CvM6jJ+AFP3YJHPsNX1bzOfcyfUKUB79SqExcok8qd3vvFn3wWZSShubfnCYbOZBkEhT8hwYHE+k6szS9LzIMGfcIXsNE6JYxtjTociPjAfQgP4b8iNlJ44wUf6XGf0svyWX5Wh7BfM+o9gwY8IxU435o3qcpHIRQZEgaecIJtmp3HVSAf+/9CUXQEw5YbLnRrUMIobyQJKfXxrK10al4m/6js42+ei8ojAzR+OYyxpoUBO8ZDkOuxBdavLL6mPAWa8aJso4jMB3wzqG8BjitX1ZJ39YfvdjwsVdiIs2mumn7mTTi8s7bGI7gx552GUvKfuRYxfl0/KbheFako8FnabYk/Hh6I3X/Fqzcn/7eL/G6NOdP9/NpTGR2VFf9d7b4nkDiyvEcqTwzE7gMehsP0h+e9uxkqXSFJDRiwvOhFH5QRw6NQEGWyLwOl8mpzhsA9fY1//Hnm7yzHZkugyv2PbzXbJJGdPiNiFjSVjtCPcX2nXQL3Pxk3+w/iznpd3JyX1q8uO4YFnaM8ScBRqicmiOSTLh5H+nAkgWZgFg9qOOomxJVrEBfOTNgz8+IRs5Ti+tVktlAScHnPaWFAq77LkbPC2SLVuC9n8F4l+8STW3v3HhZgJkz4G3bHm9YISD7BYC7f9eB6OBGgAhohFF6F4D6jcUnVfBqUMm/lTyFMFzpXviKAKAGRVcEIrrUwMu3u4PQlABEHBvRmIUaRJydAFxpzk8ettYH4tMX0AmhHCWCbcAjbxSON/oG/z48xZvLNlG7tlFMrDbuE8bKzAl7eXiayYd3DriyP1caYbY1gE2p88d5P/uN8fqVFRHmvoNs7Z2o330LMEwGsSYqQD55lD+4nOXa6mZBfjHfSshUQTBCNpDx5OFzS0P0zJAy7B3EvhKWndl9qiU+7ApcG6NevY+2Be9B8Gbikh7GwyXCt24dLSEWsCi0CLFEzGj6WwbUBaMTCqlfP+Ce3vnZVymjr4fO6bIRMF6LxtMIm6PtWNw4MoMSFMyEwdu3bQRHDxoeAcrnqHS0vwRdOPdxLaNjvcCX0zwZ0/8WbkoeFyDrp1ycPbt+kvU1A8eCDWV0b9RP81cs+gf9x06Cayd78jq/p06sxK0ctd4Uz6GoMhNX4Y1lrh0d5vGvDEmpEq5dlT4dEtL0zO4bxpHYoj+su3brSztW/rH83zK5T1qV2aZ98ftVxS908gzFuVHsUnf1sUcTAYviNK7KOrqhQLBsylmPtTbDaqfrEldyhn1ZpApzEED//6S0rgM2YIIvQ+4qbpeuWDokBy3yP07r8PuW0ANGHn5rG9Gyr0dBJO+9t/XNf9slw+a/CPiTRXxMaU0jgPOjZMr9Si8ptVK3gQakT5Xg4fRNOFIvEgeo5M5z0P3xgIWfh29Jzbd0Nbjs1hbhqWNVwgyZ3vV1dOT0FBmUagGOY2d6F/HRGmq6LfCB8vNMR6CmU2ojmw4wCGHddLgOojll+oa0wGW07SdILnWbegc1TN2xO7Q/WpoUANiXvMK4o0WZyVL9j07LKHhBPZ4zQcxCvdLPkGLucsbUqwgNRUqndMnJbu6ftQ13FYSaVu+t5Vc975NHw4+xkana+UDYoXIn6+/gjlGXiDSn0UU7HpF+Vl0ukrsLvS7M6c+7FRwla4zfHBMfwux/fwCkrwS3uzDePvy96ahm4N6oNUzrJ1yGSBzr/PINXfFcd8651xu2blLxDAZ5JSSy+uHaoJksxbkQEINeqoENESTaFqORd+bRqfPGUXsrS2S0oNYun6AVPLnb+v2g6RmbH8rkuBw3hZek5NeyFMim0z7rcE8J7JRanEAptIPa8OR3VxIMz/5pGQzmlGqQKj+AhjykmYonTcq3QqPD2g9l4vnd1+AGBf4NkafLZ2kborcPAVBaVPdVjfHkHvr2shrliJNRzcRO8B3uxoaT4TNAAfAL9/ryhKWAnBihRKUfwD4vul9iTMROQn9JYZTqqtn9UiqveQLeezH20pRnR6TiuFRqKLtJ+gAdLdV8XBbtvOJ5i1F81himIwVNCaYBsg7thvBmcm6YdhCAS4mZcIuaXqUa/KXcYuCTfThH8c/5g35R/KHL1BD4CVpLlE/+JJj55r5T2JVvOQ7r1CYXdthFYDHBwIfF2yKGSEO0G+V5wOVr4RPzCuWli0AANvofDqiPe30T1Xeqt0LZsMSq+rrs3SNwEv8kI7uXyd+UvcZoI+ccl1BpCrKC5d9YUkShPUeLtKmNlkrjMSCDp6EtEUCFKJTA4GcFaK07p41FmJomPoMMiJIjfZOCK0N2mPrYjuqEbRD0dhQpp4jgC1Z+wGX69RonncvYUD7aPHHCNZO+lh6Zd1iLTm62idQXP05KLG7vGBs4pnC+mm5Fc+Y91Vct8VUb8uiAl5EJGpc3gq/mmCfOuxwdl/wcWbPe1OC8O256kAAC+cIqI9s9/fJ1R0r+f34PzcXxFWzEDGLlF9eWSEDo8F5lS0iirW4YpHIH6/iEF9vq1+FBJz5B1hgLjFWnFmte46l9r3HXExdSSCnBr/dNgGRJCgs0sTbhf7FLT94lGdyJY0pOGpo4UaRk+HKCeKq6RMpigN1RHsE6st4POlHulav6rxDfXzBK8fhAaWo8OM9+al/Arp7+OZgyOGWKQmzbnZFb2zWI+h/Aowqc6Nk/Y7SiqHvdzBqLR1owXyOVIUy9eU5m9A3IWDN8Ljjq7m4arDtZoFxfboODGgpvswdfKC4Tf6QBGr7a4mxNgx97qIZvx5g5+da4b7iPrybIvsGq5xhj1dsjblzI26Nv7jnL5wDaSfkGF28ED2rVsiMscVGbTSfr6bqMKhPvQ1+V/4IHq/bbISabzFgiB4xwk0uRVfgp+GWE31kzC0aITvngm914MLiH3vULjc3Ucx2jqshBciikHXN9vmjZJY+QJvkuXJKGlCRoYmIrJVjWUwQSWWmZ/9fVeFu4youwbZc45ttXRkQPrveUJMCtPPhPc/3GsPH6tZsqxoxdo5K2aiBg8Coz0aatHjSmzGQ0E9G+XJ80kqR0NbKjSTzNtDSYSfpj6V1dOU3karGj02GuhRu8da27v8yHlxgmZ9073+kCqEckZVYvs//NkytTe/s2EyIjqSMrX5Yi3rW5On9iMc1/esgE6VMsq8w9ZWd9zhLczOSaA43UwfQuk2Mz4GUXYOy7xuEJ64xw+FxVFVbebrLi6Ug5GlAqwrdufkIWBHx2dUQHHmjoxDMEiG7jpxbSv2SD5UytPt7gNuxBfk+myAcp88mRKSUvPs95v3tIIKwJo8vyu2llL9SzoTP8N+nkZzbp9ZaG0rU6UubPe9jsKG3SYAqZgYm5ZQ6bUs92kdEvA50oEVtLeGquY/IWKxI0K1Woo7nRIpyOLw/CgV5RSwFiUwrOzkIdgz/vmES2iz5FXIVJQnVM32uv/YE6C3dTXj/XiBNAj5DLOFipAx2wrvIQcw3oge6rV2/4bME0umYgk/sUeLKhL8kTFr80cQ8PGa6/HmtlWCUTHBNQbw4YOiK5mMkcO2la4A2jPTn2R2BkQApVed31EkYBVoUmYLAFNNXN43ekA60vHUiiMEGWM9xKs99j42nyksHni86qQyMST0BH7qfqPSgHedeGPoA48SPdOjgRaOQPd4ZaEbSh52cVOcBgzHvU6FGVooer9SNNMQNWD8aptRfR3I4W8R4gbN8ZY2iH6ysYM2EWn+kE4z/t9/OprQ1o6BuWw/au8dkRoCXyO8LB6APdN9MTmuFhrpt566+RpeU9aUA7TlNk2Hj8TLO1fDvXMfgQj9UZv/D8tCsVb/QRi6zgvPvMjkLTYwN5xu3VhiojVYKnyViBj190mjfyhSoCXZm1xMPancZmX43iY/6LL9+ScILw7IY352IfFO2rqYQ5CkTNb0gyKZWw9XLXoyyIr8nWILZBnYuK/CnpWbZqWokqUIQd5ToWUvREqNqYMYtp5sbEm1S0AfWSuXGRFH4gRlIIkvO1DzzoEEZJ+2BlHA5oxFoDm/I1ySF3oV6xGNhY6kGhm6ar0fmXEZMqnw1hm1mh+PyLT067pVoFrtiEUlaTvaBmM1bc+aivNyYbpz6J+sH2iMWQkaxHkKl8KYBlfqRcEYCHfymbxmfGn6aexhkr3m+mSTzHl3q8FBgArrw0vqjVIypfgZ86j8PKbNQyj1xX61r+oRKrLknVsnsbtbHrkF5sj3v5c5bDsFWuOgM2V2WNFXE5lXdi8N5nedjYVpiRAJVzKk0xjzlX/2p++wYrMKskfg28LyZK3L5VdeYptF1hRCV/J49cF3k6wkCqrbqCIM8dgdiX7ImfAhQSZpsNp2mwsObQK1Vg8D2ha/T0xB4Yz5I95LCJIc8jIz3rc5WQCkf7vk6gp1O5JbCLiC0DDTURcNpUy7DHzLYUFbnFv80yNQ4qC8xKDBj8ot6cmpElmmijVoe/9HCpA4+feIur+rUQmSyZTGv4xhBYwVAS2DAbwATXRyzgHw8Z6y65cyABskLNqAMIkNJCP7l+lQYLVi2a1ltGrEUcwP2JObWzwxb7Pvj+TGd/nRtBME07eaA+uJ2Ac1ePxuyaj8HHyQWmZWTBccgTASKzP9ozAk8PJujaxs5s63EI8AxsUjI990ClBzYAG7/q85Eo1xbgTXYNjVrPcr2aizwdVA1ZW6jqM+kxsmAQ195f5rlFCi9VtEuPuCqh+pdOLL8g2UpAFr3e4CTb10dMIaxQP6Obnrkk0E4WXBCQ0l0ZT5ywBRZn4P9rGcwzbnByi2sBxh3lLxj54CvohJYcLbBYJgBAo6nbEGGgzD00vyJM7KVwdArRAbAsXVKsFk0H8Pms8jtUUXCxvk0HQ9nuUIr2QE9EQ6+dQKvgZnzSZRMM53bSgLCe8CrIl6Q/MHSAroCy4igH2C8syk9zKoW18tGWg1hc7TU/DQQ1+cuVGPuGkNlJ1ZkU9XzrqjluHqQOTqnHrDn4T7G14M0xVAkgRY//4PPCwjYe2e9LBvjgqfCNRzEpTY9qiHGtrOxddQJ/dYh3IroV7V4JSzNlg2MLxkxlyYUIAEFxkKQvNbO0SU2BqivqmX13ozPM2itnD/HGzW6cYkM13UFQ5bUg8AstUABELGPxak6vj7zhtKrUJtQINK5ZaRnoVABrIfL2iQ/jczLN4sn5brwLVORg+33c+6Uzhb6YlFm6/5JoxNRPCELRZzN7uiy4AlrntnxJnb3um6UQtDDm0aDlJ3l0IUiM1ECb+V0yWPEO3XpWztz/J8Id118Yadd7vuGQSl9mYBMLbCXTIhCrGijXguFHAMJVbvlcKjc1Mq+CP9eHb6DErGmi/8MSugQCWgmEC8FXuQvLXIRQIPvPkuj9SI9MHtyps4BO8ClwaEkoTnCBIfSz6pDZErUCZKoDLLLFC14baRP38PoGOTBtx4Aq8/+JnKTjV2WdlZuo2bZduvqyMQ/IHOL77YtEICMPyrb1vkTb/sX76c9D42jYvZ/MX2bTlfFEBwmpFiSXwb4DUXJfCrUTfWg9bvIpfeiDuptCdIPhSdkfmVN9ClYNA08KMSomaxmHjO1a+pCMmOQZ938aIlib6WR+KbvhJqXNNQmRJ0BmH53vQi5IRJKPTLAdn/ZovlWl9yQhQdmaJnYvpi3MZLjUq00w/be5Pul8DIVTNjnRMsZ6oOTyNDzKCogobnga/A7Nvd1YjeelSqlQUB5dGE26NQOlKnhBI+UDTB+lkKjbh9qr4pO28ePqUqyIUAOyXnsy/9vR4PUFOV1BS9ixuPrw+vq6Hx12o0OPximgftoPbBDtJ6y8jr+Ri4snPcp3UVdkRMj/zPlnefNeewx0tP6lIXBj5Wi4uEYWSxeSl6Sl627D6JD/6N3cgRb4tjcmzcy1Ymx8GjmdVUA/xFpPCYHrkhmYOvzCwUnNz7xjlOzXqLhrmhxLVxSbmJwwRbg26Gg1so24SPmj+Z1chZK/JpACVtNBzUakIoPjmcpH4qMAr1/jI7Ehy4IOjHDLU5cHUbD8HcljFQAZbXQznJaUMO48Ti5NP+vD7Y8S3UB99egBRz6N/3y/1PrdtDc5Af5TgvFHCYGLxP5YRHcN/CEA43znV30zE4MgVyCfNm4rsMJgJoi/0MPqCvKalCPhrXUe/1QnqBPbH71YCaJ/XdHy/9FIM1/tSsVcB35RlSJH0p9A6HpkIQWkSbu4Dy2gSrjRpwKCbvyncxQNocV5oCrzSp5FH3eWutdKzU/bthSoFhZ6AWEkP99ipZzDcF5QMPXAms+seTSyfZ+m61fdj8XaMnSzvYX9qXSJgop7iNWivyUtiuy6Jg1ARM2FPmq71fpH05PvbnmQPt37PWoEBEP8w9S88g/F4U/hH/kq3Wl0WaTLxld13Bjvnrhz3FalFQ7eO3bem0F+nL5FCKWR+41C9QmpW6G14KtOMoqsYFxa5VYG0wRmf+BExU941yqAx+TjtfXd6avWDw2IEWlgq8AIVe5nk0UpNn35qaTKICkCKxXA6MoHa9EFZcQ70UCZoKq14+EPYjYUdQkOKmFT722FphY/S/8GWv3EMsAA+lMovk8HaVVu1Bu1UvyNFlZi46IZjHx+iJfFxJXfENlphLwYs6ytV5HsKwaS0lm9mVQphsvJwXimwItF2OKq6T8uNPyG5d+BhP17l1jzvn+h3+Rbs4nnqBZvQuuQX3HRy5t+N3DC62aYElwVjvX2+WTwNZ2PK4gevz/QjhVNEIjM3f7s+e0PrA34L0c1R1/I0g/6HInv7SZnLtQsf2YyRcq0ClV4xDR8zFqVX3DL1m7F1JSZB3X+3exUswT7e40zFxySRXSolFMzJuV+aBfsNMp+c482p4TYY1BtzgfRVbAGFAiP+O4QuR5gKsMWIOwkR72Wd0+MRSG4D+EgIwQFkeMchU8HAOFfaiMSDouPY6y43Oo6fg+Io70qoDfxxoX5gUXQBwHlNf9xMu7s3O6tS7wnoCJD3d6i4YtNvYNUajZiOD3MgKgq00kRg5fPUuM3PIt5hwajx8ndm7d9e6XZfBhkryi1WV0CW/oLOchYqQer8iNU+/gWo0Mm2695+SR1Y5wSpYfiRmDzwfpFCn1ALxE6PVe8PjHDEjS8higTuhpMbvxI04B+UVP5pSSN+lGUltQrXntYW5q/s7Y58UalyAg1OhNPB0/uSMvRdoJ7TwEPcVlo6swYGZTdt8AUM8+Io3exmFWLUi8CbRgV7m4umg31PS9l5gLrZVknneA610Hktyt0NTpLl50paTiEcX8Qo8rUhhDAd/67uhlFigEhGRsRwZMRIIFxNzM1ZyY7SiNJLoQqA5j3DiFyn+nZEB3pAI6KFHlVgZQjY8oOSpKuKXpjQqme+0V4+uVIcxd8inHW/wgkiKsurDUI7k2fyZZtvBRvcHcS36fqPYNAgDeRz+l4p+UMIfurhtGM+9IWfNRSSosQUeCgmVhRjjrbYkxQVBiYWkjM/uvXl53KKEIGcop3lylTp67j7avd2hvnKJIT/0q5qoM4XdAEj2qjLYnK45XAKU8uZf9JjKKe7NeiNya2YaI2CNlBxMstp/EbY1jHwNZwh07EsbWLH6nxorjpuwvmS0NyB/wmqqCcljBdW4LQVbP6Jc42rGr80QCi9vqmPLH6j2jhWLR6OLoF5vefRaMeCjdAu46vA8sU/1Ks9F0M+gGO/bP/CrkpG/j1Pa9AJlIG77NBknaWh5hHhYdL5JbbnI2nGSfb/6be7Cs3pRiLo9fHW9MWDzZtVT2EweQwHBidZ/x9vXhTuqZVo5c86zWIoil6NnYVqaikZzeignmsYIxVGu98825Zvoj4/6BdpGYtK4P4eWDTQDux9N5UCSDliVwQtLDBYLOZalGJpOiC658zY1QiybyPtZiOfAgncrqVuaXSC+ZNWiVG8fkZ+kzsiAKZ4uIgosp1P89kCRe8IQieo7b2zjc0hhk74qdY1vEAlYb8z/BvNH+6oxHQVW67/kKNKrM2G9cS/t1ptxkoLkgYsL5AYb9UV4kxBSOUuKLbVWo3tXcXVbvsva0PIpsGn9Fp8+IwiwrFafyJBbT31RYC3ay1w15usfgv8md1y48kb/q1mnBoA19SsQsyM2N5DGvndpK4aLE7JCKqLvkcCtf6il9u7x5T9CF1g/C8dR7j3dybAO0uT++6sgoSbAzRSpcGCnY7bIEDMv7ka3d2nRQBqsBdMygi2WJ1/uUsb9fZugBfsml0RjxXtVd3SXyeVzgdfXCx5fGclZesTpKLaPXLo79p8Rc88cSMAAnNwRZgFj3GYmxR3Wx4OdvbGNShPY+Av8BR806Nela7zQI+q0sYwstzE6DG94ezgjluya4ZaWGvUzjEDSwBbbTbJoKvy7gITV6kOM3O4Qivu2p3sfG5SaFRrP2zO510hJGWUrTYYPKBfk3sgIqJUiyAA3WVE5lLlUtdq4mnMEI3YaluiAqSQqiXx3mf+F3Q4XKut2V70OfExZOEv0gzTtxxWYWTwnsgvlJBfY21Zyp4NbEjWvNIDAEfrHY2Iddwg7+ObwvLKYqNwQM8UOAxZkq9QQA+ctNKywacIRW7LcisGJM9MOHvFE3H1iVcLdFnJDrRKMLbkstiLNuvvhdWWNhdVke5WpUipSo7AcNwNzXLOaykuKyYAAp7IuFHKUZgsqg14mkzZ+Uisye0TL6CIe5x4VYf4IgPRXQl+ISG4yyTK4b/sgf7x9ygPao6eb1XyMn+JQF1dPf9xmeEPGKyN+IhuO943tSi5zgZfoCZ8fbq4+kTyxw3AN9cvos/f8EepjrZIcScQnmyXUeBGLt1uLu+fsqBy8xY9tw0Al2Rnt3S3B3jyfg3FysDOYLLNAj9PljPfOXa4iyu+3PvvTvrnIrz8HKyNDqLnt78BW7AIMr/Kr5eZINbwLgmqN1cs9WVgm5adYkCKeBk66jRBeycpvGBHOEspI8teQL6Zub50xt3KQDoMVR2QgDRnfedpcEdu6+PXA9480oUl6LG/MfvKT9rU8nLB0cGaRO1P10fj9Pp9p6RjDSAT11xDquvR7Cqq99p0VI6LDN3lzKm7h+uhMASNSWdPnhdfCHPY6un9Wo4ILIp/AfWpNEcbUtT9LdnWoBBTl7wWmvnr2JyD4pmN6HeDtqoGJBnrA44yf8ENeo5ZzuqMA+hz/nFCHYO04LbQtHr3+ZIHqsKS7HG3srS/2sccEXwwEx1Fk8myGezjNW8J0j/f4f0HF55SMBGtvIaljJplMc3pFwNeaiiKYyHe8uJf/dqA/uXLlcwQnqyJ+i55+ih1I0A7omgIQiDWT4AF5b5R5eGqEq+0OWL7mh19FpLeXBPSLI20suP138mCdpXJS+9VMqnFRQUGas5pKvUC+KQb0yeWnsp//T8xgjYM8nMz+ScjuUQH1EyR95c+QDA2HJ33L69EasXz8ZYipeYOPKiCiLqQGEbZlopZ2hMfpd04N/qHfGBa7XIMWFC54cmxqZuvqa4fLfUvNsR/Bn424/LpqAJRl8VTGqOTUBpnUNbZoyLssuDxjzg6Baw8d5u6orpXgxpj2WK5XbV+bhuVzi3xLsNkflStS45HXeMFdj/m0bdO0g6eRvwFxihzzCOIK8PGUcgs00NIOf8t/9kyFbkXFDzEgkaztyhVk10nTiltkkrGclOOsxlwVdPKY3AXnP+tE20/T7F9rtGET/6Zzs0/LhGHEtWG91+TpDDj7f38j4XEh+2pTHLh3qEKeMCqFgnhjRlT0ot38Ov2XdpgNPk4JzA3hFmNlGfT6a/mHZfjJf0wXSjDqYUfSvsEe792yfmeCQndTn9BTqA0IxjEKNpiQxhFRw7L+hMFrTUtSfv6cNpz8fRlp3UIJDWvGaiGkD/l2uM3Jjsf4jkOl3VmRe5Afd3YY/dMU+uRSzGQCEipb7imWw1q20D2Y6FOrOxkTyVCcMwUnoEbum18wJ4oiTgfqXsgycTOBGXTP/VmUYFlpNLErMrkLJZaDaiY/wOa60ilvu6AGzgm1BM/ijnpBvzPu9wsvfE1Qi4mQiBHL/I3aR46DUBLNuo3L00lQnt2j4RpjSPcssGdz2A9o1c7G7X83THDCL4mW1UXYeN+lw3GmGQ8ZXVrs/IxfvEB22BOBoJhGe37BMMz4VR4S6onqmO7gdExNWB4XdsWRql073u6+2A0M4OWNr8+thpPwC90ctWqqRqYkCmpchGTfTZ5YjjszP4wwxUssCdox8SCo7A4lAOPLk1NnEiRWjN/XDLnKTTftqDNNoZV0Dy+7ZW9k2dq092P2HnwvmQdoLC6dJyF3kbsXcFQZURAkDa31qrNgJ31xOXz31jfxDo3Nxs/xDSRXaOAD5vlBXq+fwQTNHCL2OPg2gmhSr/Czq/q+Sinf2ObMVkM4vib2W+N8TBxfQDP1OTBRnPHm/Gqr/UVV0VWA3pxa9zD8tIh6fmnVuRq3lEvOyRqHz9UhFJKdjeCiBMqKJptb3i+4ytyGkB1OOSYXh78H7cX+V92AFSVV8rnLhRBe65xkrjgImGWCo7txTqjiVrVUQ23j7UhE7aJAEvTgtTPkDym9GaHxE1HsqYnU+NdWV6ndybJxAJ+bUSOOvN+blrmzXbLcrQbHDH+Hz6oLmbtVJpAvw844vXsCt57q1q8G0YxnpWUAOiSGLu2h3nikSvWPloLZUoEGYeyo/gUGJqUjy0xWRlYRalVoAwHIghblc9SorXoqwf4ulxtfvBvc089GGrKX9rwOutGIe8TbE1dMu8WiZ0QvvnvHs2qNeCwre0cObOckKjsUFtU3HNc7x32fvAQ5GNTlsnYyTPkUmjsiuiIhZAf/G0NwA/8HlaA6Z6Skq+DI9T16u10xHeqJpwH54bZPUJJ8E30/0l6xERw1mv3poOml5mhgMjGShungL4K5xJH3skIoT8a5D7bbRVWId/o7DmUsKIAyLrTZ5aLsQx1Nl2VMwXTbFsmIN3xUVmcv03JSH0x1u3NOIPy5ZoJjPAFI+QDQ01fP5vPPKnYefYdTI/e01gcHMlGnjDYM8K/TLeysn4wGu60jsOzciO1aN03yI4BB1xGBgxxkvgs/SFZ9GC01EfQ30S1xH0pzk0munq8nRuLmTFp/jZHIMhSXa/tRKZECCaDcr+mp07ONLwc4/InrAafusMhAo/7Xy9xc1TgjFhadXL5mK0CCZlnkNZ6C6DfUg1h5YSO73mvRSBIV1XtmWop2y6qQjOplwpg/m31iI/Z0pNpSYE82psoMTxac4so0CWWCUd5E3eEn4zpWG3MRCwfxh1+KkSJ/zsiRGgU0Fr2lEYxOEOeU8gKVLCIuZCtbD7FJ/KS/cf7Ud37Wygbg5ywi0zKmtXE7CqeEUlWU+SBjgI1ZO9zRU8XgVaYBhB52ByJqW8LVUZvosSj+MaNW6WXSWn7ggCrGrPIMU9cpot9/M58E3+gc+71fLax9wGDz3lTZNobWwbqLPBzyl+m8053elZIGU6Me2PR8RT9frby7YANstc4yy80f0UCNX0NPU//SIzz7g64iKrv+E6yePcgVYNtADccmJ05lakevq1a45oWfy37dvDBQJTLRzCq0jQe0KKs3L35Wm9S6DFqlTaVjlA53bSG82meEOhjB4O4Abh+9c6N7V0XO2wS84PDH3YzHTWRg5QYf5oAlhmGnaYu624pdapqfEeb3PTN8OT7YGF4w3fkONCW1HMgH+5RsMNlhXM1vmC9Xs09IgrOaKeoTNhm6YmJxZEQNSIhFuXFw4+Eo7YdDDErVVDeQifmrxUUOWpZ69WukG1lzmuBmfioOgkq2YukkrU8fmRxmJHbKM1Zzsb60m/D2lGxhEhpgQFRZWPrj4lVBNGLR1K0qGNBylIUzuo/7yPbiBy383GK+ou7ZCMBXhJqc89dpnEeKixKJv4yG4gUJ6MICzasNAthZRupXzkk8RDCKSix3y/8N6AjmBI9I6jOWYPZDhDxOmAwGOa1Pp6puVC1FTcZEp74GrgmW8hmyQ/KMcvLRwOcIUxXs8d0A046tdAqqA7wqGyvFZFUxn22B+1sEvsmFo/hiP0GaIkZR66yWEwfYChgdLL0s6pCEBNNv5xV3B6fiq9muCmJ4P2Y7KeUF42Oksz7UIJsfjq2BKxUyMQKHZacw1HyIULrti+ZdzUZCsgdu3KV2cR0M2YbjAKok0Dqsm99krBas/Zzf1zx+iflsuFldnDSRw6sY8BpbybKUFH2x9tVavwQvmLHJYwlzjeAdzRaF9ZpQqp9hO9mX3TRoCGfc6o2XcHl/V4eHlyc4w9bc6J9S7PRmAKOx1YsGTqSyXwy1wJ5irKInAeMaktPeMlW3U0WnKnRgsZYtMQX28+9krNm2+54W/3jyFSPS80+TVZajMD4wpZfIBWztGhgpjm2f5IdW447B9ipk0BoQHQFP8x5YrXm6aFJucPrLOKF4MNEAIDDL/cWzn9O2M6IgaiXUlCcsYNIrFTaLOO6n3VjCA6bUxloUd/3kqBsmYq16lUVQA1/eidlB/SqCRKJW78UAboh0uW6NK//CuJ4BfBOyowE41OnqCr21AEf8vErvmlLyioRpXHHY/oi9IxXI903HmE7uyw3x39S5zfs30HkOkXQ/W3qVxe1KEcINgjkBGOkSZm83In1WcWcWmJbKbGFK2EhIkThnFmepJIjAq3WXcFyduKR1M3HVaDxhIC73MEBo8ckjZe+EQmlr2P1PS/hQYlZUsVZdrZeD8b+FgaiLIj20C4oWOOJtfL3u2f64iLTyLB342e5df4U3hJnBmBYwkzoB8ekwfmRhs7wO9Wvg1dtkcJNCgT7P599hVXtZZ56BZPShgloNolUEGrV8qiarZ7XXTGnlFVgrkTjY4H3xaADpRk9uQwsOIepGAS79PHqVOB5n+7MqaMel7zzD45ajRVE6zEaOB3jN9PJOnCozhWeKYUokXXY3ASKNqWETaGYEThDehlHMPMktqeYPGT90tIKLx5aEqr0W06Z8h/18V+XbGfndbq+06r4M3DbZqYX2gJjwTWsZpPgSIb3AKgCQXwuYk2X2JdVuNGbRlvLYCFOJlkypgSwqzoM5BhoqNnUIZ3i8/IrKGViolIL0M46H6w7d/jy6Yq2fsbCryJmgpt5S2YjCW59qlR61v1VpfB8wPIMJ++sCGFXV6I9rSy7Bx7LFxTlZeapJ4PbEMbL3QNVIyvi7XDcHfxM8XXIuLgBvqyA6kTgd0K7wxO5sFIW114ak5a/uT+yovSeHtB5hZsqAHi9f0B+TzmvQ85xY+oAneOCwYyrVxZPytxuf7+ZpZymoEO5Jkzol7wFCfn5Ah3DG2Bm60nM2OAOeKQWjqfuEC/zMrdBdUmtLASWtM95HRN0LuWxTEny+S9YbImzdbnFgCMlBotS+vyVOTKmTm4Tul6QFfuSnSoDY4t+5+tFM5QoWM7xvUDDz4225bl9sLJWWmOFV27aFlXSpuKo+CCzgfusi7w3nblZq7uWB7jjiFHRV3839qeEQ0mZUA8Zmz9r3J5xBOK+YD9oDgkmxXotGAEyciBbRV6SOO8fmw755IwE6dqh0X0bNCOKXL+BS0iFxt+KtVTNnqeq6wBD8swv8YMAWadkrZfOy+dVO4xE8kxfEle9IFq/NgrYzseIHQqWfgiDPeNCqUv6mNK7rfwgLmdB20MvGnBGqz2wKLWydIUPTXshvtdLD9Yx8OoVIZpwTCK7hP7VbRxCrjIfv5NIctGdzHu08wO+cxtzGQ86a0OAhrlmW9NJqGqUrD8a7r7QucLZhLoJq/KLzr2s13PpPR5q0bgBJWEaZ9QVY/Wst+rKjUAD7oXw9dhTFAMuqcbY/6+Z6W5+zo1EIUCsU4q12+zd8X7TtpNHU0Yl4EbeQY1tidVbKPxbd8Bm/GaIxp/8RhIAuYvUj/y23EjR0LvjjA/B+hXIbolsO9ZwRWtaepAlE5NrAzf5SSQMw4SJ1Fb/JDsOkF15mDMtVRhHYnjVfpsMq2tiqAlEAVQhd9qZBjvK/yrLoKxm9mcmCi/iX5C60AZh9oJ4oQ7efpoHOCmNYprvoz3CXkWMhUlOvjahaCN6eK5maoI2d3ab1YsSp3hBsxxjWakh9u2d53bnw+DzQqEzInMsklUrsplMkgqNcXQDuEpJM1wix9o0O0qPFy8Xs37hN+P1e+0HKBIRdZt4l1MWofslhlVEj8PiM2nYvcF2VHa8GFK1xWQIHu9fw/yaD0j5qTXY3lpjOgAJp6+ripDhBDpI4t8w63MDTr4rxzbQj03YUcpozru92TVh/dYxumTg1dYx612mgLoLINg/92L2jBM5nS0RwTo92stJzueUFRf5FXdw0K06HnlD3jeJC4utxgfNsoafuh6BVVEos4Kos9/1Mfi+jWxFIe2XwyGedt5/h1v/7xnTgdnd9bG1hEY88HXINP4/ZxaYsWShvr6G9zNtKLyS28XrYNm+7r9UM0Utuw37kc+b2fQwFNi9bIM+3zanZZHm2MdhN6kz+8hg/hioKErzwAxy1vUSEgCCbKpSuUbmaImJn+lTP1yEVHCaft85EbMGAvkvJVjDBxGT6t+3rEx7st04lJVJnKLvj/1q8hUAYIUmXfiVGw3wWppQXEac/aKEDsoA2umDbPox5DYmBbdtvUzfGWYBTpGlkc/r7wVZBFerpjMX9dX0GW7wIu/gR0jfvsyrvzhsoUB5URV+IYHuFCHvDrDH5kFcP3N7C+BiOMBrZpu1/1RA7efdYvD7xdWHyOmM/8VraCm5057cJpfhossGIdyBuCxhi8zT96rB9Tic0T6IVLnyUxzAC5tRbPkGjBHQdRg2VC7I8DZJKsCwK62ksFaTo17QjMljCNQdDhas0Ou/9VtLSkxxShbfXjY39LR7qj6yuCIiHIppmCIvjsRn01qoolqf6ggRccDkTzbeYZtcat0dFFOieo2IuCgy0SCYetH5PjTz4QOLsjPntFfRdy4fXssaDaEpzR59Ah1J5G0WLpPl6yS0/iWr+XHQkM8//dIzItzrUbqbV1niCwcLxdP48BcJEhVZoWalea7vv6jf9tse9Y3n7pmWasFDYqGgd1Z3tQAk0cGT0OxOEk2WsI/pzkni6ZH6rIi98JY2ebbqLQJz6bfXdVjuvIZsKMlwyOePaWMJKNPFTvfBf4JnVFcd+sGX/1uv129x9RISLY/EfcxsRoYSpl7jrqY0PfuasIFLB9m8m1K5rt+DAFe78q8VJdmvlDdoZnQmfL4noWgS2ls2GNvTde9ms+sr5y+wHhS+NWOUZ5o85y17qlBX36c4LgKs8eCP7jiYrbldxxLk6sNDgaY9NbOybg4RJMFLMCSBIpTD+PBoUv22XaALV2aDMCZCBjiCa1outbuLWLr0CsssayTC1EA0eC24kuElEH3YzBB0IK3U7dB3mpaWP4w+XILzxnbsUIdjY3slNvlNTbZSuYFhpIRsXjxzuXaCc3/Ibe231HrXPYCrQRpdoX0jgWkI4qrsGO/qEPvZ5cS2g0vUTiROq0pZ38/vMnRwwxct/fpodyzmz2hiYT+C+U2GLbUkSC+m38Er6J2Q1FrSC0LGlbbug1yHabNHqk5A6Gx+Sf5EtbaUCn3WZgHHo72Gj9CGuazQn37Qz4Xut5oztqiRgply2ps6qFhIQFVYomh+JyVDDSY8ixms9JvQUiI6NPiq2MQksYcM3iZuQOXDqoXqdZBwWiis1gtzsMB5SLu1mrQxk4a6kHBINlvinVMpKPRN8cN5/qgvPDE9dkwg4xpt+gzN36zyqf6NxhFqI5LMu/lYIl7zMbi0Uqsi/o/GgPEefZ9QcTXCW9z6HilnqbWLM78+nG7QFoqVZDmoy3oj6bHGG5otA4+X8Mx8hDuGSSkTQsvkYRT/fIWdZqoNYTa5k/hDKToqzUpMjfdz7ymi88loJQicOvMgjH0rI430cEs/eD0qYsoyHFIAKLPnvxIwXSJBMOdc3HOVAiAMF73jRfrrE+76EFA8+J2Q3s4n69BbkDTWmPv0aAxChGtGIeVRExmaw0tmQFxUXl4QFOMnN3WrbJFLUpX0OXoP5wfU2eOlk1uvlEVygMEsymykgxyGnQqz8RXAu71l5XRaNkfSg0lYJozcomQYMlRKRNpcPtpWmv0n51tvIAkNFOlMBU8SR7kcBpfuvZKlIPcuGOae7ls6u6qT5UDl2TQo0haGyJATECuCofkHVxbZoXSz66KYTxwdbIT8vkJS8M8cOLtWjiAD5NwRWdw7JafKu/E+HCTXnBm+3zIVekksooX+tmSgkPBLDjV0s2ZBktgHKGrNAc1rvBCRlq/M87ASdRIygm/pKKWtX08c5UKQF/9vSQ54NHfEKAb4n42UhzAfptNzslbuD0vcVJh9rCXoEZxvJ2V6m+C7wNUUVAHOYEJ2cvDPKVNAdl+Gr8nQox0DhKCCIfDcZ+FqThbtquo97teq8ty1g8xlvpjLHhspZVTGWOnzjQ6AP8martOBGnOP0zTr6oA1OwXBu7s0phdrZKW2nKEGuRTT8AnTr5XJzhFavBTNjpICUn0wabwXcvWNazaJOg1ri4+CbA7p+YXcdm1oanRXc4eTf8yUZdumGkPUiJk8j/fl07SJdtWIDkkOe6l98BYOKbpdpmP0OP6d8KZ6knv4o8WUGjZSodW9wA0FNVpE3w/LgHXcmeCYHR0I21dgDubftXAQ2glkOwysACrwsqyaUto416kCWapyZDReTijIx0UwjafPpxBy1UafFThUtgeIGb3T4bfxBh/rCvc9jbfaasJJ74KdR66iGyVQXBwAAf7cO4IfEKAjMkVXhAhvuxAUXzEz6YGK3zCUNEFzuF4tzGXosFu9naHWlyuEvBusREJyThHOY4u8CvuJKvRTa50Zkc6tzJxGX80dBSqo4MBzry+SaxiWxNcsCqkZ7vNHPYAz2GY24Ti1x3HDZBD5bSTYsS5CQ6Q90YM6Rl3A6F4vL3rQ1T196glJ7NKw37C9R/4IDnI55Tq5JimfGVLERj+v8Re+ruB0pVVCDgmc2CqMDQ051u/ANhEQ5N9C5vFK90wLGOQ9T7g/9IPEdCJFJYwW58Rh7aeiTG5et9ZmFuhmbb9Kk+NCnVkxJDV8I7KQxYUdx9XjBex8aAx9Wnm6lXM2IIGfA0HhuEzyN8+iYlCP7kDU0qBJCV/pJzX5rptS7D/gNNsfhTmAZTlw9jceoPBiN/T/p/h7ZhtblRmPer7AAcwVwDE7r1aiMkbrlFyzEgz2Ft+W2yZJrNRV6gKdX4FxEbAvCOQLuZWZcJX4rsD2xCVe/Sx85AIMl73uSBdTVfM8ReMh6X0EWwAUf1N9afkwwa0W9f30nJYwGbqTgOXCbmlHLdmNXIEAv6McioPlAKVUXAl+7cn8IaFZUW48ziZACJwF7mTRshTtpX5iA1egXWhSLAGBHXA+HkYrPcW1uFbk5SaOva0hBch3ig8WviyQ/09XrKY9mNv81Ayg9RHnC7l+pgS9mUnvq+wFKGo1U0M/AtFQL9nVlwetDYuklg5GEBn7ZapQn6+R1WS7bZ7Pz1ThqSqhogYMDqffAwtWi8stiDhwU/qKwENFYyai/Z23oEYM/X9gWEOdSViO7XIFqdL/ylWl0Eb7SdX2DQLPBizvWyEIAr7oAeZjiBpiyGcFQ62kDtU3Is26MPFRJ5ChqyIbLDPtCBP79xheEG7Lehiyu7laUJ/oHChsTCjrn6BPF8JzyRkTcPEP9DcleYdh8X9oXfG1oqdKbMNWKGowFX1gw85gm+XJmlJ/CZMqklQrOdMHIbqp4kjRAS2Ufr5a/ycvtaSWTHlwVfAHUQkTkE2va6LW7mA6e3nRRtTaAgzm2747sTZ5cuvw3RgvdTIyiynnzW5qynX03mOKTvTHFTmNCrxIFWpYwcxN581Ats9cyIz8iH64avQvzUGarqR0Mhnwra6ZDYu1eXtXsl+Zb2VyDq8SVBd2IpIp1y2BSn9YNpyhllEH/yBAcEuhnBKFsLZG1GzKSg7UUILDARZVjdl/8du/Wd+vnJVzp3UbLbRSRmgS2Oa26bkaBPgOc+h0wx2bEzlRx5Cxy5M/JO8xP+8TPbcHXWIyKV1/QaGwy2KgHJe1y5SZdh/kPzvafVqLXxneOlu1ZMidMxAO911Zu4u+jpwoASQZCSQnF1GNasJrhHy1bSEM+IkxmLQoaXIYq5BlqHQ5Ceupp4p7+mRFeQJrJ6QArPz7f3+Muxb8UUAwor3JNEZvxgSa6AO6Wn1ld0n+WNeOW8jp+rK4kTCJrSQkVWP+KkaQnbarX7BmlEwlPk84cSbg6wYBglS6mP4h/qHStFjjLHYgVesfGeWc3KeJZvIzDZA9jxtkp+KL6QFrSez7ffoOTnyAIU9zwL5k167ADqfU+fl2zbJxll/LBcmeatzNeyFwXh/pb6uCjy6I8O86kUBDcxJTfSiftadw6VjkWEdrismI1iC1mSrFwRtNOXRw02uKz9GbgPCtFLt6q+lRQ6ly/dfP6IPY+N9B+b45xMPCCNJaIsphqTUBp1LlKMhxWbS/5rJV7Rr687wHDaeG1KWxlHXV6ofRKSg9FAybdJacSZ2mOCLt21NdWOyrRUWT7AchTlgTkifuaWUJh+cvFNw5oSKY3TCMyQv4r5JGtzeWRuS9jpro5ElmLkrycshQlRKuvIddr2RkQJel5TiLJQ0dlXferq4EUMulMWGr9jqRbiLUvinABpkEYxDPKeI0oiVM9OhWXaHkXXkKzs42GAx1Mv+I8yKhDkJCO7TmmtTPP7CJPoxatAFizWOw5OV9g4SI/jzDNMikIFKScJxtFgwYpej13IbOEKHUfS5guJvM5Fix2qo6sobS+SvQfixUkd+V+anX7+qdLFF9gIsZRIBkrgfTwVwYzSKstVqtwVBIJ9O0JxEVD35KKvzosa27m8uSz9vjS0Tzs73Cch+t92ChRb23JA3vgdkQ7LvG2WNlP8oLCffSIbiciSiLrLU7zYVWwe+VTiswlgvCXWbowxJWsXNDQztm8950aYxgcH/whv7PYhbXRtyqfuDFhAUp9A0ADGUfZWun7ISAd07fvrrcsMwcNEEa2JBRwibm+5GPqEM5JyOfuhBahQnquIqxXUUlLG+6BV4UFoiOcpN4nW6+hLdrMq7pjUAIq6d1CVhltXXMzozTkwq1JbccEwLa1F1b86bAXaPgsMW3i22ADNQXAv2koFS5tq8iHoXpiPWRMUE7igbWkuLuQKMjRsT+9hcvjbKio6m2+oC1KYFCKB5r42xEjpOTVkCGwqyO0cD2W5V6aHfglwCUNSf2Jq5MxGRZ8Thti2RTofufIzz9E06XnFYeIgw9dtGwqhV749I/oIjb+jE6abVrkf3XmtHRms4QUyvFTNSrOvD8J2I8KxFUg+pAADGHgXi//SliExhsvu3PpjdTnXWw+gEHvnDZwmVodPASroR6WD0vGAZs1TOMYYlLaHzJlsXwgvHPsmqM8X65RUwQ0y6zttXckGBXDSAfH6E5cYttdyQjWDW21XZzVSsC7IyvlSZpEiNBk82HzagLj5E45jKPLlw32YL+sXETM1Gsyr2HYbtte4IOCjHFIQFb5bGxHe92jNz5OJZ946vH5ID0Hj8ZvYkMBmUkeDoFH0AIyYJTdJEg/ZFf8BjBL97fSsfqlwY0owqroWDeFA+BgApGHc4XKBN80TlcBxBsbfyyeke00ybwkTaMHWYN32YIFRA4jzgSlmWQ7y6dCGZU73D7kB5od1P5l+rnvgY7hkPm4t0jH8sQk5/zctFSuXW8uc7oNX/3WTOvBMkUL7jgbG/1p20/uAjNY536iGU7W76HV+Le9Cx9mP3kIwDJqqkiK/C0j7kCsDt0hYCXgfdQLZey+W5m+2J76WvnENFempkdVcodPb+gxCj4tfM+DJc8Wq3Z7H5Y2YmocZrJyK9ACAKSmj+KoFZpdHWxJ9Wv7L1fpnsqHW8oKem9wnrhPCUaAaa94nqImEuTIL6Q8PckP62EPtiHEyMPgaOUFV3UUlsRdmw/Tyw1p/nHxWunNJg1OLamIu1iCUFemf6qBMG5P/DJcDdeE2KmOqTChEcbva2YkQdhxhqA+v8r87ZSKHeOcmvmM9UNvYn7uWNSeraYVqwfT6y4RN+cJoNFWsovHQAtdtBFirqbzKCtuvZvWoLalm6zTTu7J7Npqbb/GazDKb3shDJLXnUEyoGnMdablrPbScP6Ctuy5f/5E9gZFCw2EQmLWGp8HaC9dhjNqECeR+B/ACVrezP126SqQeKR0AoGpuSVn1ee3wIC65fixYhmggne7UQ620kJV1XgBJ6GgOx1YkmSPsa0z8zfVmkOzpY6G3Abtg4ExLRHpxkUU8Wmy7OxGtyOHcJ0zYQG9X3CxK3OUr+6MQkjkqIgE4OpuNViaePp+Lda52lvDJaQhml5duKewMqk9/M60JpYoiYbsZ3qsTm89hItFqBHJcU1SBNA7MG+HBWvwplnYHweQnrYBRms9B6l8mQ5UYA+uccY1rojyG5wt6VJE5aJpn20dtCb9cjkGqDK2Fg7fyWeLFwRXoyP2UVeVchd0Y4+0qWG9AJFkjkMD/M3TqNYfUNnUEJ9gydwVpoHf9jtUKctTbY5t4wEdG2p5LmoFdAbujoLcRN2MLQU8qraz7sXVnMT3nwgtvvvkSAg6YAT9vVFS124I6wZLHTSbGH4fXrK9rEGLy41MqyqeRVZJp3CCA02Ady6g3DjRrH3zEmUxnO/wx5JBr4KzoMs/8MOO31vz6kCRBR+/Co8ZluAR07TzgtYRBrJ0V3xjaRAotl8VZ/0WnTnKvUsuuThTI4PMaIRTSiMMKVNz/dLs+9uKESahoZIvuJcogndqbqCPdtiR6fxHxKaStCCOBzgsGnw2sVZXZxccEYqd2zOjzP2Mxbv2cpwYLZ+A6Tc3AztE1oBlrlXltmwnVfIKWzVh11VUR6bDmEneLIPvxAgUkWBYbPWZbrL4OaDJsaNzi9mRHUkzefJKFdjRpW3/qfCIPKfRc6mlNNB7JrVrqd+XVGB1VKSqxmvzPSz4BdiNobhVRRBvQFObhUZtl9lVF87YbrDdDbIj/rtcyF3w2/dQkJLe5txe1v3jaDHxQAWY3umJMGme+kEJDMntT9WopRd+7UKz2ACS0wXmH/4qlxSOEiaScLD8XP9iUiq5pWiiz/sHYrJfRoq3es5Q/DyaNAyYDuv5MeueBBrIsYK5c4+GOlOH2im2ea54w/Kn3uf0RoW/VXScYDC0lJ1FBOr5f/whgydrznYmV+tKuvvP5Qm8Ds6Na6XokS9V7TlW1F2LdyPTvfzodYPTJmlV6lXe7Dn9Qi8VIBtblH3qCFnrXt9c+DXQwWn8ZwZNokl6JAxiLHsJpfQFf5RSCCUUtwlxff0vRFi3TFjTu08YsdWsHXI9/SCnnOj8S/KRH6CEOk77XcJLJoVF82yIgZFHPskNK2chEf4VaIZwX+YKkqvhvNSgdgSGG/7SHDYb6HH+zmp8VnjwqSDi/gbl2aAUdYXipzptFAsSoQd54t+XkDgK5Q+L/BEO2jnY9p6a4G2LK8a5uYe9iauTRQNI19KqGXy1ufZoQ4jTh9fAibVW6SqaN6hPzGilC0WWMDCVYkS8a/FC8ip3DAFrNrIidQyWjd+5my+vIFKbB0tq6FtNY0X5qWCroX1nVCVlBaYbzlW9JGwhiKwnklg7p59njP5mBcBflLMt4Ahx4GTZUyD5fZPD28s0OQwBW34usz/YWHZ9IlHNX2F9UKxbrUd2nlUEdGQJMfMZHKFSSe+PLrWT9k1U+ML91zSK1FxBhxYhjBJ/KSEv4Ntg8oxY9nIyYp5EREym8/FwaKbJi08L0eT8rtgL5+xmpmFqaju40UUKz7iy7gVcU+rCaPNlfwYjXPMv5o3RGdXGOVSkC+JZ7J5lGBRTTBtzhJhAiYgrUAhLerCYITwvtilcgvfpYZkecHcA8O4kB/tnqNLRxzpU0jPN/IyRPyH3oCs8l5H+gljnoByFWaVHVo25rfAJsO5HZmOHfqz4ruIMhpcJc8QMCY1niq2ttN25Q88dOihCNuEaUZ8Yb00UXvLYWHfHUfu4BE3GjQ/ImKvEo7JWwgSfTMbq4EUxBRnTEMb9iJG0nZLPKHYtQOzRJr2MvR81WEz0bH+4LT9+H5J4Q0Jc8C4M6zzdoX0eDV8fgCmWWYVw/tt3UhmX03meY5VznUxHBQwYWmTlfEtqlyI4PPO0dBVRh4PMQl3A+5FVKSVeLY0/lKx5I5LZMPzfysvEbSS4SVnEGEjxQlSkMz5ZZxMW+mNgE32TSIEPVaXQJ5fjkBG5dBZa8qKhg8ahXX/zAx8MSEQoJX/qmTjc8c0UuN+wrzTdm8s9WO3XP6eLsQnJXPodZlNof6Fqh9K3uiAYYNwIOfbI1Zn+GWUxrwo5f96DUaVJfSnAsnMpNj9UD7kt9mOdF6FPkIyV/cstip4hjbGNphF937rZk+f3MAuFvccNsqlo+lrLEjBOWp6x2m8DySTV1zzxms8ewASFjEv+7FD8zKLOFe01PRzVKt5c0S+qE++YWf/FkCqv6iQ0EbwMb5DlUO4Rb9KaPSxOMpoh64D+BmlUa4+IC5bdLbeS8oFld4V5AtiHuYdDB17SbwDp+CZHJe/w96EX7WC1Z9SIFUEgyJmIE+Bl3NTj0FrYF2ga5qJ1Upmk3asQcPi4EOmeln1s7J2xZOvkF27RAh8n9TGHMoYRpgnssVh0xPmPUsA0wdfYT1nSjiN3/5ODX2hSbXIqgDZE5QLcne7d3Os1fn+ZfXDW9Npctt7I3DXObb7M+khnju4u3m2CmnsKr1cHo56DGty5hBM0gR6vr5vTQM8r9vDCSXonUGR33Z4aXBZ5QIMrjWmqV0lmQsHrgYrOmsRkn2Nb66MqP1vKBjkNUSSSfbMZWm7Bp7zqsx7K3MbL8j8oe4nNXCOHL9Sl+fwt2L5Rcp2cbT2rZCP8k5n/hYRmUPgn/3459quSMx88Tr/BTSUFmdgI6vfQZVsyxvJED9DDvBKD1uYpB9mvMKV26qT5I8plA24wt68dhTaM02PP1+YFl8/y6FifAQW143lKZQW/c/UXPXMZDxdZGZjcbwWuspLR9eBdYGOM/0vUNilNwlbdjK+eDIgGHqH6j+1aRFHCD8fvUROIGJsV8hgBoUSl12zFYwN4e23qv1w9lGTCGUyoR2eTvrH9hh28LlJQouFxu6TYgneFsxUtDiSWANKICU7j8TrdR1C77mFsTQNdNbrE7KWU7jcx6sYKke32i3FbRbj7ZoG8SwDHUs4en+CM/qqiBHQ+n6WRSm8V+qyHH1hDgaamxot56nszdLW4jxwzAgnesRi/Iix/Hxzs3OQnmTeqYGjdmD9A8Tf4kx8qnOKDfJAQ2gRlRBLbfA+EWTl8/eU5pvQnKO4Aks81/7p5JNwH91Jny1qgmZa+0n2IQVnL/3TgMx22xeIY5OV3RD50p1M16c+7JhBbcML5sT2nkQFTBTzBMMDYit9h4oQ/K78WiRje/Mf4OHUp1fPQmC5jQ7KCN+RaSy22FrKBcj9+GKzCAWQ5NfrKMouYunpmdjtlR9/MVRqG6WPajfBLDeJoAAHG+M3R/qn+4+Y6Tu8H6FX0ckS74PysKfzS3jVfD3J2p3X+Qxcb2RzB4h3lTKOm9A32yW7S6YZC85EqcuB9VD+iljcV/20Zqwi1bzQiOf4XKLvgL5fvTRBNn8ONw8yb2w1w2c0d+JWNxvfl7NoRMlZStY3SFkYq9xvffGVubkA8jmP450EgBn/UTSsfeiBdxEl+RA08GbyHQLBnloADSu0FYHNscrRGABNRjUbxH2NEUMWmm2ZD8+JPJ3gU628uLxkRcr/Cdxau5otqruxSubCfEV0JfUyuUOfySR31tT1ZyD2m4La0lhJMCsA/7vELIrDUy4v4+sBUxS9MPJc8ulDbjcU7RljVTpJE4YWbDosY4EPORbM40GET9d4/+GphgLsyxJB73gTUxwjagoMdV9SxmWupEh0g6P52iyJQKg5Qtac7HQSRhYNVUTu4rhB3SGd3y868wTO9WW+Y6OqJKj8tMUB1a3S4PI5IaDVqytgFM54f8HUzFRCvYo8mPAHN8J0Qd3/D8NttfqbQN8gAYr2TBb3t3lNFZXkED1D3FVuMVKWo9XpgrVtRmdVKb7BsSRqYN1HDMJOmktj4CTEqwtrOg2zouHibWlzoSJQywQvCpMrXdY9/8ETqBWyscraJnCr3cRUj0cNs6gs4M5PmeF+le7kZJFVMi8r1dghEZ8p8YeGjoCJ+TzI60oLXFAbUQIwOK0fuj6Dlm8f+a3qDQb2tzrt5c/GRq/Dwx+dPwx8oDakaQUg0OwwlxJ2eo01UvybezcgwPZsVHtPwP2pi9Wp2HW6ZEaFewJ2iodUWm4JBwVOuC/Mz0GtdEicgiNp+tBiEJaZ8U6dUdCw6f6RGptV/xhxBjbE614BCFq/2f92I6KOmxXsbpbl/VO/WuudpAlcj1jPROJDeWkimTGj2hC7uRKLJHm+KfoPnHSI+vQh8H0Q97/rdsGmn6TqNUXzUY0UamJKxE6I4YXrzNccR65KIQR1fBjmWg6Jc02Ck/mcWRZ63iP26RJGysrQ6XluHEk34m7NaeRGzT0mpVlAM6iuuozVqiK7mupvWBV8YKKYfMzJgcnd8la1RZytZEJgvvqTIyEqX7p07BhrwVh6618J2MHvK3bPk8G9MAR8p2SB64IorZ8Z5ANSqZLKpvsLi0fUUqJOYB5wgO1garbYPKSmMctYupsFhj6kmY7iAoArLkQPyBF4jolEvgOxNFXkpmDzRwQ1UZkg5SWoY9aN0XKDqClH0darOonsvvlAZOXTQa4JkvGVeRscS1DoGAIG/Fwj1v3oEVkbddPuEwODxtP1EuM0HwWDbSm0Tx/0gOdjAc3V4p/2GfW7r1c+5CmFLy/bTFIz/J3WQvwqSpDfpDfdGZ0BFlzW6PkpK24HyOaS498xcwfvtJc+HXV7YiVNJbf5+L5+SE86i0r9HoKfMIZFJFjtLMWa86/gFqTmrsxi9Gq6LhHn+eCF0ylENWl2ZyTdiP+LFhP+5CgrNXbxKQxcxqjz9LHiAbQlMxsNgqY"/>
  <p:tag name="MEKKOXMLTAGS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2253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1775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1774"/>
  <p:tag name="BTFPLAYOUTENABLED" val="0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2247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2248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1"/>
  <p:tag name="BTFPLAYOUTENABLED" val="0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225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1775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1774"/>
  <p:tag name="BTFPLAYOUTENABLED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2247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2248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225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1775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1774"/>
  <p:tag name="BTFPLAYOUTENABLED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2247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2248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2250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1775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1774"/>
  <p:tag name="BTFPLAYOUTENABLED" val="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2247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2248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2250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1775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1774"/>
  <p:tag name="BTFPLAYOUTENABLED" val="0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2247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2248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ANCHORERIGHT" val="True"/>
  <p:tag name="BTFPLAYOUTENABLED" val="1"/>
  <p:tag name="BTFPUNCROPPEDHEIGHT" val="472.3416"/>
  <p:tag name="BTFPUNCROPPEDWIDTH" val="585.2665"/>
  <p:tag name="BTFPHEIGHT" val="115.668"/>
  <p:tag name="BTFPWIDTH" val="254.4964"/>
  <p:tag name="BTFPLAYOUTANCHORELEFT" val="False"/>
  <p:tag name="BTFPLAYOUTANCHORETOP" val="False"/>
  <p:tag name="BTFPLAYOUTANCHOREBOTTOM" val="True"/>
  <p:tag name="BTFPCENTERX" val="64.32433"/>
  <p:tag name="BTFPCENTERY" val="36.66667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2250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COLUMNS" val="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iWcfk2RmY+GE6Q6T90sFUaYhHdubK/b9WYMbiqTQFZNRdTaHJ1Coz+gznC5J29/l+uni9WCTqRMIgVGBy5FSCqTCP+Vdrf4pg20L7fH6DBLCUQPEirnQtbpBHNoYBczTAjyI+Q8sdgREG8v3HKj7eJNBIgJSMWMn0emcwEVHj1u6frAMlnit+99IngQn8QIep/Qhr8jUi1LO+/o87oAKNdTM6HxTKJKukgEon8U9FN9MjiMGwBafZuJU+WqCFQVdev7ARK70uXYwiD9qBOT2xEJ53xs00Tf/E5haV1DY5Jejc+G8rXeT0UMHAoqTZdF5PTimqNMQ/u4r2K2rZiVAy65rGTsAipTXkzOj+LqzfpFyxzuHfdAgpd5blrULJEbY3qpdIUzvO77uPOqZui+8jl2i4w1MQet8X1TmBA7JkNXRB+VgpvPoxFbX0IzPPzJ3648wlObgrXOgUvPqc/c1qmfqMtmWuxB0Dnz5Amt3qn+xrbqsThWWtnajRFsODBDg1QMqiRx/ZZjNs1ZguyQI+fPwiuOLtokHGMUTHOCzM0LEQuPamp6ByigqEzDW2JB/vn/ortqdVFlaMvYUWeXvYzhqCj6B0BsDddXNOClCf5lHz6MnXociBqN+65zGfFIiXs5yks9m0ILD6JVOXXTWmoeOTmyZHgHx99fI7o4M+00g5mMv6JqgvcE2RP90PKhxT+QhRRrd0m1HNeufLBmbHQ14XtUgwTL+ZcZdk71bwd1DpIMzhf4/BHP8wPj/hchGuC2qgoZL3VETtbcjdDiY4kDSbD4E0YVp6yCU3N0vAlp8HglrbfD8B5CRmenuHuTdyhOPt9KRL4vY37klc9tbprb7eqy0yX14ZAkaftNCktTUGESww11zzZOJS7OMYUFHx8a4Wa3GFvgDzckQmC2Wmq4CbCnWSy58N2nQE0FU2Kss+M44TZKzHyh1J3q8R/1yEfmv8Ol9wAowoJXSPFE062SG/tAzkDtZVPELcjrt2xH8KBEuGLS/ya3HpOWaTEwLQwnid/t1jem+O32Ee1WXtgxZ146NuOwiL5l1BcKskOE+mrUS6C9ujmHhIoxUpjQlNJBTGYoW50GJnWe49g6wniiIPz/reTNxXDl5k8lsuUOo0VlDMuJT4QhGvRCQ/fI6XysmC/7kPKcTYhLlyiZ9VYZeNhK9gV/BbF5WZ/DtmW4bHpcZMQt99prGr1XI80vNf86u9CnfZV7kxMlAiDmR+zk8MkkiXzEv4Vv6L4uKjxwQlSmzrLe1G+EHcO2zztNhMurfLFekGhAqn9j0XX5B/kJLOABh8s5gfOmN3/bA60EFA+y1tw6zgyDfw3krCyjwrLoB5Dh7Vw9bJH+80ljR9HWxkeEsebhJUIn+8Qb1z2QX2rP4/yaVqlN+cr4NTjU994ifTtBd1vf7XIsybG5LlyohNuWyRb1j9uVXXDWZY95p2A9yKdhLt1gHfNKoP3rnDU7KmaFUaKav5DvhgiQjz7lG3QPr594ox/X/YkV+IPg8xdScoCN/GQdB6YAFusgr6YYqmd0/xxX/+IzffdiUG5nNCBg8m0YI5oBwqroQaWaeFH0iy0nShYZd+sttOcsaHhRFjervPCmR1CjasuoGKhjJrF0xgPiaaOeoEayG4Rp617aHxoP7SOwiH1Es4LeWVllZ5rEPidhX1y81JdrmWFYxfrTkv5Olyf4LgjrqC6UDK+cqkDDfV4eTJblDwLoI6WKbFNEoqiS/UBmUWaFwizhTIZnBDSb8EFweN34efUCd2vh7X9LEbZUbhVur8nl8uV9wLLBmkfJ9/XPmXeienhY0S6bEgTXBs0X8bWw1f6kBmbUhjMz7SFxIPArKYhqgKsO9PHEmxgYqe2GX/0o8qOMNrKM9npBr9gu18Caz7D1UGMzoDACyZ/jsTOsxrbLYSXRljNioDqEaHlbtIFZVRhrGSq80neWgmCJwo4E/UuBeOOEASK7u9mTDEeqp0z7Vw0ZofiNd+fJJQF3+OXz6sCICfm6sAqZ9pXJIY2SNkwdrDXQs8om2d56kZQqKeWtqKSARLz2RXL60qkzspxqC1/r02ytl+mTXkvlxLI49/NXY1CT45UhVcY413rVPhkIEY9Cr3A+TrGJs8/nzWGSkr615m6xBK1sZvF73we7aV8gysb1wLMzPHIZoUGaTd82C2rIK0wrU90ixQzV5oL26F2bmoHpkec+pycnAJKSDjvYWKq51XmylBXUC+wm6kk+qGxP187OptZDdqG1GMy3B0uA34kE/FcTsta6bmmDX8ZS/CIKuBIwIMUzj4xrXm1Yw+66cAHXyDdNuMYze+ISARkrHluXct8zZGmjohi07xEvqDxjr0vebvAPhDya2Az5/axKWbWU7tRBoPtLSUEwCQ3Rh8+eosxSVavAwtBDgimzdKqq2TznFLzPERzZZ6HNL92wOqBsUHuqu9KyTKP9tZR01vP+F1eznaoHpesvRHtjPMuwOf2wFRt6WWbkrGhKqEACsjR9eSydd5lHH+aioEqNmjBdmPK7OV/hFXdUxUj2uEHlyqm/cvcSO/1aHq+q60owuJR1O1Ejf1MXNBrw4w3+xoszkVcd6ZxsSIN7Jc1N/yKDEM1ulj+7Sp8rqkyr9rlNRhcc/UbOJ5MXxcues/SvMbgQUkVliflOdyHSpnhb9KL0rY6LOrnbq8z+tv7Mfbu0uY/EzR+4IXRpmL57RifgqZAs4cZj+gZ6Vwu8lDrtYxLrInaY5L163yJ+ITd6D9DEtwqsMAoPszkz0Ty3sfZ+56G7cRDzG7kvFWiUihjGIEGz/bBKsb2bNg0ordR9pM+UhmNYdgW0McshKBZXYLLRNNQ3UR26cVgwamQliT6iJnPSU91wLOdLMaGKxNsQEpt5aQht3QjE4BG5yz3r06mYGQPKcZLsAVZO4174WWEqVyu2lciLFOT2z7ss3TREkjRFCXFi5RMY6dHFSv+g064+mBjR59O2PIYeki5FQCleX1R7G/3P2JRsz1b1kyEBT/70KuwwLwkozHEtOH4ZtYzCWWihyUeQ/HdhAjmQ7CdX/Shw0IfQLgLRGO1d3ln9NzkceLGzAnzpOou42OcTkUahG4Bfw5pAqcz5M1hZuQG9EfGKMiVy3GLXJLKZk1dfkVvzSCKLJWMb8U5icHBcrpjQqyEd1MELb9KS47PkMYc80eQLZXT2+BxorGrgtHVom0C8NYmo3bWdAFVNpOfABGrhAtUBRFJu6ZMQy+VjOuMclzVgahcjo71y6oxiQMejI1yMPeZ3SwBwpD4euVwl0oEMPSftlPix75TUs2r4A5HAMxk/mRoGE/MGzB/McWN56sPhwsXDHDPPdZ1C7Jc51xV3SpE5RIOTK5G/iYojkWbSnwhFneMR3/AjU3xsHdScw5a75vwyArfHdoryj1IyDGp+TaJRmm1bKjhVUj1JZ2AcFAfhFLQtuoaDCdnatZXVqc1h7K0tjJPRdY7lrNEqAhjTFiyPHTk6DpLoPMVVBOQtvpS93TbRkOrPSn91OtccO2RklwM2UMSRA6BQCr1H85R8Ru7DduBwIGSvBuUG9JCv+90A70rFW7TTNSe4f8dqDg+OoihntJdxyZqRtsxA3oHqRMUOW+jHKdG2KpUjWo3umP5nadgMb7W8zpznq3YCGlWq6E8C9veyo1hrYMehpApZurAOzBBmJjRFQGSmx3fFO8eaaiLFYUSoIgECkRdDrHy7iQ3VDOYgr8lQe83e8MXcgGX2wqfyaCo2WWzwCK9W6UBX+F/RjVze/fy+UmIcPNjg39DKS19JaOOSOoChz+/EK/dWjddM6wzcd9DvXtiVKcmB75rOXy3r7iETQ4J5bhLBUwZ3vnTPkPfSANrjm2YJGUiql1ynilTrw4evsaFfbnaNCTY02Kz6iTBEEwIC3TODrpoEhMJVBSadRbkDeQcWmZ+Y3EdmO6aXKKVplvP3gEBkEBEa82zcHcR+JElabYxhBjuA823IYiHgo+EVbaEfxf/UzxT1LnnInfCwyyJwL29tnC8hNNqa1wSQ+wBwOkHM04w/B86Ar/HFDqE6oOhLsEt9v2vkgzLNL13cymr5e7j9eSlMGDFcjlIjyJyyy3NFFWsWW+4Pv/A/b4wm2uOgYV9c8qcRJNH9uUoHH+kUASkgWDQbBmO95lh0CNNVl942+H4hZGzeGrcPBcl3HlqmNkvb/f3uGig7l6Wrb9esSDxfgKS9+N3cPg8XKJXN8/Om915JhKMWZ0qNoznfnBfEhsh0lfDLhUiTFsdwoNPcdZD6PZcabQ+5NFVfulxmSL4FiksrmyldVMLodwgdw1AdIzQG6nB0Mg1lSILtg6DHe1Mm86gVLWy7Vaft7xD8b1J02O7TwBZ878MjLGEd3cMcuZmgeSLtpGGr9lExzPgk1Dz8uEXE5dOqU+zsxSlb0iwU1echfR7+OIh6C9r5dNu7u+ZfzNJeujrZKibxejZ5E24G0E4ty/T2Z5rz0j8sJEJftXX4mDT5DMDTmNLGBX0bLoRXYxeZPLSKT+ULbcsBUknmZ8qfumuFDR45K0XVhkJAxJKGT/uUA12RQ44bU7riRPpSlDr231wO1uf03S9dv7s1znB+49U0g3/Q72aX5IqhWzly4s5PIlAd38WS79kGtuL/O7cdvPcdNz9e/HaD4/MDNonV5w+nvRjQtBBXfvNzoFO/T7Q+YAA4GHffdWIFuUsOP9nBN2hS6j4cOAEQvNSUAknkRbd/1Z0ZHdldSaP9XZy82OIBVtcBN5TliLE1KyQb+kYe31tHRHKpCaUbRlanWMMY5AZKA2bwsWVDUJ6Rv1EjJrgoYRtNx7SbYKDGFB+BFhyaSu2D8ul1vVunbltJlLwmV6Tt9DPT/p8Gf7kp5CMmi0jaYZ8rYTkZtLlk36w9iAGsEffrha24MzifK0QFYemRsnVDqU05A15MVHlWqZFL1RFinQM4AxeKznJmP3yHfRc9IFjIJ9BDfIvlSMxTbq6oFGKVTlzD6InwZSezbB4L8PN5Z8PxgyE2lmOyb/HtkAYJFjm9D6uqsBMpcNs6sNVwN/CPUPwqR9CXoClJ4r7Ic/lhpxi6qKT/le4zP41QqyMiQibdhjEM/Nmf5c2489JoN2LS8xqgaIqXfq6cfMA5Fjnw/HhNHN149XU+a865L7s50gJenNSIrDlyUB1yd+lISYTur20XT5CdyZl8Lmul/upa3LLGoHj9h9eTCQANiXoo++9hVCuqk7ycSndK+WC+ee3W/UcxAIorJosk6Sisma/5zP8KiueAKqFgB6zTMR96SLctZbqA5mR34GnARw4H0frR++taDe0o1x5VtZxwXLK9ztCLzlyf8igCH63cXhf7eg2M9YenDGgEndbqmNVuPC6xTjVZYrdL10iZWyxSuQtJogiBT3ejDc1/JKxXgIi5kS0kSCdM3/HDJYyb49ReIZ5PFrH2UDZiz/pCizY/YyhCoMaKphIJWoAr2DY2OaPcsvmc9AsL2NXeOqj/hM9xxt5YT2/JnMsq3GI/ovD32UVUeAdJwX1O9m9CERJLxrsMQQ7Uo7Del4z4DIblG/oTRzhYuALibCRiFHeDxCBA5/X1EBQNrIhsKXMec2PSSIRA0jUPzcF75NlzBdh47ViCYd/wOrF5HaeC+8IGqoHmAkSfkMyF0H+HigsmnB0gH9gXOinklmtwDIna4nfqqYGPpxeaWepjP4Y+51vJMoeDgS9cqw1FcZrVf1TEjV+UnkmCVdR7cbY/T/oYEipq2q3u3xbcFXqbHUl5RYnhQVcTTHHnKYDy/NfnPairkFWWh9ijrmeFcDJMlF85lNSbT7UNizxYnkzLLn+ssS7pqVC8674V/2xgEiiABPRkvBEnAHO4IcZ63Zuo9RhNODqqQF25NgC795A+8hY2wSpaeh4Rb54rnm+EKUYvjXYQbnvSu7LENap1PlUid1sfnF42NsmRPTwIRhiV48r8gLJlaHud9FqwOq7o+rIUaCTVV2kB3WM5wnMdDWd8hZHM75Nd9GGXsLA3mvkrvGATpVCTanyxrvM0zYZXdwdBZfw/r3ciO8pIfNBL1rd0KsshBXrRfMWrXGGuS7+9GGYIY9HsBoFIaTtp55CUdSHGKbJhVMiGs8ejWajcMRt1R+TTkuoVN3kLVuBFOlqy30JKcBz/EdgkXQi1gM7TSinlhipko53Pc9IC4Kl9XInhfwh1u+hpLDUjt50Bt1T4FKwXLqdqrPhlInKTDWAncbkGnOHOaa7v3h/XTRMScvPcLVOJpoABw6gDxD6/oPXKomDJPjmRJ0P1RC48FY6l4ca1mODZMWWw6twz278XM8X+TalG2C+eGHJpMoWoEDad0gYxLXvte/1iubXULOwRpAyFlj4+oWE0Eti1hSGVlg4qpr6o7EEFtbwzl8VkiQEHHfZsJ/EbHNgZIQwhB1YKHuQzYlgCqdjjNZDVagA6Bx/j/4i9IS7DOFPskvJEdJz6NtrfbghNjA0DS6sDV3N41KIgAqlxix/GtTHAdwL5Ez0atT2Qg6nCwP5hs6ZFCEgE0P7PPG9zo8TymRfw4dubcvUEU9GcHt7XAUg7N6U5EUgZ9pbgG7BBarUOJbZbwrz/WK/YIpdn9DvvmnsNtAml2B5s705mFMLrHFH5pP+0DBljcwaewqwbig0tAPlLnyrlQ+9gKXXJoOwCoytSlTz9pi/Q5LRcNeqfDOKvkOTAndCBnb2XiJwMlWPOo6LFhoNyaVrBQO7ms7fBaXAcwLtNipkkGIcFGZaC7J8IkI5jR9OBFEDQ1HpN3DZURWrYjzwZLhGOiFdclcNVoy3+vDHuwbm2ztteDrgqVid7kZOesB+MUylGjj1C+bgBHES5VNAc9pIe0OCrCEQ5dnBhqu5TPDN0rZhHSDTXMvHTCUFead8kYaxpI8dSdly6JyotzOeb3ZDM5cAjxt4Bj7X5m9GalzrlubLVEioxABzRwr43UA8mYGhwf+tkyCbZT3UpT0c0yXQtRbYpjbUq1nhAS8NAUk1p6mBNtZkQfXQIi5Zhf9CPJAMLdNludchV1kYXQ9FgyiVe0I7nfoWplfHDJwhPIFvr25HoQ7DhV2b6Dy+Z2gyZ5B4FeUM8ux1zH3EQqhvMEbIXN0Vs253Y+vDhcNjR0thAh16jAhclrPbeeGzAkMPyXhqc06OVLUEAVXJxH2671sZtDpQj0EgIinFL/H5kd/E4osGNzjg9rEebWVu+yEMGL8j5mWMr3nPGc1djl+qLy/Kf1rOjv9oeMF6Af0/rvmY/FskES228a1gsswhxzqqC8TSdFD2aUdFINkbR3JXP1+qAYxGcPKQdjX1I3BHB4yewXAjO0FL3GGkrlcwl0v1RST9poEswpvK0LZ2J+CFTFLE/rvnAxIgPBzU8bhKRWs7xSHV7l6ZD5rLtvYEjo+tQ8h8JrBPBCuXC7USrNFOKtff410aMgF+Z7M8SRttDXf6fcmIX9T4vufeRp3YsL9Bf60hZ+KGGVuQ94jCLkQ/4raAl2n7iDnY6IKoZgwzEgQYuTqobpgZO6Yc1toKv2fo7+rVbaXuxRNihh/cjkFM6sXzY5aLHUrIjExN8NeoGPwoQ/mSgcZxkwvmTSHEMef7B5DWsPRQv65W+Xi0IHzY23AGG8liFlrw/PkBlva9/8+9bKvGCgf+azYVB6eHHaHxD/17n/Jxx1HI8RengYNE3YJrksmhbHHUSKqQYHEwU7h6ust6qd3cj1T6aBmaq3Z7QKwyyrsuKDn3qRAQw5O14nhfId+hSv2m2OiwZpLon3q3bHuym/ACFfbjNBNrXtwzW1et9uhYNxuaDn9CjEtuTT0MkubZQIw7PFMAFKHRrDq7aCv1Ue96Gi8rqVL7aZB7inKgQCFcjpL/XgFOEKjdrFup5l6cjpZzSNum+vIicVvDIeKyZyjLtz5gkQv4EjvjzEMs/7cJw7rexVqMFIARzgAicTry9AFrfqFyUNSoC6+GqGpdcpYSWWrK1yZfmTVIk8DGid05MOXrrMeYRKv+o7cF2t6YN30Qye2eU5ASigJa9Psqc2ngyHcoU2nh1GEmT7k5TH88PT40vbRWYKowqMc9dq7ZQSWTafmJpenOfRzDSVr8fBzylGDKtszXT3r+8L24Tv5RSII1OFGDqWt6H6iUovub59mdNPgGPd1DKZiZ1tTAaY1toHwUzfjxbuo1Yyqgl+HJVdb9WnsOLWKNKqBUS/GcH3S8PZHP764RDl6CIDjmlHJZZXMldfnm/ZghbWoIkGftKGBQv9SvoMOPo/oIEKHImOazrnIfjOGookXaxhYa6KV0SVG8+wqihyG9FO70BspsihMqab3NMYIuV+vuSFvTPe8XkziymXgl6SKlKHqlloHbvWq/mrnJKnGux3MrZsJzfv1Fs/PEE92nVkCkMzKTaXwNNQ1j1YDxsmoJfcW46VJC1ZUusLMEA23HwoAGLA6J0kiOk8RTCPTOlmd+E9gPQC93os25hHkBft1wKuxj3Y+BtTBc09BI9OVmICfvAOuneonwjV+sWghAZjdnv3fAeqI8giRP16S/ls0VvAWuo9jsH/PFFaSEaWo8kx8NrBQ1BnxEqoBXCIC2McvJT9eXTxhlCU8vd7usXfRIgEYO8VyIKusISxTF86hJMGe8apoLnUcP+WnvrCjEVhMIFg57DAk12y7GzWcV45r6tIGZBtUOCssn5mDOz+FXf869575RuzDM65hQf5VbCrdh9Eebypp/Ofb/V6zpQg9zkbW3JxprmD1Xa/j9RxKLw0y8QT9c04XModHWJr78U513lFGiQwR0bn21wrGi9IoBOuGgvS8hCheHlekM4MgMcD5jseyu66mMrC4X1x/W7S6RvDaiRQEV14Y4iTrW6YYIuNTmfY1qKGkluE0qQnee2GV6R7wX5QZJNwNHvUvxQ81cK7FlIgPmMBMjDW3OGc+x3jsHE0jpqgAqTPvtsJE1DJiw754w1C3tqNOBH09nIzf4ElIbFR552ryKlWbbuTAQNNSnImRMkYuVCidc0hmDlcalU9E351XnLOaUNQ23vZsQ+O3i/UeHgQKMmEIExJYUGDC7PmP6Lp27sZrWJOR6mR1W+SvT5fD8QflTEiop0AhmZ38iX793sLZZUxcSVt+JhHvXzwGRJ+kjT7vXn6Qis0OgPMULetDRaXGC048gXf5wsi/5+G2f+RAcF9zR4FkgGQLMHH/OBxzdMVAnWvDJ4JFR9EKWKulnoCbn9Mu2pBfQeFSHyo6EhBYhwG100bFaxsTy3/tod9Nen8i50U4wNXP/SIO/VhFm2t+MnUhoBFDheuxwLJ8PDeybR3GRAySocXMQWdntmTO0EY48tCEV3YjqkNM2+wn9flQVrLGU9fNgbrwrRdSlYiBdqic2F0LvCdz4aL8njDoYkhrxldnYcwzNLB2vAzdi0rtq5DoIB0bnluWy5Vzr7SBLADXKGNZcmVZsP6xDGPT/N/KlX2AQ+Vkxnp/hSqu1OBULc+5NyK67v1cJkh1oFCJP227UwUxx3IRRp3Z0KhL7zD6JWNvRtyRQAjVkIWfz6gD9Km6m2NJv5Z9vWLAmVh+3gtUq8bSQbSfhYJzIMiyibJm+06+UVK8wwWX0RKCpQccwIuJ13T8v+HSYVTFLLL4JMLl+0VwIP0jnkgS0szLYMAViBmpt3jk43RgySEwsao88miGg+laCeQN9UlbmI/AtR2LgERXDfFKFj9zzMnrRF3/WQA8FIZAazkkbQs1CF95I5xq6AZQJlMsczXT38jTOejUsDqM6n+1LgncKgC8GmudkmTE5VFOolJo5vy0yuu1A3bzBYLk0RKXYzIP5b3rWmmYO014rkQ6shP1HKX67CK+/Q663QBeE11K0+A4Ue1Kn+O/xxaHIftxRHTGMbCWSdPgmsq+VYsbl1njcWYAPvMSCAMvebi384uNLaB/ORmjWqcRNQJNSYxrL7wCZZsLNJUhzIopZUp2HKA04/PyYAh77AnmB2F7J2vHgnugSWRfRy3oOv9pfgNymqINA2M+ME2EvRswAj40dqPGf2XJH8rXo/qxB7viAv+R8QkLq+5raUFcCL9SRqmOf73C4yI/TwQSOH/wbSnLD8g7THKXSuonmrLYrRYnrQ6YkUZ+aSEWxUx25xpe5yZNGQcKkjwmBS5vWK2IAbovkNXp0FKM/FfwUayTemEQUk9ekZl4cj7Pm1/5L7BbycSBCex7wXFm35XVR/NY8js8fjYOywMoyr2wx70aCMRz/0RdUWdYqP53LiWiFfR4T1UKTYLHFWjoMomk5JO/Y1h30nAR3dM4RSRpO+8aihUf49onCvriGuPgEYh1pgT2BSPfNmAOl5vUG6FtCOAfX7tfSJOBQzRAkKPJO8/z3WKzKHtZzEZ+dNrKhiPAti2mJ0p42oyaxbcYCyuyvv0Iai4k5CXQqNl2lFAm0QkC2BT7hPI/xrZKh6VYawKA5KoNTz8hyVQvNv8Cj/l8KAqpJ3WAuaWmH1VlFXdw3fCLx8nNaQK99dI/nBU+syYR/6teJJxoYIUp7DzMRa3jfUQfR7VhLHOWjLKoccZ7DbH25HcNhhV4wNFL1bCTbRqpiam86nlkNPJo/uw5s0vAG/GYdJc/WaxMLwxfk6NBUznccme3dDGLJBS2IvZ9ynRejAcXjYDuYhV9fuKGmHxYlEpHJT3hB0usGOHp8Za3VRvU0Igc8DZIdFuGx0vMkOYKiWnC1PZ67ZxBeCUz2wmHbjpTb/q/hURFxov8whdohZh47YHC8tkd4aJvDq5UESnkffYKIiEpLgfTlZRgMFshXLFvv1YrrFP4jwMYzXcVLaeG97X7f/5B1FLKz6y44D7k1gcoPMHhFKQcN3Ekcu4dLQAmFEE5wOaF/4mXoV8noPT5DkON5AyE53E8H1TwJm7rkkzg+h6PWr7wSzZm9g4WzGY31FEjSX/NUGtk7CbjQtWNORZ56Tul0Lki81mXCXmqOPEKi7NXf2JJChgu6UVrUrcNlP9BwCF51Zp89OjBNkFGE+EOfcOSGouK78qoAqgLHisRyeT5qrN0V0lHIq+Q7ad5WHw/k6IlRe0XNL0esK6acJPnMN34RhKSh+ZfZO1WayzCESHMbeDbl4l/WQTw/4m758Z8scBHFRE15zM4OHlGjGwEGS9+gfqO3Cz77nR6Emuf9KL/kG9WJn4qWEIWpOeJADGaNY1xJl6AlxupUOWpKqTEUHD0BE6zCjia3/LSngtn6v75KWSBkBLCPXxo45fn2yi4lFuNdrZ4eOhu6obOGZ0AxjPYSMG55V4DICTEnrxs7gzuBExiPqxuzBOkSTo7odUhD+FLvl2csGE7Ab1LcPZ/rvl5YdjKhuAh749VKzCWrsYpkL8AfIEZd8JwWvw/z+olRQW/6nPQChW1r5yCde2xpLT+xxwEyVjqF9OriJUKrj9wEOBHSpG7K0Oom29DmQwFrSpTrBmbNcN5M/wt3Q5KMuS+cmZMFxFR3oPdEJq6sBvWN0ZFj5MjU+KHbt8s4+CvUONgkIXkpNny/UDmrQSkzAzmKXuaFmTnH0wYKE8c6whjjkAeJo52c0kTPQ5XFnA/vZUTTcZ8sugqoyrW9mpE8eMsfmViq1bqGEOrcEePF3P5qC5gjEzpbwV5hKAD2n0OgQAGJKZRXArNLha+wTFI0mVlny3SdPA+O/fuVbgCpLK394PXbCz4qTSGm++IUU7LLeKm/L5oX+PecXcXpb7GfvyzJx7b4+LTroBpALzOI8zsY5syclvaOoy2MU3y/4dAlZrBEFV0IwS2eM13VA7KECTa51oRJI9yh0kIMAmj7+qF2JcgfoPtmhXIB6GI+I/iVdXxhcY1BeknJ9s1psGxuWiYdF0Tqxb/3MEw3vYWQaROYiFOh30gsECTQJ123GJEA9xp87XZujLrKGPXeWZ3UXFW3DdVzJ1b48UPXcAHgxK5eVufc7Fz0yAUCSQyIrqzz5vOGjxKZYJ03whkifd7Gz7pbM9AD8x1T//m5Yga2Xe4wn7R1SWdOs4pll5V6W71/vivBAjdaOSjxskbIltyVgKsOE50hjT3IuANIdKc11gofgKt7/jr+ySjgh43BVwNM5qo5tToqSceqaV7RWTJezCHyHNdHcMUDKQ0vwkZi4hxcA403hW39SFxrF+v58P7LV0Zc9tzCVx5rU80305l7p5VyQLD/kcqkttqJWhZBTP1yYMwy+vTRCqfFgK0ThEr/YRc7zHC4rYTl6b7L8hvaqW+WjYzk0BeoXLHDsKXjibjIosMTab7qk5tmVLgKblqTkMXOcZ7tQw1Q0JnmLIP9ZXdrhEtfkTH8Zw4ddFQuAWQ3He+AJ54CaPccGZeQFQLwrzGmUb59zv8V4Bt2HlbSBkbraM5DwA1MS/1unZgvREAU90piNfbQuXR7jZAqA+1qkkhahuQrHn57nfcpVHzgRrwHc17TgsciQzWHDj4bM6cOD9Uz6edFpYkKsIJm7DxbHg8gp/j87ck/3hdN3ukCW5dWjPSXwxag8O4HljziS9z1oCq5hdoYUPFckMd581jSpd55l6vPJqD3WATQ+xJYnMhaXSip1LBOedQX1rEsNfZnX3kHmTQpQ5tGasgP/ajXMWvg2pYYD72GX0w1ak9HC6WtPtdTCqVfG+5EWGVp9eYiaHem8ThnpHrs00U9jxRG12w2RJwU2P7wTlY0twSY5X3Kt1qdQYnBlpCceELLV5l7aS0mRK6IDNgK8ipxYiPmFyXlhEyB9DSxmxEU9BnsjzC0xcJEWkore2/sACTMYTrHrcluBFpTVcF/YJz8DuneTwk4kwsNisRCG/QuLZ0DpxFHSz/IEQCXaVAAm3HrpaDOYzNkGhcFKLkPOqeazJv/vnxL1jjLogq6xhL/8yYZsiV9YSXcPcwj6EAYFHChS0y42lpbkFlsExyRXvzXCFI9hh6ms9v7OKsFUrepzUT8VOoVLPi/EWFnMQr6ms/gpLlJdGFAgycH380LEuEOt6l/iWRd7i2T85DgILSx4l9AHWHt0YSv5d21nU7Mc+3u9NimkrQpWwUtkF2DPIzmc1dSQG815TNgHcwQ90/aHLlhVc7Ivki4jXiMiFG5N3cjZNGVZA++12TJ9+KToqlpipcUAnsljp0hgLNHQY11TxAEEa+Xv6GqXwK3hFXsyVSspvOSGEfPa+WHKH1Mx9139CHssDhqQTFXGGVF/jI4p7ooEkddXPJ+E8qDW7OULAZ6JJ/r7Uo2W8yvQXiJflb6NU3DnHUTMjDmM+r0uAsorhABh+4tCtBb5iWZAGLwpUF3eQhWAs/yj1uTA789Aq4bg1A29iLvtBNzg9gXS6wRKFB9fHHJP0thxmHdpPaxfGg5ZgCn96c72e6hzmT6OYzCa6FcdpB79r22zhNCqTHwDs5erhwh3f6+a+ZLwo0jVssueMPdgjDDjs5ucYHLElHyByC32Q+VMej95jjBcxxzsklOkaVJML6eVPaTb7QpdPOItd+TLLZmpMuMNM+H/zp/G85t6CnUOI6sNaxj7LNZnCoGyErY1nJtGmQx7CmxPNtjfxz0SDb1ISwqyAyuOfpP1d2SoabRu3q8HWhe17esTBOojAFbojjHL+BsXI6tzu5Z3X7ykbtDf/33t5XRj6IP+D67j2gw0T/aPWLWveQgwrexxeajCXWCxmwGRNBxP1A5R7nIX+nRjWWZ+zgf98OVMQkU2EgdDukGqtLDKw4H1RxoymWx/XURKiBaP8oyFCKur2OQ7tVoUKkI6I+9gR57gnqA1UOnH2DBWo5uiIFYNMTWEc8KJKGyK29x6Um1jMNBHhqBuplSXfXS5oEInEOqbWj/nteIsDKaJYpbzwFrszBe8Ks/ndVHqJsbYlDaD7loEVXRr7PUjafueaU7qy9yASB0HusA4JMNheTP/pVaHJyfxRWRuvDmjSx3qPisTZ0lagOzVwlyea7dED2qzLiKbkIV6hQikT1J4UMBfrt5j7hg/w3GzT+4iw+yjiy1adhp8R+P6gbV17kPvINUlZQqJKitqWY8nfXK+e0g49lZLG3Nqnx8zUF1wGj3opGLRbqrdpD+myoy3Vm/H98WQfT5rKew5y5V6j/wgpSWB8YuZOWsaYK80BdOHB9jIOR5miv7gad25EYqkMetzD1A2KRnahTr0uaq81BbuetN2FwS64CmB5Mf2p9pZixAnzpgHwkiXAxzVXmEmY3Ov5nwoxtpHZ/lO371k0uOKQZolt4c2zse7cdfP4KeK7wp0AWyhhSMckttulnQTsGG4t9ruNNpC7kIBpHV+ZyFZa+QXAiIoFfJBPw1tSZL+D16J7We9nyAPkHhiwjgb2XYEJHBQu4QTJM1jOPdHDEkDuJ0r7VuCRBdZW91NlzDbuOO7fZLyf56l4WaWcWSM+HlPBmrK4tbSDMlBGPlZE5lHNciONYBAjnvMgWYETzlxzgfyFfnfnKP1EYbR0zfst1oYew+XQTvuO+bdlKHLczlXFAGZhU9TCsJiu+AcosLb+mlh/w4zfoK03szjg1bxKwbU94fPwHH8yH6K0S12b3oXfFmTfWjE25YrKHkc6CjYAAYawxuYYkgouoZtnaw5XMW1Hnj3ZZiLUGs94s+wBB9GmaoQfqB8a9WyHuhLC4k6M9mr6DBX2GasxjmXd7t5flRjspd2AshQKMM7n6iv9oPjRFnVkW9X5BhmJpF7dGgMm6FUkFvngIkLT77l1RrHB702t78R+Lj4euKreDC7Zml6mGrksv3RHckCDnrPWy2EpY95y0vsLwF/5doyH3Bf+RPR7BUooNR+FYPQ+rdnZANRV9EVWPSWhQ1b3KTUlQyJxgUfKRs6ltB2NEzwtoDa4MjQPsJDSbg4hS16Nl1wzNG1WyjYjdmzOnyaSRcc3+NFU7I6dBqmInA9THHKNgxubXEYnTEbYoUxbWP1ZeDSvr5RL3g1U0OsOAkAVtgv/gZdlbfDHPNjYLSsuhlQgo/LgRnIzSdbN/LA6qkk/kuYt8HxHdZhEmy+vf+/WwhyWcPGVjup7Bb3TFfz9IFqnmm6QBrGDuI1u4f8lmXkSHKxvpCYH47wSdwGot/jPsKNF4hs6wVdFJQSuIafzeFwixhqm6oRjJaDyXKJtMnqH93j1WosCP2oTfJdO2tnGZ2yHrmpxLXGvzUEI3r85HfyHLP8DRX4Wrzl5jKhZegDa8ob1Cs8hEkWiErp8uod7dT0RxNEfePxBLgF1YbjKbLBgih7+K5JcuQDYGLo4+EOwCRnOhjLkvRAr9hKqyzFqBs5/G3oQYSAOZqNdM4ruDarbTIxaWN/cEouqbYeoLol5GUBDVQ5knKsq94ngXaqXp7CmT6e96Fr93EgG10uugK8dc4mh6f6qOHeFrZA51k8k27WxhD5TZPO5mOSZda3agkSjFXoObZDjtkHaWkbzMybBbCt6Vao8lW0qXDN6UBC2lQUWpwqzGuB4Jg9j9AeXhbUndJg+mV+X3DfyY5RsWKlWrrMnziJyrUjehdCYjAycduTKWD2khO1rVX4JA2XeLrKLUfeGx/EDQwGSZYSV9v0YcgS4WRyPx7cZugfVuuRlYZ7x+n5k+UZuz7ofgxEVq+Uk1/iXrFkbQpzscb47Iibx84A32gOLPCtRAX+HiinRJSjXA63QJ9MtPn/qJ3hcWftVlTo1i5F4IXr/QMgkmkvxlxhDKxsm8OCi0D81Gl7vWYumvS8NxrMrxu4hwho5ac+t6VxPf1LyPWKfeOi90uPsjBJsgHu9aAambjt8kU5URZYBaXP+VY3rapvHsRqCZBEm5Sp7ZrP9qg8YjBougKvYaXTmz8XceEp2GN8oH29hwxTUybftch+Qb7VJ8yWqAtaM3DWysu0XISeWqh3JUp/kCVaUt0vjg3aeGTEq7hvKZ7hiPznd+X2Pp2nUjCfHx17hl4AQdn0FcNOY4lZCLRPjJAjTbBBbait90i0fEfgFXBLN9pwiK+Ii/zo2pJsjVfKRGF1kHCE5Q5SpBvt4GLziNHscW3ufsfOdcz066nhz/umH9lQRHMvhr0NVua9WvmZT/3Iu5KQzQIniUp14cU7OUBVUDahVO+MCeEsS3qVx05U30Vm8VB4tmVeoeeggbIzyVszYgfU8Uj88Kbzj0eaJDZYggtt0D6yFbR3hkYjLUZSsqHzc6KnMWe4Ud83uUrL7OjNj+/vGdV82LRQrEmlF7RvW4pzEga7f3VaJYMDWsKqTUJbXWh44RgfWSxaFyQPqB7cOofWfrydKCcMoUnTALfuS2/4maXk6Z8+HI4q4U6wSkmwyAk0kp686vc8rXz02eVLFAnZjZt3C1IPMx4eFxzm2HP5juAKdkQeWPdIlWjuZ8TkXDjtfMwbYUZQQwDqiZmujlVP6ohOBX/xK3n0+wR98TeRYUUSfsOXcH/Z++Q6PQ1C4SuV2+gAG1/gelv6wR0SlxaMSKseNVRnbmTPTJ+lWefXIXlb46fxP6w7iQb9Yoj5GGjZyBUB5vMhuNotCYnAuZxp6q+9amVG4lf1czc6ekTMIQlQfXhfgjYqpeXV4OctlG9AwVcs75zozE+IlT1BZ14n7JI9ATLh7mGTM5cf+7mo9rCiU/AibzQYssYNgoYhKsGGQlB1kytezIKZ9airFmIlI1HF4DcU5qLaN4eujv303NEBbGss0SNEu04O6gPmTW3QNQzzKPzWeuaPf/vJwYIGPnBZsqNPmv3hFx7+9VBGuFN/ICJQiNTuycKVrOZ//lMUv5jyHCDi15r28rALG62dr+GwMC2/YhGVgBMFwqhlP0M9r61b58t57SyfdozKzoYeHWhMQ9iSbjJQCAxDL8PU/XRyC3hfFUNg68371p2qxZr/gV0yE5vaflll7/Rv6w8GYKVlTJN9UvOtyOfJX2/n267lWp/fnjrTsMWbCIDrEOLex93j4MNX6vWratImY/Tc3+nY7BJp/DCNgMXenlVPPo8MFq2VrU2/HbhBJafJ5XB4iguaL7tVKYXS2IqV+YGh1tJhUmmVfBzVyei8vHjFBXR/XZN7hUpYdpvIAxTH6aj8mfYbI2+/na2ohLbTv8XIDQs9hZaMi3fwWAt5Xr3EFGNiRCZr7PxR+QkFj8mD3zyYV8qw7m4Rwf6W9PZUFKUbOqFB56twrFu1I2r/OlxzkbEt6EHz0bVveCx8BZBVpQYzIbLs7g9GUCXblMKOuTRIklPq6A7VN/mOUgAV18THzNlaPtG/R2k3tzBsBpCFwFLrp3dpYYd97ZM5agQF+JpDPpeGrgxE9AiCVbVi6E2VMHhsM+kRivS9URehYVYZGPSnW6vRwjM/XBvjEAiiBEyCwudjwp7biB4htDAUj1iE4SKOVd2sQuGpu97KvHHazzgGEWSeAaIsZI4Wk/w1KPs8CIH/b/abkXV6JL6OScCBrQHvhsnGy3huY+WcdcKkVoWU0vLD++CCAlh/BwWnTqe6BjtCQgcgBaUjGPs2BK9Oyz5NpA5qb1j2C2DIAijRKkJe6KUBMi+VjxLUgOGp/7GWN3udGEB1LzyHm0RoadzN8gfHpb/Y9dEmp7IglJBZQ/GZz74zPP4JaHv+s/85WyY75vjvzoQg6F0vGwbOMSbah56pTBdSyrkEVYaoqX+z9QGUALFjefXACxrIskEL0rm/paUOddXrWJVBNGUrIpGe//+2opqgkqd5SzzZQOPear06aY6NmIyZqwxQNz842Y6IC+tJn1+1Vb88Lnu0I44ikh8SRNrn0IxKR3kyfx9aYIA2netUOdnMRB54deJqeGuiMcIF3xLh0AvVfbbk96QuGZAFbvFJhw2qZXRyZ/p22OdPCP/hH042vFeWPKaSB2hTg2wyGRlnW5NRR4whj0H7pToSpMHvi+VOtm2whMZn492tL+S/ZTK7QQFAkNLmSLoQovN9DeXNi3jCH8Xfo/OU29ETSMRt5biIJbYewHhEqQe/evfY1H17nJ/j7MviuIEnqZitn0Ecs0bvKwtTuWqohAkJe/WZriKSqKo21bbLaEXXr6OVKxjNaOhdgWiKB2ftw7ILTq8piEsoE29tShUF7w4Sc49FsR5p9TuNZ+Ezd+0vmCQR/YDJ3DXB/LNVZelri+6DfNaekriA/7O+hRrEE/+oh6Ji6lHIe6rjCwrhTyMbit1+ae4VDDniDExWpopQOJN96oH/e0ReHSchdUB9PHxyDTQxaUhm6ujHe2s3QR2cBxtwqzXtNrqXOA07k0GGlRqnsK5zLnKl+BUvY9WPpA6fFTb4c4dZpyAJgGmUcHvHBzWjom+P2Ep4+2kkx5ViCmPPPru3fkB7FUC4+gKYcX6baltr318jPXB03LlGz6gIYF3ejfT7NBcHmiK8gU6s5Tf6E3/RDNnGzhxH5Hn+DfWxsM2bCeV5sPck2jyKj4iW2AzOoKowkn2qppWQYJAIoklat2Qx5JZ6h3EJctP6ThLxV49Ca7jBW0pi/OWjF5GxVKyg7iYPOf+unmLsiViSO2p+GRVUyVjxP1XtFfFjnQoV/qw5JJniwJRrNQuLt72QkKtdaG+WB7pSsnyxqkMr7JsXFBa+n+k4oEEpPJNo/VGwpv7g1mMEdIK8eN8vC2kdGsvY2Fo3P4GsIOzTaQ0RDm4GnB/mtreKI/kcc6ihFltB0zTBDvQuktjFfBXpDxmSEjsIRneqHfd5VBXTNMCvnFxAb2+CD3Ofay42oM6+7ytThxnafXGvwgCCFctGE3Yj6wNxnnXCuU1Ug7mCcTXJVuqfWm/I5ebn/LSBfP5E2+DGh/t27i2Gk9deGl9FSKjSq0PZSoWBg2x5a9Mg/ZgnUKi4w1040c6xlOMSpbNkkrgLP8uXabUxwNaNhP/lFw3WANoBvxHgj4+sayd140EjSX2ja229Zweqf0ZomvYbrk6nkmiwNp47vWt7dg6JghSUHD8cHZ9wz06RSu7xg51xLLFoxBO2y+3sMOefOkF9cD4wIntVv1uyWhFpPq9zdf5QEMeThucMdR0DSGcW1SXlvyBnXxuQyE9f2h0i9ogvj3lNv283BMmV8OgrZoE5/ILCn9DMuhOMBP+t1etJG5BfKDP4+mlKdIoPE3V6GVnWWDnxoUktZi1T+aDKS8vh+m6pGrlaLWvHrB8p+entBhRtCOv3/ibKuhvowimy4oExGpiwY4A4HK0rgFTBgdmcfpaYKH5cQQJ+VNklr9kn+AJUzmm3EEcZr4ZE9rEs6qPk+X26u1KHJdLOI43A25nMEbtveC6khZ2SM6scuQJxzqt2rXXC4cV/VROmmA0LlgU/aqNdS1pSx2ijeKcc+RrSjByASdDQbn16cxR14ml+vWjyYiy1BPgmdYycp00cAfGIL8FkBGerS+jeYuSTartV8QVXgkwAj4vvffFeGdkfG2AJUZMWFWw7yAqoM6ijS0Vt0Hew/3N14pappZ2y8ddKIDTKrf8s55uQVKglfllKXkbHXy/4Cd6Tlr4b2+DMoQaByigb5fe3ny0DD7IijssoDN33ofqH9YHUc2KWrI7zWb4OXGEbsJQfm7NDiU1Y2Or7PnrdMlmkvRhC0I25sKUYkPB40CnzO/ZWZ2uhHgLgnsdGwWYNfUivjXLrJMdfG0/RHKrdlLwt6AJ6ndNR+oL7S5bxYcB1MIIBWVMDb64C2+UtwuHkBTSvrZfoh3k3IN5SevUHF+jKKi0dnrehMORyvmQTeWM5XdV4B2/E9ztAG7cHqhXpdxVYg2/x8umcqKoRa1Vje4/9sSNGHUZx2L3+MCf3T4LUgj8x9OIV3Uwo8bwhS6zBhIzgbIQYBUVKgMELeNgU1Y8fPi4o1kc7jZ+1tewOYg6nADi1Y+mVKvaMmnXTmVLl1n4WYHyxPK877FiKGkfCQaYpdqvd7hvSd/9FexkQHiXJGAcoSEk4sAPmGpG9hl/ESu5Bj2j/EY+Vy4Rw7d3XLoa12k2tKFrof7GpSOKQiHWWO3BOEfhRKo3wNUILjQXRJHk4huHjHwAYSsKhj2aauRGtwPWxw/R6AMt8/MnxEjEEoVatib4XaMFaFYpDYLP2f6HnIKT84IzJdEDSTYXupPMDCK1qVlFh++o0eD76kv2yDNCjjsAhfYRFyMDWV43E6L7Tb3S/k49NEqeUhhAWMbDMGwQmgIlcdvJRRnHSFaFy2IiJBerxoIPiL3+oa7gN063DYaOH73Z+QwDnM+6qF0AFqRNIPqz3xJlOHXyPGtWryYv44cblt7c40lmtLTTZ0chOWfOtB73bFmukOTQGwt9sLMfjJ+ooMKAGbW/M5VY8hzezGpCGZE7FjsI9Ux7qedCixqZ5+A4oc97n9N1ndHzuNrpQPdrB8UBh0AfZFy8jURXHEAQGpsecEy+zcmcgbpvMICZ4GBju+XCSVnuQtueRRYCLLMHOQGkqdcs+aTjqma2Bi1pUuzysYQD3HIz6Q1episeRGwHGtdFPEDZquLy9h5ryy2Fve6yT45c9HedW4RGz4h2tugxufsyJtfsFveTvRKJRNiVfKZpQCurloGvb58QgcUcwPZAP9zUvI+8tLENM+0E5NPeGBRSZsZAz1M4kZWopgoaBPnlotO6yI8y/xJfg6up4iAOy3bPrhvQti59l0Qirn2odLe8yoKz/NGrknLQB4xRbHzHw1EDjvOIGcb70/eLMqL7191Ozq0u4R0Dgr1D6CfTfP/PCoBHmmq9FBVAwJyLxQyA7N8pa5hZ6o83tgXWMo/qyTUuHztPjec1JFaunAKo0rLHVB/3okrJIH+l24Dz+VNysOp1HrwMCkX9Xw/4DJLAQoDGx7/V1dumLrcEsj9emnP/WWk1qmckMyJ9qaG/wwZ3toAf7uhWr7Q21JSP1ElIhCdpHnc0nS3912lAthL7X6iSTmjeTAGzHmhwMkR/Q7Hg5f7qWmDCOXWyXRDZG4ObbZvsFp0k8jZzivSmD4oO4tNknuHjzXJVZW2ND2+1XgQM/1AyeyOzVcNmi0NS/XU8AlCEH+Nwzl50pkunF2pBTCCKUz5O7fmIlDBhExQ879+D+BNdaO38FtLlXYynoPYIdp/MNOGf16/zz9Yj+9ls0bgHnOY/9pelLdadrubbRn77YUYtsFV4T9Z30mMxJfGXFwVryfxdAxBYMM0WuD1W8TUtzhuQp0MYwiN/Eu2ZVqUjh7gehhiVLJf790uwm+i6IRMpWxnPMo9pUqcKl+w9UXNLSA//+Cgog7I1z6dUEgX9arNblweRHG3JJJtESWLuJ/v48OQrA4S50YTeey8pAG2X9G8umlo1xwGA8jyVIMNI32I4WvGYWybPh1LV45iHOuXoKz2OMUVii93cGO/WrtFNMjvQsdA8ee6KyihIO6E86MVTC2Kfx628Bewb3BhF0AlAsHLpu+fOpyllft2w8NdpXODwZIIH9FucPC8A6odIHpTYx/Ze+RBNc9PhVStxIyT+pIiVXrkWN7xkpP9N19zIRrRUN6DKV640K7GYWMkmBSPsWgLin02ADhb7CmzciOxDXvr+8r89G2uT2dPbWayyKLySToe2f8OFMBKbr2gTNM3RbIFM7x24CZSCHc5TGtXHlcjqdK0CXjXGYHs050mm5BvtwkJeoeMrln3T3P3oZs4GQO38JY+gRkimZ93GciQXPX+f98T2JU4YbB0ciFVEhwZmrEn0BoScFgLMBP2soGmBMX8Ap2Pn53u5igtPMw31UhmgTtvfDhOCX1wcdjJCWEAtGtO2fTDzk/GPWpDTr2MSLXSfTdiwZgSZ3lrPw4MC6ZsHV8l711p8JYF93wulMcnMazSyKRYb5mwjLx6FRafd4xSRVfY/ksrRS8LFNuuv1d3zDNAzE2CFP6yzvjxTzetzplIWV2Mao2e778aEzSr//aIPwliMiQeygvW3NVQAlIxKBz9IlZrBWBLNiwOuytoHrmSEXlEj0cQtdGsE4gTakuE9XCpWUXM0ZGViKM80XYV+kfNxWAt6FN/daOe1chVtTT7qkewCg12B3+LH44RMZmhYQPclacZnDeIDPu/RDsTTPFGNAyFE4OhdtJipNM6Z5L4/iCABmwpOsrtxoXnB7SQMTt1JoTBAmXXaH/TtNJ9S4gFKxu7PbXiKXN/1e8s5qOExd3bWhDQnRaEM6iqBaZzixSPQkrLyc1jZb7L4dVyRmdPvw1L+YxD0QAFp32nACmvjRNEjOOZUoWLlvsSLS/M2nnprroEOj7+zBPCWDWSwAG0y2NR6D7s4nXiuSH7uCEXhZ1+PqhCGtwdC2kXNw/efgIcQD+QGkavMIxfKIF+GgW3ZgSj3h06npRJpXPYmHyC+/+FqWVL1FjWrd+uaK4xHJhFTBCJ0CfoLp1KSUGrfryC0H9zmCTMibkHPIVsWkIbAoUaPSno8Ml55Na0pB6IxAim8UUgLzhWN6nxQ26Q1jG0ThzpP7Hyd+JefxoBaeE8pD+iPPo9TSiKi2lXAo7FuTsnbIDw3gZPwx+RMrdLdp2cBpLLZyx6LPxKIpS61nAeH0sxNh88KV+r+Dyjgj/XE/63gGA5tF6apGRqpmjr+MyzTu1Fm16SePjOuEY7PANMqpH1nSnHU6RQDjGh5QslOwC+RaDd5bEHeATrZKDgBYdBRoxvbSJNBrYZihsMVDoXya/c88FQ+bcBEaO1sz4+zxenOTKHIhKRbqntCRPQm6yJIDxqAgFComnK4v8ZPP2RtNglrlPRs1gYA+Y3JbujZ7BobZ8oxZ/tD+cXRyQOY5w07rAc4DHvoPeUj+g6/Kk2ZBwxk5SGnt+eX2WaxzEWRGXvfOnKxkrN0TiCbw1PRLAIxeZPnR644mhD9xXftYHRl1JgSDVmWm8V1tLQJ1NtoSFxh5+g/0bL02+Ypbb+avr3ugVnvLtt9zEJ3bopQEVttVFXqn1G4gwF6krKHnS6lwiMvUv8v7eMbIEqLcqUaM/azgX7xOQUmr+y9rfSS4anwSXskylCoUUI5w1XPJml8kfknr0z4hBIyC6HhmKlT8aqI19t3oV/EgwLiWbq3CFxP4Y4FiHuNhRt3ttlyUYGLPGnW3KV0a1xxBoCgozpfjmMiaw/nG84DRojLkFqCSaEwJfc4OqVG80nnf8IrJOLyq4TxRvCfYdl3QlC6Q6izSWFpLOr7WdGexjLTTpbF1Wvw7PNW6IU6uJHe3eOaFoa9cYuWzRanI3oIvwVXrB4iU43aHn9DW3EFK64SpIetY6KYR3JRRpknYhuo5hBTO61ls08KkB3UoHERAdm/TAqiNuP+RICioeunMaaKtnFN8m8H4sYzuJxeCMGhujNrRU8Ehk/E2p2aTHt+f0cEIAoB24j5f5C/46fWYfNF0YAG4gSlIaM9hFjta9GG6Tm7JZm0NIcdDcxCJwzrkc0tMGOp43CeL4+SN/6bP3mtDMhWEHiu3MhZGhUh7hqdnuUhTw9yZEM0Id1S/+Q7CRp9CyaFkXIax/KESl5FsPD1C4yxVfFhC6CTgvxzM7FfuTqv/tuxaXxCFm/Gd1TbuByGkyXZMOb1aPtV9wflZyA7K5qVtMBeO6mKy64vNES6cextPVFUFTUCiTJs7aYhQ3RWykd3Wk0y0sUk3QjSZmbfFEIXP5Idhib2pYTWzTemJwYUpr+DJ7URMaV/jpf8G+DrWM8LYQELySZnyNLn7vypab85rvpIQZgp1OfXXB+XIVHsOxrDdcw4Pc3IrRbyqZCbQ96w5lsragSYUCT9ATHPg/amaJT0Cp7p/WOQunYDlhUzcb/CDHDFLBC4+tqM17SemMINgbUnOVEv1dXb6cIoXTXcThRtRD427571UAe+Dlo+oXy/XkSvVJ7rSHXrY/6E049E1bs8bqUJRRCQSAx0wWqOnaD2y/6UR2tYo5P71N95EX81weHP9h1xmgehSnxm36VF9gWN0NH+bV8TyyED9IghbFB+vod8uj3qZAXQFce2nL15LZ/yTmxOAsY2xYr5cYfPaHrX1kw+oWWla9NfIihvcx+U8ZJAQymO2d5N3VAJYPwe8xtmgA+C74YJ5jfN0eB//mu78aOAKha+kcryNTkjPZl276VZ0Qu332mMOh1RDZavC9RBBVXlLXb4j2tMTqBhp0AhPhslzxLu98UITeCsp1LAEemrBUDiAFtrJXxOo3gNOxTjhFZjjzGCY37yGsfCHVeh+94SY3VH1vihwoKUKwrtcQABuvbAm746JHcwH30QdkR6Ffu1+0FO/3Cnr/eFmV4Ce6xZ4RGvEn7/jVRBbleZwGnOTkC70nlvZUUwxEtZPMeziVC09tp4TPnD9RiTgTnWpWAku6Xf0qyjbBZABEIp/bRcv5ZCPahQhNPxbAec7A4X/aMEifLijDAVHAwkaIgzsRLOFJPtEhtcnxRd6BdivkfkrcLIEqXhZ1aZt5C940rqoMCu4bbm9Llv3tgQ6y5wwHmZvt51X1941PCGbg+gCWHmoFocLXIk13ko1CbJuUSC2lNI2EHMZC8kmKMpbx7AZC68905+tlnFC1+quLH0OFdIKcExGG19/rT6gVH0H8sX8gFBgi5yN/BugTle2M4d+9kvARTAovNk1xjMFZOVUJXEsS3paGarta3IdSJI8xi1cJ0Mv8CANC8hj2p+c0Dac0qBlzxmmLkfYo1RDE67t8XLNUDtxNktw/JE/qzXC9jU4JASmI7LlYri89Ofb7u7lW05Glw63c2aA7F3rPKGPofWkhWsoBIlHbPGwWsNyyDkMvy/2J5CXT/aOPW/7OJQDqj8d96nByBG9s54N/sqPFwcZkjKcevc+3HfuxnKyyDXMd06z186fLVyXCq4voYV+0Ehcghr7cuMskdJDeZD268GbLmWUd+cSPWnD2q2PdyJL3XhUbFHjH9X1HxVis/GvlxhjPpWXMrMUTSyXhEHH9l7x9UJDGRN1eyxMU93s5TjqDLlBLt1Ngk5qUfxhUmemvSzI9PFmn1pysq9oqm86WijP8f0Jdfas+XjBaKwdZCiymqUdSzW2+PZAWecr24TYpvQ/AMtr93dYUfdWWygc5aK1ohYUVmS+ekZ5YDOJMeTWZ/xDJGal4qTm+EmFVkP11S2i6cVqBAlrxWFzDFpsEcSE1CoJiei1UL7g/+8zSjEwnsOX56uyLXk/aym1w3N93useK1P3JPVLek7ea5LpPsqLXwXUDnva3+VhKvyq0+B6nXqutP66t2PYrUYa+J/MvYmY1BzVNgJi7VEeVxm+0Ip0l0ptqdAeTIwcei61E1hHjn0oPGdyyY1l63xUPnG7HIufQllRyERgd0M1MQbcHxKc6YybbUgRxgelaR9EkcjQRrsxc3sz2d/Mxq3spB/9gvz/J5SVdpec6nr1Ma0gpUQigPBIXTvzK6YMgsubrQyJTKCu+jXmU28RgkEZAjM+MenrSP1Op4A6HebJmtPe49P5x1Lfj7KGm+a79rjeLeEoSJhi2aQefSzgJQJYcnVSLGbW7jXvn+Sn58c9/9/6FkEuOVpvn+8qdJzsbg7aWRw2H/w6BJeLI8J3HuohCtaqKe+Oz4e777ZYGUcs3ei1y36fC9+TYOyYB3NEvEb7vYGR0qBvxu1u0gKobFYZUGCHFQQdXZN0cgeQmCfIEr9Lu7SunYRFPJC/UYngZyWlbFBD9cXKLC2IAb5nOR7CkzIF9jaCQoEyBIRxTGg2X/LUYjxzmZJcXS0yyaWJmiCMWo+d3RK3XyBPP/A7Z+7ysjSdF0xHnMzEPvai1p7SjmMY+8dQHQQ1pY4eRVsJ9jL8rqpqt+8FNFPRV6SHR/fvALacyNJ7zOB7VPO2+4l+G4fCFJxHend7Au6dHyrJHNC0ndQfP7p+yh5z29cj0NHMSD8ITWt4uPI1bHbwcYA+g+40ZmWSaKSCmmykStKo8Kf4YDdUnM4CP9TxNZSNtkQ24Oj6a36S1bKup1nwlg5u1NS1wYU2J+AxEBozM49aj3wdSbAPjy0nEL3PH1e/9I/ynTSDKaEGFaFwizah5DM5zBUg9YrGac3c1cRNBMaq6AQL1iR1CexNqoXJh+VBPbVmPwgDgy1znTQYWrBmg8KQIHQ/HdnELdGwfPAp6oWh8Zf4d5nxOfmyGwh+Yrv5ESJwJEQmpGsGViLxUIXw/AjU8+Ud3HJY92pGnIDemXbcJJUxlNfc9oaZl4ilY8Ru0WFptvUWEB8KdnSiXlIGjjXSgLpTtbzuAUGgyl2zFYPCDmpab3MQn5w1CaGW5a+5ZnWWRTDSa9e2hwz2TkfUXQ4PinL2dzFCI6bq6CB3E6hrRun/wDs9weFP5YpMoM2wty37V3okXH7kGEhW+fv49+0KgIhi35/DYtyzsrPKKD8El1ZorCGfcgAiBPhm0afp1ve17mVBEQTIii39BCwv9pjfLif/0fabpIe/XxvoXdi84NNJkDj+H5QzBpR8VNOMIGsVd6pVbV/qeV6QANCYZh+kwxNiKdTCdgQvVaeOJXnc9lbRUvSJAj+VdJ0v5Ui0rW0orfvEpUEOFfonlIZHnDBIXCfSUn5roiO/nqq+PHDObFH6jj3/OwWTog4gX8D0cJoW6l8hHSgPFUJg2sWOJJ2AxWVw1XYJnuWUY5hYWeSEWXJG2UAdrtJjueIDC8tXS1gbIadmdO/9SPddPYgpPNUOMCvmbkOSMHw9+mqIE4icH4iJP4OecbEgySrJ5MrCAC4zDheqiF+gxQhYc4la0lUXrjMjcx/ppXr+G/3FVxl3dnM9PGRvJsfzyhUAj2n5ptseVEk0L3MD7esNg30EltRm+W2357htzrGOagERWCLkIieypOKoe3iKeDR/OD7XE7W2N3RZXQhjEaH1I6DnIjP/QtiM20uW/QjSb+COAhniKU2DCeIt+AnKwl+tLUo9YOi9qfW7hL0NP1zGeD4TfNPwrlA2J2TIQHWQxnGgVblg3gxr+8WDfgsvAxTnA4nFza5hI1K2z4Mfw88POMYtVJHKBG5ze0scuVBUL1p80kJZJx0VB+6YDFSo96ZFvmHo9dEIjE5rUwxbZ0I0mgMX8oS+KYhwmD3FSBxSzawcc5u3tjfA5VDdD8hxf5k7tkmhrro4m/6ELbDwXKqHc6UwPAUF/g6tKche3xWXV1nsHY4ERdryObkCCt2QII/QUvC9CPFsOAP7D6hMhH9XWR/rjTvrbVVpAJ841kHegm4bNS9WLyOPOY17TkUSK4Bc6YWWJdan5eRXEvcMO+FonPh6DIIMMR1M48aykMjKvgpTN+r3G4rsCoxl+28rmX0yg0vt/JNrSauG5M/6znzres2QJInzg0/Z/dvCop7yzlnXinv5sAY5ZkRt3EvTuponbvnzE42lwF94xKMg16A7wy10UGFTxX/hn3LIgC3BkzhVBN4/XTUPmrxCnyUT5C0rrN7EeCgkBIuOzLmcJt2jY7WlzJaw15Fe7urkexfrgljr/O6GCihes+k4DGsWQY0thB6b9edjqozakg9SnSO3jLB6exRwh1RFikEKZewHS3SMmMjuiggXaAQ7CWAmbJTHW2CACiUE2f7Rgi6No+ABlfFVO7lQ2b0TFSofFiFsQ8wWmzfLFzYRv1iI4WUBw1X2+6kIGN4ZQYVLL9CYNKYE5vxU5VxsdDUiygqLBLFq3xJ0Aq6o57rwApN9adetH7l29goMSYVEJ0Yuluqx0olyI5XFMh8ClWHtsz9phwXx3KP2E+4dOmE9T8dOcMBdePSqpfoMDqhyIYm1aKgxQdXmsDQ6Lvee28YLaYG8x/JOMLvbSmBtLxHjT/3MLX/pL10h+bxNXjyuh039MdYBdsauiHS+kBJQ8MPZEtpmi95FqFm04W4ciprzHGKkbWtmfqXxtGPCHOi+YeKHURaQB1sup6EcWIsaqXbXl/FSYrgIYSVvp/cjwLKbM7mPCi21zadiBcnb4vNCgt8ks20R8nLnvEW/kV2k4sLBPdr/U17g7/vMXvWwdgEp5ztOu6LFe4IlNnVXf1G9s8xKzmiEiQEl4UmpFLDdp6rRD043X+YtgTOeCJO6piQzyTEboVKhjYbI8/eR5vwiwPYKCuATZxXFX1Gcfdf/U2FD651YrWkO5SJ9YewwKpzkSb9YY0OCrjPAjOzUGyuSiDMi5JHSStLvEynwswBMgB7zxNUuo5R0nnFArgxPEF/E82tAqRdsqrL9PiUKCvQvqRmgu0vhZOAjo5EE90SS/fgZmK9eG19IS/MpPlHaeUcjl4Xw4u6kdZ2VMb9oU68MpXueHNxLRV+Eap9lSFt+QHSSDYqj9c4eIxLNlF11d1M3WMsRu2hoz/iK0kGs+A9pzrpl4LtoB36p76VHQrulA0UfnLOzcMqfY3yLSpir78dSvQHk0CaPNHaZ2pVvtC0NDsQ66E7aFX5wsapH63pmek6XA7bWlBj2IUpFm5gwtn7X/xf8ldYznN9zxERrg8tpmqCkH4FIAuDAOWk/Cal8jeexRV1Poei/eAGGiwoa2yygosY7Wl3tJ1gjtRpzDJTJtPaGoqbzu8JMjeoKQ35AKLlOuq7DbwLdLDvFXhNkt4H68in+lVV1ea9Nqqkh1fe+FJjyZb/D0Rb4fE10IcwV8pKPGFoSldNu4TZNux5RlxJhqTwPGJxtt7ntaFFupbmQLg9m5gbf9aReEbiZIc7hymyxL8JJ8txlUJ0DYTw7g38mTQUM13StyhlQjhnG6+PbfewuCQs/eX7MQCifY+rLA6PxlvIva/FKcCz1QivPyPnvBONxxwMmBPpNR7HblyV7Up0lIvNJp5X58Z8opS+4jHkysFMYUEroBBT+L491/EKFss45P7xEP8ITASMHOljV+uCgLpqn+gcoWr9awH1H88mA8i0Qs7CMXHEhcetzyj95f5zP3YywC5GYzHAr8+jP9tvax8FS1/GcP9/kAwPsW7UbcQzl2t+WU/ww4l+UwS9moEm/kTanLyHIsDKQVb/bChU254i7TkrA7hMFzXYU5o4alqY/vdQuFz3zWKaQnMc+Ids4Qa5WvJHuyVrUbjjPvQKxRo8LeFxvr1qkWe83RdHwC8/wadqeusfVxweYVv/zmIh+ZKHBYu4eGE8SY/0FgQaQO+DX5LgRC2w/j44Sq1rZkIiq5urxlf9oR+vnb/PwXjSXPpH0sK1s7LHVdyMawVjQZU7hO39ZdNuSdmkS5AfzHJecb4oh2uekpbTMoJuDbWEjTnpEZhPaWFtWplm2UkInsjhMBsOGEtM9MxTj80McSccIw6zIZj+2wmdU657Uh87XRcb3bvBzbFJVcBMzXtXbTwZvjUwU0yTGkV+XJO+vbUED6QV6b8XEbVpPY28O1zOwXP4opjzgha8o1822yaO9jYgX7IOYCdHyC+yNk+5j/2UEeLEfSy+v4Z1tsM9AzjpYmXjoAXvEPODqXTDD1iRG0QmR55zCa2RGprSShq1DAApkL3SiuBdmNYbwvOyQIzqZD8up6xFP6b5BMK7FE+eSeci5hW/rhIQ/peDorRoXmjvTHC1K8urnkksXRqt+vbo7n26yz48labrO/AhquaTDfMQbp7Xb1P4Du/uvlACp7uy8WLftlR8s9YRBVxdqznc57rW39ZP6vk1PjF6tXj206N8d+03Tr8FmDWcKFWKLVW0uv+x5FE5B7d8in271Z7Gf2e20xxOw4zyrl8z6+h2jbmzH+YbXmeGNwZPrxPYD7pAOiCFkK2su8y2ZPeG+pcT3jNOl4jLAl2aGSbsLMgGGyeuncZrmUcIs7kaR/lbIR7JKHOCDi/saisUhdO1bSNCOi6A/bJqGOcgJshSmzRtMThppasPsJ1ASYJGfKzJK4B8a6QAAD9jm1nn2zu2Lt7A6m5elkj8JkJx7Rq5FJYhXLPiSvI6LFpFbI65khMwgYiq+6sVQGx//8N7Ubm8Yd89tHQz6Vk3/Pr/AU8Z5NfFfVG//pUDqRzp3/JrxZIdhg1Bq4qFW3qzUFXtVZ73JUN1icOjDMzyDckmDUf99/JjaYYzGFGOEJ5PLgQZ7MTCghw4DDRyKRQBBu2dFVh8I97pipu9KmaWSpjfX83Qn34bRwBKyvkOLE+XSwXlWhKKN6j+gadj8kZLf96yRn6b0WRsJFa+x6G/DnAK4LXngj2cIl2hGg0rGCstGrfXeh6JnCUWe8xLXdNO9sqAxGw7+PVMnr8U0z7oc2cox02IUZh5K3VQ4mSMV+ssdJuZ0OfEtDt/P/VbGRqgxlel9Wr12TGC+4GqNwNqw88vEARN6mvy1aF8TTWVCekC4Ks2pRfweCQccm0H6J3leuqdmnKSplsW816Z4VnkKG8RzPEdteyyspYT9Gs75SrjmKWsLMtlGMetHuqY69p8XC7QVFkDsOeHr6ewH6v1EFI6qxpSj02XTCky64uf/yjfOqdv3Ak9VG1xOeZ08Yj/8aOlAR1OloZITN4GT9l0bP5qlGWt9m9SaGrXoMtVCqBMeRO5j4tp4I6s4Gn/xpQIwrAh59lMiUVAoKIB88VqBjZOpjtGeR4mLTTfW5Sv1wMznTiYtG38sBiGfc2i6ySVSmAPR5rauA8tYos0A3FNX39dLZ9q2sVANV00+aa48xgT47zcFue3kNqb0gCLTDXAhB96UWmkJA7ScEkqiy5UvjOaRJOyFy/4FK0v0xjolmivVPlt6y2HaosppssQUvn1uDGOCE4BpcTXH/0fchzqZOTZ0GprafcNn8fWpD8BdZ5JWaEjhLfwzsgL2niwMcVGxd8v9GuPoP9zDuQ5sg429WFiXWKa6LSrX5HMWImDuIWxqULVFwcQYBdEAdn9ZbgbACmgrSlvBgV3Af44ByAsW1fqzXngM/YoMxCYYTodu7ZfWllZhmNwp9BZHF1CgxwO4LvGgHf0+5wm1N57/SfXO3+5x1el3ZkZgH9+Rf3xKc2RuAKoKgNKrdHw2j0YllKo0s2YjQbOh11HDDx7TM9KHNlJgZ4S0KLGnfuEeOcrMtPWWIr5/AcXj4Nhv3gVPu8s8kkVU/C8899D/nAcHwSgMvykEyH7iMcNuWnjtUwmtPODfT6pHSI64destH4xPGwUUF/3Hi1L13ztDPadQeVlfuKjZclmKFBOgXLNFHg1XOBrjdkNHawp5pvBneIr5nnJtUkXN0zRUecW/+FCiuV1uQb7jURwaFv846ijYF1ztBB926J4HIUE1pjj6JJ0p7Azp0gsMRx8AZcowvLMjKI4SfF7XWfeuNd0DnLAOWTyvejNH/wvfRC6jJauCQozm+Lf7aEjp62hlh+yxpU3DYwfbN90qk7uALpX3OI8HUCsryceZ64WI7jAWRt+p1HuDN9XwfG19NqxR0TvrC8JhQwQ1wFwJ26eKJB5L8zj8pcRm6hzvczuaEvyMB5vMssZ8ajmVEOEQqXrFRlxzmww35j+7Dr8EYAncQ4OhVRT1mVViGNrt8CIo2BVEzdlzD2kENQK2bkwOl7hwHmFIdUQfCyQxTMyOLpPPmzQVGtLQQVjMZ/OHMFDsA9BEJSNHNe5L0wnKCMiuH0hKuR2d207Znp+36G2d+KqY1MDXMrjo7W9lKXQvcnTvU0kV8a58RPFeCW0GUK6BQw3ZSJMJVpHyk/Zt6D3i6IEMKnExIole7gJJzHVSFt7c1X1UwtGnaIInBDPaSc8qdb2fjuup5kR4pOv/OSFcsTz73oEB/EKLnfCwnfV1cMuGo7E/Lg/8gCDxg8Z8fv1VwiKx75FAx0GpVnuDnND0MsnriDHfTE/+aQVGwsnVxkT1jznbpXMUb0tpU7mnl5QW9N173MgT54FHt1nAUipjIgJvVkeeJCy8SLgdBfqNAvOBO9RTLSklCOSm4knuWdMAFL5v4sE3NcqDAuk6Ca11NjruYm2aXtO6CzhPAQ7lbot5Ebi1rSFx/mQN9HYSvPu/ZS+lrf0LeiGlwl1aLGJtvNlk3ykr5zpgSTVzvFTCLneUGIFWRlNYnpWh/9SUwzhf84mQl808JX/3S1an7ZVxks8YtMtuLlYWxW6/BPNIFUO6j/bdn1jigH4UoBHlB6wmJUNGrYpxTgTjVzlVI4H+0JvUc3AF5v4j9u/a8k/o9/Pe6aAe+8mbD3r7DG9fWRCDfKIGynM8Rae89bIhmoctjF2Iu7DBJwygTI298Yuf3DDrujIK4mX3ji/mGRyGjnVvI7LP8yYdk+dHSUTWOlOXmX+7N1MIvi5fsHcaRejCiuu2q+SjEbEokdt91CiJ4VDXoi3aaWGIKIRfqpFBJ+hHhu9TZNMiO/XdvFgwHNJkZ1Z/90bC3ssEbgNDFwH2SMI0aQFJ9hxDIUJlrh4RQ/1uG95Lbhn4v/nuPx1dLIR9xL8Wj7dszs9j14OlZObWUMMfsIh9Z2CVGYliEWaliRwuaZVp+NAj4e8fZYum7k6xNes9kHNMOEEJcdJDBH8tVOctFyGkAnYx8uGUSuYvGjQhfevqxZc76P7snBZo2Jo+fkhps75DQT2JdXoegxi5mayANLr5/0h+yjiORGS62irzFpXeIImq4za5iJggaDKoPuO2oMi9V4Nh6qynybL3b2FLxVe4tDjjZd/JQtMqdSJ82t86ec8QCXTGEuSwj5sLtIBtaijzssA0f66uqDCHw1DjLMunFP5lugeJkUHijBurUjq6IZMiKW+VGH3X6R2VyIvFy97RVbxsBsIjt9kKdIdBLqRcKbIa8FxzS4tKe6oXXwWCGZLuZJQ+IkH+/GTuHEjoSm/5EUHBYvjM9/bc4A/fQaO7NYaO10JdvFCxs8ZFbR8T1s3u+LVYEdiOXo9Hl6tlmsn6zRtNGqGHwCSgiv2ihpN/h+1GEfo9mLNtuCT4dpRh4fJkExBFZuW2ADVQzdoYxW8ewR/WDYvPnlrL1/jaIvfVDasEPhH64wXAQE6vJdSgxIEzstlQJP1MA5WRYGgC5UIOmzaZ1lf3H0qOYN2vxoArVfoeLVMha3vDxjYwDiecQp2Kio6fE+B4t3sYoAjNKh3/H26aOO42qeGA58CBCkYdNHaPYQRz58ifk0xJ4eYjV4JlL9U5dIUtHR8for44BHCvV/AsgTqBGlDdwfVM1SZKfWr77MK7O/KppMVAzdM1mvgrSPV9Cuu/uUn9w3JRSA6GNj9LsrMkUvvQWMBewrCYlKPrT0mCA53JpuhjFDUQq+Jx7okthQAjLrMpN2lVZfgt/0rRuo62qYWk4nR4/A0Zn8uwlgztVdyZd8z0J7Kt17qlNysJdtI7OAtNp7HOy5qLpxHn/ywogAikaH4UfpVhaFep41hYBhoGAz5WtSTu0MLEKaW2UIQ75IIyJr5N6LrEvxC+yiZXq6AlPmiaSDw7ifT3lyuprWSjVjmVO4t/JMyNly2nbGYkQXXhq06lzoZuv+VaSBrI4o9HmxsVr8g8x3iRQ1lU8rYsu5lxaFk6fPxzB/jxkjoinq28to3RDx9ToojUCh6qFpqZBhGGGcH99KGzulvcEZtGKe8HCg3QYK3vp6ZDL0no3OwAHq33cH3+On9Ibs//i0vfzL0BJJ7ZiL2t3hIDGqnynSqjOgFNypd551X4h6d+TRl8pVvKkNAHI5FQzgR1IareB+W9ECoJHoD39A07Z8WlNRLUK3YB/CQVU4aKkfRstNM1AAcPVcd70+D0tqrC12QAUJM68kYGKsyVFRx7mx2X4z5z7rVquZFCd7uD9vKx1WG0V684ZW6/gW5gPRAbZF8kOJWbiy4HonOBOtcKWOMQkxQZtvmRTFybyAu8Iy0C51Tceo4YW5e6IT8Nv6co1CvKSAiTgE6UB4cXSVQ0eJc07tuZmtL9NETisAUUopyvCH7Mw0eEUUqUSk5rvWEvyeH0u89lhI8I72P22w+aLw9LrikthwBHQfzKbJMtsxP8XqeF5fTm0vfamVMfef1wx3bKgomov44OYe6UJslaBmShBxC24VIrEfIX+HCYW+bd6aYGX1kXsMGLCube1UIhAVPY4ZWiwTo9HcFIIn1qTcRKkoHWHld7X/f47zAenSquG/nCSqdjxdpZ3dAu91VbyiUexjU0+IUXKAGMToY1c5RgwvQucDr7ZYSmsH/Xw90sWgtMxiCi628I84ZIoDcPhJ0AdAJ+iRNdAdCXGRD9V9fbDK7UD+oxAkN+hRfVZeQ/D6UxACYzVBOojxpQVbPb2R7QI7fCTA7R/x7CKxd/57lO4elUNX3rUoUWiOkf+D7EZvPtZCk6qmbfhp0uotydHZ55ULzupQEAMFOJ1aJxwSCfJTMwIU8AoZ0HMtMH8BTnCFwM/vofibbJp988ywqq5Tnh1fAeAriFIVrFOTfnwkClQTXY1fGIFbImoe+oqg4OaT5vvyNK8Yz/iHSzVfn98NfuH7IwDn9bIXGOymmc6z+wsY3PvDRP5O/I68ucRTRQQgIkXoHh3IaCTzKoOKBs/pYObYpLuM0Di9ELXuUUUtHun5nAXTWi7fBOUf8oSAQBe+WLtMpALFj+3frtW1gAOqibVy02I4cwyzwTuylf9NJtpjYTFLbN/ZAJRTi2X/kq6CIXJ6YI5jmpD5DpGwC2DsROzJW8H1NJvsgHEVTmA5kQwr4F9rHXvilASy7iW8uVN28ss6gqNTPjWcc5PYpf+GYRpogC0jb2uaFu3zYp/AJpQKnHL9Zz9M3UUwpDNHUpxqiPvP13GV37fSgc/6FKsNMoxX7n7NEkKydwkvNyk2AM05erIwoGSnO46z7xcFyN+TPnyYidy7/8G7gXWuz86hIo9T0rvWUXokds8onFEGbcQ80WdDJLl0YklSOhpTxeZbGsoqA8DPb0W/YDaSyS2oUxcOHLpumztrDfrtrE7TXAm12XaycUL0TsWFAV6oN44hsBWrN1IJWCWXJsyf8o2cBCZSS0baUYrpSZz3GsPCG9mWn3a/4xQAE2/i+UfxCMPyqZxko9T1w8kPXqFqjUtgEXWgts3ErCreSK2nmz+ZNCosbIev5U06IlniKEESRMcF48wE6XZOVddExsfAiuAnCcbV3hxClu9o9R/D3gzwzd8vBCTB4HRpmlTLZvopq6TNzW5iBwRYVDoyrQluO1eCy6uYDt7CUg1rWbaYdWZ2FwXC2kVCyztulws3JDFfT2c3i0ddWMgefBT+nZOWGp+cYDJ9I5J7UqyQx04RstikPmPtRxEgeVpUmgXw9mWiAHScOXE6O5DT4B6kCKBGc1lUC+qHmTWkG5jzDu0BwVrlj6WWT5KrV3zMUdUwSWdRBWETR6jHCfoTWDFXg6x7YxD9ULDo8EHGdVbfdAUee++W15xDDNSbXh7JEfSOTdi5paekJbYGEPmXdWsfFlJ0U5NnA3MKX1cTIJHove64ctgoZbMYfkrdpAL3YPgm/Oo4HXLq7djdq928uAKqtgnDkoCx14pFOslMnskAebKeAueplQBGc1mdWoVFWsD41q1qAoMG526i9AUfGX2jnpxZwxNt5lBQAiy3BF/hV/s4EzOeZHqRc94DoAghFdiAklvEYU1pRJvDSXjO0LeKgI1xfglh5tVsy8XmuCouLr0Raaqq8aUCK4iTnhO0V4KytBc3g7jgz+vh4BtZFwxa4wc1D3jr+OOqSy5ojmg6kRX0dmCcltwlCpmn5FmK/Wi/fdg1giWaBoU1+Vijv/CC4dfNgnNyyouXYxZ+hBzShzSfsuyvXUdY6Rj0pL7hcpEkgkI19+Lms++4XGkmyZNVPBTO9c1WJV8lQKgPIXlbnzGvdNA+oje8K3qn0OmDMSJDefh2XbQ/mZ9JRPT+K7ZR5DDU5GGsFG3d4K6MffMJ6jen/gIRbTfIGTAMkYXUHV3E/p9PtIseecaqvAK+jCG/foiegmLkYmaentUe8DzLHj3R9gRxWCHy4Oj6u/oFSLG96I8t02FyCFJkMAN0zn1hBkinWRLbqoxJu+j2UoavPIciXyMEX3g4qny0LwASY87udzYQOKymcc5z0tG087RZfwdCBsPeSSL9dKq0wIK0CBpZ4OjooYGNvXIIcCIoA3iV3r3mj2/OwUvLN8YkxXQOunap0SqNV+q7R4g/eCauVT1Qu70sNyIB55PjGznAv+tvlP0KAItKDa/wMDWWSUfERj5yydo+WXSliJZEtlXJQJ/eb4OTNA8Uk2s+KEfNEjBiQanjSstXb7IaRGSYYPLw7zBmMgem9D4pNZ/09DiuVtcgZA5aL4IdVzIl3mUCR9aDukVSKaCh8PicsAAx83CCyuZVlBc307iDE+Klzgtmh8aG29FlRloxaMhoifGclbv7/luz0Ll4vqecoRm+8wNVzTbBIvZoDlR3UxMMdXMuzVVlbNMH5mHUEz4Lw1hEEnZ1qqlQxOHk8YAPpgrPUaZIIlDAqFdUGkoTiskAV8A/5Ljfe6vq8/6SKWyNXlJfWnf6syVb+/N2lQH1B70qKvIOkwXqcoUGLAoNDXtSgRoSKsEOG+loliIRrqYIr3XlNndiiKxl0m6frufsuBoEkSsgSJVPkzSiUgmGp4BWRRqC4lEh41y2kwPdBGcwPers0VNpVovdGCV3Iuf487npjgLTDk72ecDQnPzL4AcArXbTq5FB42R9vxfG93ai2bn9CqSI4HQEU9cG00hMgoNjWdVsHBVHsA06b7TOaj3BQo4rV6I0UKjx7z5ya3QU9tSoaekmc7XpNgA79CH16g7xEslbonXFk04h0Qpt3DQosSuuwkV+X9EDQvRjpkUR/tiNgkPlSR+FNXmoPylUS7FVKOqt45AOfRkPmAVv+N86BoUAj8QtmBCDYpY8+jAY8IXJEVFCWnQ+Hu86bD3hP22miyaZpOwlv1Z6w43wk0fM2fXkfcYecxjWGx/lTQnL/9X8En7NfcdwghgYOS1kCYq6cbmRydR1htYCeGcgyD+R3oRMlH/B8enPfZoOku4FSZwPHLTmcyONFzSrwKNLMvp4YAoYCTkn+gLuK91TWBpUaC8w9Q8itXxEk+UK1nwKflB09vqWjcB3OeqRb2mjRKYNQDsZDGCFZ0kUEZEwuiLyKukizmBbea3uZh/fWGaqiPbRWepeAr3Tubd6qhbY0jmmFpOxGka9kFFz3jbrgMaVae/aKyU9DId5ElRTfBTRetLFn2XVoAsch+EeQs0VK6xzZlJC4UvqFdYex1bepGct9t0gLC9hYD5MFbV5Qviprznwcr3aSE50Bi6cvShVqLG5so++yfkj/EU1e0XWiz53VUOCq6HefK+5A0GiPXn3pm9H3a9pYN4umOGSaNYJ7Gb9TPrCHXPQLfYQBWT8KMKMTNoedn+Rfq7lm/DzBjessrDAZjFF9ICvNyTcP+aJ7LjRvnSI4yciCzPAT7MH4qKsX2zOXuNtY9grD2B6yVGTxaEzK1k6aMVXxwtA5JEa3IwdhU77o/WP7FMRPMEq4fJ2z+jtcdjgHse1TSUHoAZjb+vemizJcLMLw+VWfdsJNmsaKcGa/58PbHtoZIwe+EEvmxVoaV8uzahpR9Z8Jbj504qOwqo4yR9fOptBY2mhZhQ4O+yIAmJHachuNHGrxGhWRyP2ZKDx6apXBoR4Wl6aXaqe+4w3ozfEDW/2B+FcBzkMBymmZICHsTieWJqu+hNO1s3R4OI7VjE39w4z9hbHyD8a7CL51XVgeBu9mtUtLsUGYrrlr6jS3lVB5SfRGyRIRSholKllCtfu2ZuKv4xLu8qvksJzg5MH5SFjr1QG7+j1jha9AB10x8uyoKZnuX4rGXZs9M/qYozcIqOfTtLdeg312qUwx632JLvz/0b+BZlyANj9LWbx4iPViq/JqcOw4fqV9MweXa/kM5nLFIfzADOdA8BjjOD7ngd7stPa07e1vqV60n7z+Vu4BXPs0omiwGZTPeoY3cTHfazjvtmp7dFBnpk/LR0KYB+IiqfuWLpxRksXW+PFRN0ut6zojOc+E7vEnSb1wTTdeIIqS6EBDqlnkZIIsVgvC0aqqJds6/kNyjxzuJ9xHM8s4b1IDfVCGnSW5h2ZR6BsbdA6+OH67bRr+/AQZoQ03ei6WHxOBcalRDl3mda2mMF4KRn55mKcl4dbAQPk9gQFjh+vJXidkZ1JMeg6Ae6rP0bbfHo4eimgh9nNerHDYZpfVBAxBoUnUKIbPYn6CetSAFhxeoM2KgUESc3NfkY/1kTdviiyxlpV+Opl4z4I9JgF2n8pTAKPGWh+fq+pXUw87D51P0HQq6NT76lnK4KPAVgG8CrpBX4ET8zVp8fU7K8iqUOoMTJLYOK4hxcqDdAAqOAVGfQm8awkLHKaquEscDvfcgE0JWfXhf0gNijqDa2F8XE9DvdN83GPFetBfiWuQjl8hLqwmrfsE7bUqbgriA19VhpwTJAWt52pHF01GLXJA3oXxLWYuJcro4yA7nJFYjwwUn4DJagv9nEyIPb/FZA1qJhzcROe3h9olI1LRGN9Fj59UGar8pAqRLGjpev+Mdh6VRh0aL4MeJ4wCeNhX/JZ9WNB6vrXC2n3cSOGxMDcujdgIlfulaCzwNqJ9R64GGWcsCeaSrkoUXrhTzmvauPwZdRMJyAv1BNIVngWg1KK4yv4ptGcfsBdxg0+oIZci4fEiRvUE/AKYv3E57wv76eMLIYhNOOJc5sP+/7qGrDAHlwd8cbnz5aiBfToOt3jO/pv6M7ZWB8uN0mmESKILi6+9HhmDL0OO7iptvfM9AZxbPz5BGtTQA8Mks1Xc33vviXZVWw8/YO9u4bItFQq7xANhQZfKrygHUJ/fuQOnH23RaUyHS/Oa199PdsdI9t4mPjbYIR0HXnMNlyneRrjgw1MxveER31zEfiqy18bQPoU2vSh8k3ggR86uQVpEnOSz+oX5J2D0OQ0SWLh7wp8143wW59iwjh5ma3rvqjQ/eOqy0DGxIImafhXwMEACJzAkyDpYZijTckEQAAZbNI7Qw3hF0H4d44DO8NoCbs31bTNQHhJ3WmdUa0bO0Ssla9/qOVLztxKLJxajDQiycly5zrjTVyUe4GVBEs5gDqvmyyaP82fDm3Mh2bvY49a/qeXcD014W3Tj1oQnMGkVXDICMQ8Ez3r2dyL2uBTTWBBNRqqJC6Jc1GaHr51gY683LStiP8m0hMZzvH8pSyGpN/WP/SNxaNxBK1927lLnGD0Z0ZAHStqIPMrsHw1MZh3FQ3iEeMIBgZW6X3PhQ2AZH0XePDX1Xg78W/YWnDOQnpYYEnWWShV/IcmXaerQLd1OKR4XuPtEz4JEEAI4jg7OQNDF1Naa4zPeqIP/duRW1vx+sFEM/Qt+EiQDu6Cicjiy0jRmjw0kC6jGlGquzRKvauNO4RIdkdmJS43J/8RPhLBBPsqdKbk9lLq45REqgO4J4VAI11ibdfTsXwDwkO+LjoQqoWE+3LthCQyP/k2W0xgqO527HSTBEveB94/UPr4IacQqXd/JGqsv5eaxrjX3vGUzNVRfctN5+TSdCDISxuXSNa8mqz0ruts2Wkob8qdamqlHIlkCcsRqra+ivZaveDlh1/q4iHlNtn8Wvi1YM5mTehDWMKTyNaDxzul7utKQdOCpYvcP446Cer1Z28YOxL6VkbjXZGWOUnjywyZqBFYE1CvMUOEBoVCbRsomavM/P7cgYuMYwB6b2rGyJctFat5pEMD6KVVuSiJ4sEyLFQMHo9hcC814gifSiA3e1FcE0w03zbWrHyleMrDHGZZ6bT28AgkmtELwqDg9v69qVLth2WwoDKgJm7X+z11+YgC6USkigbgWGA05PKQDCX68+bqOr4+7umg5U2OXprKsPnJdhhzeMqLv3V71ek5rDfdiRJUXNIowBB35fxADNwj8OOYw05p/4Tb61PEGdJ4LwnHBtXveLqY5LmvNv8OWl75mH0ZWrbG53EvrXZf/dnoqHwwcW+pm3yXhPQeGOtqgmU16uSIccyUy5SiAh2Eu+I/kR52X1wauHMcMwNCIaIOFdyecxo09dnYW6dfrbZ9h6Aghe1FUTcBV2IEV/Mbz7jfyH5KzePOCVNRcuKVQ491XqBuEKlMzlUDSK8VkeqtorSFaPIlycH6mVrkbNfVJVM0vY4DWEY1zrIyae8cWS/X+aCan+V5QAJYBhFldPm2c/s3zzkXF3KYyYoeJJo4fWXYjDFfOOblEBAGSoJwrvwxASGzzPBkflYmLHewCJzmsEwdizGuX7k0/U9wsryDEmiDVTFBbVeJpmobkpPBGUhpsBzfyOnmj2FdrbkUPz+D+6SHbD/6GRcTExpsmlmV9xR745dQy+qMJ18kdLSIzCGLdUADmpZDB+XMTIS83mHYQaIW8oPXKrova+ihzq8m6E8v9IUaVWK1K5mxpX6AOTdiV1Fzqc1rIida0jILhh5TpT4SlEZRrISMRsqUfkilQF2uaxO6qWNIhKnWTAA0lEhd7j9wR1pjj6uRy8zaRoW7N4T8P9p/ozjBU59OtHO3VGoUpR9vO5tdHNZy23imcz71mZi7mZwS1Sgh83LqVk4HNJQBAJcbNkzyMJKCcAY09XpZfwP7pjDSgVlfhrE+EPHp5sc+7awF0M0zlRw8fM+owatYPbMRlcGFe/kDr0rS/ZOtzUcKdKCHbI+jpQeewJD39WIIjmLNv6iU8wbFCm29bU0xhpdC92BwdMrjJcYkhZgwgPW49s1f4kQB75J9qeYJ5a5oGZ2icikkCxkr9Uc9C/CEPhtktuc+SQeQuG4Cnw/isCv4manKte2iCSjWhWRyMe4dknwwu6jux7ROkma9ssbr26R5w3j9yVpCAtVB3OyS81AGoCbASNxNbKwlOQPVKXQ5lyydKFZ0DmU3W61O709wDarRkwb4PWrxHMsc8VcMMQlULujF3ccm5oyE6aBV4m3Zwd+RXdc912P+31r3HyiOqU8ftH47MxmbRsim9rIkTUXTixq6h7CmpvFfDHbs/cCbZbuLkcowfBQq1qe+4wHRPCcRUI7ewrHtC1lDRsLz4BGWWYDKXhvVYuhVEXDjHKsNKSWFC4AGPQdGuAP1REFVPAUvPlJEUJZJY6oEFadHrPF7c9B0KtLGo7nu+7LLyiCoFnEGtGh3Lse6+n8XbO7I2cr2vop8iy0IjM/nxjbgPj9Bfcd45FXeDjIlAT8cIvpUO6vTI6EC2BMvxG28gAu4zkmbgK5QMGEoCpIYqm8X/VXLxOU51/5TadNWjVa2XHAbzkpqv1FqBOMkXAwHZk8yDUt2RmHw/5cn6m8STbTUKnqrXiv14sKwAw14SaZxm5/drltYLq6Hrxj21ezvRXIgayWBaBXPk2TD537PTBXbFH2hx1YnkJ8nyZCftELuxS/FRFFVrakp69nl2rhNo5oMqHLfn1ffq6yg5jt5h9A0fLzdNueGGU970k+g23L9AUxEKy+hzW2YHZ8cST9J+KluP3ftbbCcYDxNgVCuF6Pfuyd7MAkR1O+3VrZ1S1e4eeFdypM2H/baYf1cGTDLaPB1Pj/fm3tLyCDt9MYu7ER51shXHqMDJHu5T9DuMYJziJssFvSil5Z3V2uW9RGUfDjUNCoUud1l3ozXeKFayGxvyPbPNhag9/OvlQfZQhb4419WzwkN0TxZOIsWwMQ2ki3QOH1NWGzyHKlHtcEVWIAhNbfPh8TbFMUDcYE517cxdAshnlvnQyl7JZDGJeBXWBnYoilbQZboYmbKCukEp/Y3dGBxi7YaXaKhBjItTRrEImmLzjN3yRl53JRRqcWlpJQSmn+XtbSkx7fqhh9HLTz3+VMQDHRCHua5QGLqx37yNuYuRHmZgrRSCGnjP2fRDfsnpAFw8LL+zJpvrW6JNySeNqfmVgAKZleANc7WuM+xMk+/4Gxrsh71/rGFJzaKNhrHMr9sC12w23SUG6P24yowiACvUbLh6qU2QRDmvrjCT4/etaDk23ML8zI/GEjPxYHuoVZ4sZR93XlkJ9/aIH5Z5UJscONJ23NP7bbVZpnxEBO3ULcJfaKPWXNnoZxFLw4mZWyHLEk1lpsguLUcJZD0Xcbdja2KAB9yCD4kbv5aFP5TWMu7J7UJzF+JjbV5+2ZlazMRc4t3D23Dh7/W4gvBYNcwtNbbHZtX0+hPa7oYWd182HjWrL6K+x8/mTgw+N9h2xZHIYWGaGrR9sq0BEGC6fFo8e1+xA8xyKaQnOg022HZraR7GWwwLsD+cH0RB8019E7BmK0j26gkPbqUJTMf+YXGuF1PvNmZCFT875IGG40ZZ/ss8/N/s78D4eloM7i0JcWX9nrBP5cg6dI+f9C8M1DeL6V6laoGe4TbtK9KISNSH35TlHlAaWOGY0FPW8O1l+HVu/YEJmZf4RTlE8ZZLhkL6XPMLql/UEseUJun4emMji1jvLUsoKEX/1U1Zqx4MeviPYLpYEo9x92JtWbGcQPLOLytlqzx0UXhqy2ujGbaHFICpxUg/lrDQ/Dz1MdXyHo+IvLqD3Q6IurzwcvsWYImZ3As45xBI88FP22YgLKghpHH9P4riNQJLl62pEAvcTl1VqoodpwNzQvWD7I+kedfogZmLlfEnaL2hTiqaMHZGdbxESD6HoduuDKnVmOspMnhT+oDu/Auu/5in4PBPhkem4nF60O7Dtpvi4292+feBUxq1ndGLvfEh3LvKzwZ7S4DFbL56mhjKIYxjQTDlwjtwkYCVi0OqwmwhFTSCkPHydilG/YcRoNHLTCAXu7BFZSkVxWJcuQLWYX6xwnAKUzLQoQtZETJLQmSFr6D/f3H1RNWkH5MilV9M7EG9uwwrUd3bAmh0PkDoY5pH/6Dz6WKRQti6hzWruYE5Klvt0CP6dDWx+FcSjTfQef1RlHytMl2zQVCg4j2oASD+MLqIxbZrc+vohRO4bPJOQ5vzzEd9cm08gIAormPCYeqsRDZMpjtl+O4738sOCA7ma1KZBE2A3le/QwLNXPoxDTtr30TqkTmtEdb1+nDB0vQ8gANbf1bQ46sFo//6q4YLJVm46/NOe5z6PdK4N70tjmtIMHCbpYkpG3DZf5BIpYp9nssrj28bVpYmJTbAvr73mBF6hQwhjMLLYcMcvmSLCY+Mptr+4WVJ98A7ts5X52z8EfUX0Ekk+pgxEJll88F7ZCAcgMOXW9B10XGhWWPG3B0ETcVWZwK9knvMco+WElF5bU2m38wQg78I16KrKn08xJPJ7OqQA0PE5sQr4Dojs/v/fbU8YES+tyWmd5hA9/Cwhl1jbeII3n8zegyw31lPA+AtMjojpLlf/oUm2VglTMBd1VzeD3l6IMU7GUcjfIyn0sURIdzJFGQ9Vy6Dlulc2I/FXUfB0XwN+65/AKe5dbdOwMIvXHEn8/Ojlt5B3QBbWM1Lw1E9qcDZe4KAQlTqtEbZxTS8MC1+jCwt44UdfulK0uSLoiS43WF54fUzwHER4gJI6+xMGp4Tp7Etk6CmUa185bpRnO3Kf+ZjnM3nm+Tcq2w7DuOOU94A/z+5nBtvzKaUocSc5lYLQ6ockxv3Hb0ff60MT2uQBt9UO+vSCrb6iVOhcOmbzrAISpVHdVZ2Z8lWoU5/M5Ju05p94ArQs800eKs46oHhdZfmqZryA70w8iIo+7bPwlfX6HbFTvx3P+ngtGvKooUBsRsQ5vPTxDL5sYUIy6ckt/0vHJeI+wGAAErH+LrKuQ62JCzROzcem04BriD2hBWJP+R0WOtAZ/Way+gfn3jFF7BgFr+QvYb/rfPMIT7zQlE6qkokdAjB8m4aBxu6Bm9Q5abZbAQjcmhSm0XeyCbmYOvzSihW90hDk239hwklFYm5mUpB5A/ZwxroJpMirA/DrTY0VZcjSPHcRQoErwJSHlE+yqgBnNEPnw/QXQpX8CqNUAqkU5t/9PZhn4J/ZTse/T/OpGu8OhCuEfusZcM+rNrJX8O1mFGQKLnbklKVL3jK5yLLCQMZS7uBs5WB3aB65rdqG4zuAuBi9YpRt/qqKCjbkTuA2c5NK7Zg2POdVL1p0XrKnH8qlACgY3Ju2FDS2BMwTcKP5U1YphZNVYttf8pvtEIVEYTa3VwHXWw8OIuwYStAvExKw50iEhgimEQkct/KTw2iCtotuUKPL2o54ag9VzxX9xxmaUnfUbn3H1og6dWt8I5QgSE+vtTd6ce5cH/B5xmF+hMxPItHHnD+Qd871XJiEBoE4ZL4g/gl2aEbXXdXyOF+/oq+hIcKb6YJMcdbcK701N18i4aREGRQ/NmBiZbhtZUbHTmz2WotkIi1xx/YskJ/hrgNbPeMr3gkCYYrfp7wfBp6+2lXknScs53AmjeqM2eaHVZrrC6ymiJGIjRAk2lXZRYV/91eF+/Im7FZ/0izYsB62YowM80vbMDLcWKNI5KvcgaOIuXRw3CzR9Iq5tKy257/Tk5z05CgfAkr8hD58rxo2kf7viOZ7WAo2/wEXDC/wYgZhqABMQIzToMEYOPbg2CcBDE4AHBUxNHMUqtahK48Qmt8cApPnkvufn7tlExWR/5uiByjPQI4HSrtPZWrmbYRbTrjSmcrEwykxENFGBDtgEuXj98U84xMr26xm9NeBUJE8PfWMlbxkBhik0x1Dkkvk8C7lxF1yy0guSK1njuyAuFWbVZfI9DmSMFnaBkPZYBRo1kzh/3M+QUqkUu1/hcR4WrFGdO08mLtOO7/vhufXlZJzog+EE2WizWLiOBSMCg3VI+0WCOqVPPoUSSfHxNm/P3rDWG1A/oSHeuB5aV9xRMCY9JAZtHUxASqUNCYDjwFsZzqre9/UXOGN1vIcIC1tsHSUzjy27KDp3RUvuGIHoZ/mX2xGjOxEJZUnh98nD5/3ZOjz71yDIKuM7tRTiEYMvVRIU9zsCRZqSmj3y5GPYmG34MerPXIad/ETJ778TBAKYxOnjGGk+SW7xXTeHmTGeAyPiSVEs3DZdBrAHl1sOiMg4LVD40Ni93lkmTKn7WfZTV33ayQUbyp0UdJMxhj0DeZejIv/uYIY2p5eLbtCtHMj/tE9ZOgjfKHY2eC87R/4wCHI9efN1ul2O5mAtHW9mTzg9RQWR7aOEleHEzSacsGIV8MDCIscAzolQLEReC/sgeKajg0lTX/2Ve72Db76ndKQdivAkSP/wT+pWchhjFvn98oi1Jw5tCObd7BfBAoQHftzUn/zdWRSEEEhenibb/uBIb/xZ5y5FYZvxyGZJwyxkxXEWyz9trESqWJi72XmRVC/LYx9o5w9vv/SnxBxukZZv9E6pkWXsnkaWinvcd74IkSvPRSSslt42G9S3BseENys+MqP1thy1Mxa7QDUju/xrOXTFllxZOKaQeiVVk3TVk44alt6oLHfNeYHup5SRIktmdloGJwQBZ6VgdUQOadvXJZ1DmdL5TrJZgzVlawB1+8cpJuXRzHR8IjyfdGESJFuf3q3p6z37AWI7rZcERwZQPh/aO9XT9Yj1MiwwOE7F0UAoXzfLumlsEm3zdRW0GMdTcbvgHSTa+n/4nDdfQnlJEgoqOJnf4ikNsZJia6XG6Cdrkoz65oJckj6vzQTTszEZC+bZyQrdvSty7mHL7B0EFC4t6xaSK3b3lJtQs0jMEIDhxiHWVcnNZFZ0Kild77MBvIseA/oCWgJ5p3nROMGmthkLMxqRmCYvqBN/m8Nmga7+pE4VqOEMTDd3ZoarAhA9cO0YAX8Sb6JaUwLY4m4xObS/JGOm8FWFMO7gQdTacFpp9CGEHPGhAhHqDbHcJz1YBK61xkkuw7Bd16MNH1l/QZ360SvjJxum2qzViwprNmH0mLQ6GMBeXpxTKsJrNyiI5ZZZjc6tfztBjgSKj4hbXRsEWz/VSmxRGbxsB2VTJRGmNBb2hB12cOqgMAuYQqU9SFkhY17ILBYufthLSSijjqtHMcyP3umTUqPaEBg9ewFMAcr/NwVJ6iAs0SN1OdMsH6dTN+t5yZO90eKcuJFMxcn6HRszKRarabGQF0AvC4UkUR9Lsmlj2RNcH6YOHqNi0NezJaRD5Nsnjyy2glsEKue8VQoQSEXz0E0ugnlznMiA7uoqGr58AKvCpmqeRjxcWPEgLoSdAHLh+uI32iV/zTUpo6trqxuz/SeHS33Cb4hNNnRaeZXERqley/kC/PGVpVWrQxZrlgiuml7SAx1LCKC8KdVrBfOFHwiprHKQpbiXtZGecqcTLoG/o/44WpB+rXlAMioLECgP1ye5qCN5Y5Xmyxyj8B3boX0cR/AK8mG73x2LUrrC7YtjmRiPLDRJZlj8V2ww5ltXAnq1Si+M4EbOkf7jr2DrFJiNQ1M3s73MaB3If20iIuLsJy/YnFBKsA+fyR9B+rkzkUTq/eTGkc2OLauxVybffjwU7HEkLKNUBlU6+SEBJgmEmdFSpghEcEn7mFtfq0imYTRSDh/Fq4noQrsu3Q5cd8HpckYVkAx9oTEgC15OjzbiSnz/M7t9nUve0y5q1LbsuoDUU19YQgGXncJK3jV6pF0/TjqNcNjQ80fFiFn5y4vwzxX2AVk+5AeG+pyRLalevqi08iPKl/AucYgzJrr0xupm5w058gbm5VeKIT31B/xTDU6bqJl8OOfT0O04McLkq5t+bpEznOMTpbrgXBTFQTP/i/VaMYoSVhMZ8PyuZHpJ8FIBEkBjiluU9p2mE0UO9IavSIKAVVQqMcGEVjVWU0HEb4wf+r7CEqQGbwLtC1nuMGrTLxmln7coLpNrvYlyPyAYH6uhqSXHZjl4dU/oTOgIfVHVccEr6QNyD9YOiN8ePGbtYL+Go8O8oCdF3AcFVajgWM1gZuFTVx6+JTNH2m10Y3rwxqFFzjJOEGjjxWAf75JYQ4L6DwGaVxdsOA00MJD0+V1GARWXjWkYwqYnzTw3pwi2Xbu/KTi77uetWM7s6CFgO8UVJR7kcAl8V04qPGTKlbP5H9jKfg2E5IqWTM9YqVqAmuu3tJ0neKxO5u4xfchmaCXthqn/Ier9xVGSKpOWuHQk25kEEFaqOlI5dj0JSmznS3v05w1dKRhqL27nc1p/AZ7D9afKJ/chyvpisAKRPEbFi2hDWXebYXDibYfnXnrtgOwDOhzyVskUEQ/I924Q63g8d1uo95OoouVwN2q/Nn3Tr+5Kxum3aKF3UoyhGN6rhqGmWulKDrm5oQ6cmFWcj6AEjvMN+xbSg1gFN05cQuKc3+ENJ8XxDG8oq50lp0qPbW5zNdcW8iW01wBBHswqIWVHk4EZduL9f5AiEmJjYlluFbdCrUqGIfCCaI5TLxc6X5PJIM7l4YPeqVca6G5g4iZSQd2phWjSYbFlxF6dHfoYGZQ+bF0fg6hJYznaenPs7UrmPIRgmXvgtXdC3S8SHtBpvTH+JUlxt0qlFDj1QKYbpUOI+/tqHBUMTroxVFI7CFFJN1bvejWv45hoE49sOBWwbR25AaWthdEVbdQAQ7vbNHyKtVNYMHjtIWnJand5qxu5AE5otK7k5AGC8xdWWdnk+AJX1uRg46voHFVe5q1UuWaG2L/SIV0OMz9j+IKS8lhxYbIvWKpZpmwDrTaR5l36nz8Pv4xgQIc3mF1oZXbwCCpWY4Cq2UX7uqlRquxU5tnk/gpSwwqPwYANIO8dEGKk5BQ3ID70HzSt3F29wvb4l69d1AZAaWi0tLMMXNdGJbFvWZcToJLXM7bVqr+aj6pBqdKXuuzCATIc73tjeq2C4732ktuHlf2M4OShTSUPOykPTT3rtzIty0mrjOSUK6QPrw3YY8tY92ei8h72RK+FuUBAwlysxH0BjUYXeGfF1b9riBrCmpx0g0Km8L3f0oJESVMKRj5MtOczWeWzDnDAvmDDWLAN7VkgkdbL0vUGIoEbgEJi2ucJF26LCEg+mrlEc8d8pxWHa3ZMF1U0ZuC4pbRAJeMSUt6iY8P+p+WlL42lrcnVyKJqiR1pYpj6dxUEEP4Aex7Tv+HM48ssrbjAaJZwc7zZTc49JGfzd5ZooYY54FbPkQKqUyhLRW0e/9AJsGMri/UTdiUBI/SvTh/rY/owLe8siWtV4CVoYeIzRIMr/t0o2PtbcvEG6x4CaWmDDoIEz3YbSUBj+79O4O2Jtd5/RmNW6wDRLyqEuw3XN7FouObqQ9lqL9NHSIbi1E2C0raaIHau6nz9QQNJ+30KFKmBeK+hApsZ1EN5Gu5t2l7bRoGqF5WbLXl0wo5ET9Cz3oBGoJs37pEXco3ysopt3CDpB7rwPdmgyvHMiXP+19rs0DBwzf6sp/imyNnlkQOs3CoND5CzUklZ0xFkVTMBIA2qChaNdL3rNt3yQTl7KBIS7N6ECiQ9TAyc+fWox8IK4epPoMF0VNpmS0zGYqhIBR0uOjMCgOys51mM0VN/bQ24gaW4rm4qypCX0983AyPgTDeuDjxja6spVeq8mFhPzQiMWe01gawHR0FcUYXghvLUr4cSqJgaCUBw22MBcZmV3+UcM5oGeAnE58jFhLkPYsL5Tn6MJU0StISi0ccGI3m8xBxFXRjFcf6h3Fr87aWoTuGg/0UtJ6+aNPPULWG7+hsbokt8uerToeCCd96gUVq0wprqDb5w7rQJMZ/+Z7dPTwsEJdfNVwaoT73z2v/n40kflcs6Vg/LA0PXCz5bl9pbNDk8SJqap8IbMo0A+iWR+ZDQKnC2rSUho4k3TA0M54SoUdGYkVJcAH5mqvWzP/MgjORXtxvEjbqY7W7MilMhzIo8HopIheNV19JcNZMNAKiMtXbYIAXUtEolGckHYNRkT5DxvoEQZCIiockdf2oia1oQBdQt67fFXRhFSdZdntcV6V6vM1xTcIaUbeilYgFx5rsWg4bMm722+tBnCYmfSFqq8fQEQ4QuW9Ax19up0I3Lhh/p+goUUKKMgyp79jlr7xNlJiDjxCbMIzdO+NnJkvefitNieUe0lIwhQLslOfrJ5dxYwBs53PIkXJ0SGQVqS22xO1RygrpJJ7SUT4fzZG1vZrenqPEQQ57404dU2oOzkvqPPR1MEaKw8fZZNrYrv/CRHhxslPFmuAIABMMkOESvZJBAx28P5BNfjNVw/fGoAiKZqoNXJ2uiaqKNsNVlVYdfMqq3gPwtC+PfuhzHPEdV07h/4G0+SjyWg32okz8PE0LohqtWgQRJ0Hh2D0qtTVn3/+usjtbF6aYgMJdTTChpgMAenksiIQgbjdnKrpeTczekO9C0lG5LQrjf45Zd07izqs6pDvAu8vqPo4v6GjN8Ai4td3FyTeeokM/kNvRl/fBbCopopr8lIdowOkRkhiNzAaQlFTOQmmB1pM5zaDdnaleX19iUeZPJjWI7w2+lxpja9IWl2uuDGALzQRpoDvnBIWfosGqP2Kw8WkVHu9u5k27MX77VvyxWKSzwJg31UbOWlA8PyOZUCIAi1X0qb43TR8tJ3XqcI429iyR1dmiaLwKBwqmnfxNhKK2JXsozbJrgh/FxG9tey7H+ZsjvoOIdRGxHr++bcvekR1Rf50rHyoYwF1X30eKyK/dTAXm1whUaJbq6Ljr9bUgq+mYQlHGFLPVKihNWQvFaYeceVlYBWncrrBKfgg4Jg/m0ombjYZu5jpvtrV4EkXRHiDemhBG3ouUi17rQNGjAxu53FwzLk6IvcR0UxU32vhzpgcVELPlFv+qOymoD2keIQLPKM7qXNknzhKm/wnvBnGWXW7h4MAirvdiBFKLzXAwod8JC90yt+Effth/3rt7Lz3YfmEnnbePVkhI1uAck//6GOtNHC/kbnJZZ+O9jKOCuPelBuuFZRaBBwau29LYc30A67mqU5mVuGeP8OyTeg1Y5IzeYBUuzq8NA3XQ9wcS2N04ENeBtDlm8RULAvUfquptAxn4H7tVPnR0qUFxEzPepBakvKQRt7TkIf2mGYx0VOxjqnHI8bT/h3qHttAEw/ue1Po7u1wU4vpfWBw2X/5bF1b1nMWhy7/Oh375ixEQy7YE4pDDdnbvH5vFGM3jsx8UDBg+VIAWak4iA1KtnHgKfX3aiVARx5OgUczsSr7v8AJEQ8vXNcxuYKa/BylMcOhMehwHSk15Gz69rvBurwc6o4AqSIHWkMuTsdp407M3kBsVBkCcwj9R8xqmsFu4s0SSOq3Y5h5VdY4qlywlnIgB52uXvzqjmdHrh1xW/E+2HLYCt4Ft9rp5gEQ4za1g8R/WMb7XVxn+B7IOyWxvWvbiCubVIfav6zWtwsBVkCfoEnqj33jyRT6D+o5hABAeVSEVCd6RKFPNE+xGq30lOXPSfbc0cY/KM7rLJNOgzVgq+JEpcyo86USpqe0IeGTZ/AzM+NOPyoeBssIHD68yeWizfqfnl0DvOVxJmfz4HtVotnf1S6Xjaguue9z/mgzsAuJSSe68lTqTcadn6A1nLxS3iAzNbbhAbu3qI1erIaeImHlr4vOpAqqG9bFxz7KuqeDCdCGsFeZMOiupCVNuXhYOAk31R/9DkhOo2FOVBdn8k/Pr9fyat6fhEEpcW9jLS4Z52p53ZipyUk/IWqN+k8bh/0SX9icDcJUpYYt+7/EaXAf3hM+PTs8tSD1iU9HgC3O3JtdVRFwmtXbXgrDRwlIuzERiq4lOQGBaG/zENCEwNMvtAZ+I25SgMqo1IfOMSRj+5NM7IvDV5oRX94lIKSHL7cE4hdUKmygZ7csb5AN/wl2mDWwNimk33W002RBnbJ2A6Zl0TlzjHLroh4TfxC1hTK8dyeXm0l8cI8ZqZyalsER/47oC3kdqBVdru8PkpDlwL+j6G9Aj4zvELIkROFioqtajLYswJlVx2GI+x+jxZ/EXaaczXm0THKeVL5pL5RLN0J2ovEHHc7e0lHm0WH5DnRWIrZiwOLHjL7Eh9gYlYo2h5ph5nlzx4cyI0j6DGg1M8P9MV8EVTB0O7D4s+tqctkiFz3aMC1JNIYVFbgHhQNpzxLaFfy+Kg/JTO7gOXj6c5Pu70WCZTr0+Owuf4Km0SMFfhI1KkiaVX7FKuIzzcPbv5/bqrLRGeeCLnrveg/UwZVK2W/lIUj542pPNhk2D10c6i6WZBDh3GVb0XIXvMXEAmAWGp0ijOhJtRV/GMRcMtTPPErp/czjsvpubBeQm58Xua5LnFUDBd2eFGAS8a191jATlw+fZgvTDTI9+h3+OseTrtTUkT9dupv0LrS7AI3FT3D2sLlSPk527CESDy1mvZ2paEYwKYanIrPRaSApjh4nf5BvMuPkP5NsKjXbuNXrcFASG84L6dwH1vAQUTt9w9rOqEnIWMyChVOFa4dCd7x7r2iLQFBn8pr137SjJx/HSBjkPunvD/DSiC6zhP5DzBeqvRwMQir9ffq6Uk4noLYiTW4pfGcn0vSuy1UX88zQ7SYDaSnv40YOhU51KWCFFuyEErzUyVvI+uANiiC33fQ6V51be1o+6uPt/Koo3A3AmqxeorLj4YSi0hwzkpDqGQFWEWWSGCLGORmGm2u9E6vV9oFHkEMjpTEI5OBgqZtxcdcBO5b4GGhiBIzs/j7qa6UPJELM3jdglZkj1RM00Wu1qF+fJbtWDXH9q6pxBup4dOjJ+17NPqaSXlaChPjrQtrZeLKzRKzU1gcaqDQS10QkMenwY9L6/9KcOGsGJ+1uuFaXx54pN9WntTudkj3X6CXrcyeyJRW9uAab31IKOuUAS3bzMVSQm3XITlJYwwIQKXlQgag1rsVGWjyFmwBnY7EzOzLsBeVwoBIThBf2sXc8RFgDUPZYbqYbgZuO2bKwmdM3BEoC6F6JMLO+Kwq3s/vMGHTnmxQEcfHOIyitdWO1pN2LVyxMSJq2RVeu7JtBPy1CcJEyTLeuJ5H5Qew3uXsDoF+8pD0CsfBsvg+BnUzA3Eq1ljxL6EPjkuvQoErvbsvpEjaDVF8rFGjLWOnytp1Y+9M+GX9nQYLfEq97miNDeQOyZff/JyPgYlhi80Ll3Vr97CGjwC+Vdu8o24uyH7NX7i5uQyKuYuz2AVArD+NWlv5emqdeXQalqO5Oeby4ZFuyWGHdOVXWcDetW7IZRv3fRyrUAOJ4A4aXH/SKGpAWqOyQdecI+A0uK3H+puL4rs5qtszHoCTcAPYBjBtZWJULsczOnjIRRbDXMAtfxa9R9FQSENDXHJNnTJ/B2KywPtASn1YWEyuxpvXuZAWitto1FyJe4d/enr4u8XQkIkdjlOSA9pwzuISi7YCLujqsvcpao+6RdYJXHQf8fvgwOdKAH4Vwjv7kxXcSyrUCNkSgYk5e62H6kRTlV3XJKgiiJM698ctHm7ZYpJ4wrrrw2kkbBQddoVu5JxfiIBJSb2a30nWxKQRQlm9Rf54QzGwMTNjL97KtbShh1z5Vr7eQM+kWp3mpIVdIKTr4gb0oAP96sE7lgU1mU5jcIB34QSoEZEw+ei8wgbN4uX4+6bnjjRRSeNPm7d76AB7y43aTXhZx84t2CqTWxd2lRIVykvQ2tGBHvo9bBJonZplWc+Qrkptj8Y2JcAmivIC02Aq17xb3LKFA3EMT37V68z6FNIaaE8lQOjyLodmZR4ZYHmFCaKDcRA+cuZorSyzCI4L9dC3QpqsLGfQ38AwxAOfdeugzP0FYSiNBzmRuNKjA80anefqq26dokRynRX+eHYwwu5oAsRSV9Az33uI7nz/UYEwpSIdYahOmscURttB7ocElbS6UKaufuVT4vcghWo9sxcJAWxEk+PctpQ+yIxS2s/JNsQPvrrcqkuy/pz34VDw/K2gX93DG1MxS4UAPcUc2VGz2d2YyyI0uYNZ4wpw43PXV+m2Uqe0ZnCwXFZwlpTtk0ibWAaPrBwmU98zsYZyGx7OnuPu8ks2hJ/MbwKsi1doE4W9KjQuJYcgMnPzqL3OX64/Gj+6yv7zdjPebLAlkm6aoGq3ta90t/HJa3/dkBcWzN0rWY5lwvpdboy5LFq0sbEq37u/XU2aEu6HfaWhSj8KNlW2ktuWPF1fnTbZihKUhsiN5x44nhljvq0ZWF2SH0iyb8q5yfLSnvDO1aa50frIYwTJVKmyB8C1qLi/rnAbp8n2HV6Qrx0bQngY0GMLQfQ0Yn5Xz41nw4PaXiY3UA6pB/bFGqdiSuEXfFKAoj+hO1vYgFBO5WupTpxhPBbog+5hdz5Ac7fyMZapM1Kk99BEZp/X23GizgI1DmdFZpoytiA8cUj8JVVKKCEy9mjHC9TjYV9qefdHGSyyd2/j30VR0/rPb5CuhFtGs+ql7jxHdQBl5RfTU2XY74HqusJIvDHMQm474win1Hbt0QdlyL2Ocnh3mb8yjXpwI1t1q3Iy+wor7Fte1AFLb1qp0NTCS2WvGY2D7q0sA7do5R3sAavz2HC6Hlduck4ca71XaXT5UGGYB1xCiaw5/WkEMn+vUkfSfRuH1LbMa/oNxhLISPoE/bRjPVoAOaY6Dd2cQAH9/QpkdOBfGDgvy5DDyMosNjVsUYic3hNi6RvM5VnS0eLbOzcyg0DqgAFVe/slAJylgzqsaCz6YFsOc2gHyPRZCf6ea73s9Th5rVZEs5wrraOLmtxxK/KBoaZ54I/3gKl7pC5rbNvJtlyAgpBtATNIY89idaHqU78yZn1ftNRZOcy51un0Mi9zsDrWeVpd/ZJLySmtB4LOXliTc4HLRTItmnOTyhVvUkd0mtlCiFHXgqz/4Dh3GXcICCibugs80gz99/FvxjtunfuIrA3kKBFqEO7Pvk1HrhOK73GT0v2ILDa1qjg9k+0eEVZW5OzRvJdG7VTFte/FJrQ+6eZ0q7dmOTQF1UMChKZDhonHBDL3HQSFRX4CqX6ZLeRop2pZFv2YrBRaNccEXstJPLZY4PqZukxOxdTP2k+e8KtfdSgKrZlC4vOTrQipkoEBbu/0wWE423OyObbz2IUk3lAGSk/B01pHB6Fv9fu4iwGI88TMaEXPtGdAsDBvzSlpDmnD1wzAjqEdvpy/3fKgm22fQyIP63ZXWin0Q2kfIpGY5JP0SqymI7dUxPnfCCld2vbLWHswCX6NgdMx/n5yWoNRE02y95ojC8lSMcEjCu7KpKGt3mGcrWyg0YAXptWuw5paL+lQD+rXukztP6qsA9TnYuRiHmnb4mN6nCtmYAtPC1OVTCWydZhKvY1UNJm3iQzI0BPRn3y4rvwkGlQm/1CmNGq5oD2CwqU8K/F6/6JyQZs1UrZVfhSauLJDrgE9G61Z6rhm1J329CJCN4cx3EECoXwiuMZMi5JHzGXBdEtnk01GTTizX2zPIZxz5VBzirX0rp+s8V4ylDLi7ZGMj5j1tK0po20ise1ITIv2cBEJEUjoy15yntnMjNHObLiXfjDHikJRICyMmjXucbCXPu24i4Aa6QllZcyAtY4cmLBm1RQtUvxWWh6hlMlV5mVeWwDgqFpgYUThk9rCId7t/A5eAhPLVhPNyQLjHtNywEn02qmNHxkP1yQOltykdnT5h9xZgNDbXq28mYpHdkE6fmqNpGXebJeL0JJ6HK+8pB6ctDKfDCX6f2cfUE4vsYmRkktW+VJNvkBXlJj+WegOfLcjdPKHYZ1JsON+kc9rsuB8nor6+qaQXMP7bqEW0io8fee2lwzSF9lw8hqyn6WSurvjgb7740O/y7vUUJi5pmMSSHGq6p8nijBNGAkVSF/W2zy+2bbSAaTVErYfIujanR5BCJ7J3RUgPjO5wnok3+FgPHbg96Ghx9YEowV1InEUrVmE6jS735wSbJKrkp7uLM3EqLrHwlfmIwq/Bjo5pqBcaYqX8kqFuyiMod7eTnFp23WaVY9Q0RtJqOpTlGY210p665wuerY8nYxzCZ6NHzWjtSsBU4mROmd65lFabr4w4wTommfl9ah9qbuo0VcwP7BWz4CxahTZHOjDQnwotya+zuAWaCZ9OaxsNsYYiAfQrUD9idFSe/W1e2Gp9sqYD8xyeK0txzaNjRr9fO0do2DNQJnFJhxUMqxQsgl/7V0q35zFsQWxtMSB6Mr9jyKQBW2dng9ocrtB5NTRgebNV6J9dvaGhKbW3fH5ee3Q3okdyjUr16vEyi/7G8jTrE1Jx2Q8Jw784bkyqqrcU9BDHfpVxP0sXd6yxumKpLhNcsWLHNCCPtKjbDf0qyXu9BFOuLdTGZVV6+I9vi9Wg0569huWf96uvjcDkpPS5MG031BzQKWcKNu6Mv0HfTPmfhO24VDA6VdSXhHfBUo7/WhCXOHrrjoYn6s2vN59hbD3YApKnopcenumwuOk5mMHxpDUi1EQ2A8bheIGFzawNYQxaj0f6Ixnn4K263L/TpO7y5Xl9RWCAycBGaKnQh9Am7SCuI1L3zWlKePdA4+t3EllsxsPYVBg4RAUkul6srCEN8uc7pEhDEORWRaf+8l6GsUNaCkDOYeOJvEhuLN3vMnrmsuJbvgf2Xfxb37/8o+nblUWFZ7Y3RvfWDbplxEwek9B6sDlUmQRfpS0sa1OPF7pQkc1CIGLBmJzqPK2dhq597Utvft9yKhWDix9c69XUmFYRH3GAK46nR0hKbCN1myNvVgqzWLQ2YAteC4xcbe7Qdu00gWq0n/1ujzOC31DMd1kVQp0PcxjVsf1J/dNI4n7PfuBXkBtx+ux3BWpRAvKyaJ86YdsXZgJ+rLO4RzGBN/+CA0pfKhDjfgNkoB5I504Lf4FeiCImXPyVhehf6XyDnG2tI1E9HkwHUbp/8I0xeJUUFFr0c3rfhjTisZyqbWq6msDfBrLQ/lnuQW1YIwCh1jtI3B7uR34v08LAqJol2l0RdSbrt17X3Ay+j5jB2D4zh7x8mc0pPwB2tRwH0cYjWm+Y3RLz7wTzvsBdr1gHP+5TiuooMw8QKaSem3m+r7qNIZS80WdvxzLCPr6E7FLlniVhnQRkFAqMK39pnkL+GvZ1Vw43XCK4LwAg1VmElCCux2UqrJ9rOoKkXR4QCtci5TtHBvMlJ5i4fPotwArB3HeCIruujyno6kVTnaUceSaRo8HTmHzAp1lgm/QyT9H+Dpk0dfG+ZASzxBW9EHtRTlqYGAVJq7SkrvFgoyFa4M7nBmmFXy9tVw+/xHlMHc4CXrsI7kse8T/abu6FVw7CFvuj6DewMOpS4AkaUYDTvrZ1t46l/SIRc6Hyn0M0Gw5vHoqaUMVJx7wXimohLUaJUBsvupMHs26Guf47ySMJQ7ndIx8R5jqxaXTo8HLsy8bUgCWDuDc74ppKTEJGpvYzOjx79tpVm9LGpsLymp2PN3DW28b7wkGPbHOeYo238eLNqSzumR21jLTSM2fA3t0VGOM4+PbOUvtFFDOx8ZPZGzkoQnOtlY3d5iURydE/ecxC1mGhhuRpHRzzSAD41RgHYoDkVGhxlBxSCMIiWwfEI6V44AP+jFTQVK3aCDlHxHe0nBh7/V0u4EG9/VrzOPqI3G/vrNJ9BPzFIqnWiwZvYhO7/U5ToSboUDGAtJx4n9TuOl5ZSULjYCrQypGrvVRcwUuNOtPVFNedsY3EHbAo2lARALgTEry9xL6WIbsb6PTrf+2+3u3Uzkwae1CA/9IKrUKCRhXmRYfYHSMmsauOKIO9so6xhWpIvHlGqyGPWtx64WMO51LVU8Vwd2pV0E4ktOGaty8jLtOMdHV/3LBaGFe56ajopH7Xm9lsfojUuvf9tm5dzZzTq7vDdf/xA5kjtRO1mdTGv3cn5TkDNfxjBkhI8wotSik96To1jcjdO+6VGX5pxbSkuO1Rb83ow=="/>
  <p:tag name="MEKKOXMLTAGS" val="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COLUMNS" val="1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2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iWcfk2RmY+GE6Q6T90sFUaYhHdubK/b9WYMbiqTQFZNRdTaHJ1Coz+gznC5J29/l+uni9WCTqRMIgVGBy5FSCqTCP+Vdrf4pg20L7fH6DBLCUQPEirnQtbpBHNoYBczTAjyI+Q8sdgREG8v3HKj7eJNBIgJSMWMn0emcwEVHj1u6frAMlnit+99IngQn8QIep/Qhr8jUi1LO+/o87oAKNdTM6HxTKJKukgEon8U9FN9MjiMGwBafZuJU+WqCFQVdev7ARK70uXYwiD9qBOT2xEJ53xs00Tf/E5haV1DY5Jejc+G8rXeT0UMHAoqTZdF5PTimqNMQ/u4r2K2rZiVAy65rGTsAipTXkzOj+LqzfpFyxzuHfdAgpd5blrULJEbY3qpdIUzvO77uPOqZui+8jtTgZe4IS47Ri21L2g7TT6sJpk/YVRDme54h+605XBqc8cz57PbcMBWh/2knpKTKXdttuWQJ2pUBSXflVsHOnMIqZptFdEqCwF2J7//p08W6ME6KbYQARZlzmgT6uFh6DAslsSVLYAsyeM+3ZgR3rtHaDxKksQhgu8BpHJJxc6jtLk/2FW57WwpK+/I9UjLDoq3cH0PlM35CGFndb8D197YWO5qviar7nVGs5Y4PtHedqOyDpBwYrrAYxAeQ6dzU4TDDgbKgfYWWFmjgkuIzfxucjm3LtO/EOOV0qFF1ZodbpkPovYZ7509og1rgQ7BnXDBAh4rfGOFKMOxWACblAyAFrMh5+Oba6GcBESzzKonIKh2zwZK+n/Oq+wQ8oISlev+BraLrvN3/QdAfNWneLtMQ64+6PF20L0p3u3nXkkO2ML8UJOjZd5xGZBQyJwbHfMcJoxbG18rmS7bFaYUXvZO/b8Dhv2kLT4nXOyMJrgsvuORGiCcReVZ3o/8AyAqLlKg1eUcizXo5aBmAFQQxy49xGXVKZOA21o6KS096MfEbzGYmESNwD43ZxFZ/P/ekdm+FPdiEFRS6tODFOgGqTsiwnSnkDW7J7CidcSnOnFqI9eUbZhl7MZ7YcfSvnZGBRsY6+p0UrW7EROE7eT2VIa/QCV9pMY+l00/nLD/AfXWpbnkeOghXcUuaQLGFvWZFu5CItNRBS62hxXjpdcT/05sOc2yMDMH/MEjvZ9uoW9xQnteRtkj9CKkLclLj7ZVbvMdsMfAvVjbP7yqL+ZPP3FTmBaoeZbnJoMyHdH8pcwhUwrvPigZs9KXYf6R6vpuKR0ojATgq8zkPgy+5SVI0tuU8tRk9aHKUQ13Oj5Vhxynmi0J3dglQ1IJA8KMRY9qc5nwegVYdqixS8Rf6xTc9u9BJ55sPeMyB0ikYH6XR7SWSD/JGkpV7gmECgRTeAOLJkDdwwlU8L92N2TKNf/Uf6/ptsT44wX9tfMxmevGuu2uzKKb1HRIVsGhsOKiw+YOy1IdQWbpt0uw4SnL6MuQnQbAEet7fiDeRH8Tf6GCDdFSlwtybaXVLeH9eajZA+JZ27j2YG3aoWKhnlpYRPdJenpcQFqKvS3hSZwxKgu1haoRJvZsa+sa3/H3SiM6YcHyJvKzjd2LEMF6F9ybEKNcbb9UU3/XmzUD1lIFzYSgr679kq7goifd9q2/txFLjkWA4c1TXJScnPhG9GuTaPZOQv0hFsUNw0tq4lCek+i1OtfdDZ4l44zpca8CgpZyRzlkbdL0pAyOIpRxcNgcEpI3TZrDU6FvI1sVsqwbGYovLSdrCaORidaa4doI3uZRApsEzQTJsk0uFH51hfWNh1LCKLdRIYN5xSisgwrv57JMQWvOMQzbrec2MBg+BxoiVD8mc22zxcBj2hNztQs7vmeyb9xvHb9sBw9W30qf0UPihsgie2drrTjAJ+etX3W2dR+nB0ECcr6fOJXI+k6vkM1Yp2/IJ9T8tgwQRs5HCzdihEWlta3iwHi78S30sQV7BaVkbyvRiJqB7k63SK1GCu94ePhhr3nDWnzwYfqKYYn89Mihd3bV8i0V6PChce25uxMWv+zMkY0CGQn9IjVoFskO2bej3fAPrUAROzewmSICSXwwfuvvAAvnS5Ohi/VFdx461CRX0sicPZoNyAUg0/R2r4Qf52EYYwwSmHparY2GbGDMaxflK+BhKQ02rHMXO+MxDLmqpRK3s9xvPQSl1CEers1/Xy1hoCcmv4BLvieL5zspMG9lKTAa4rsCm7di4oQpn9RL7tiKEiA+xRAAv2CC56nN/P2bm3cpyw6BHF7iQaW7oWlc8OBkv9DT3UMtIRsOsrWg3YKqIN3fw3sw2aulEsvRnk0NEJVQEbaEvbP3k8CTXPztT9MSsMWZhSLOx3OGtbxOAU6h1LdflDGS+rRycEcWsrjM5dceZL3yYcHwxB/gzrYvXOmWdaP4BKI4aTlpgXqs0R6NetH/xLbz4YBHgHAqA/pTVC4XYrQtc2mVOzBY2ZZBP0IRTIzZTHfYzJSiLCTVdK6olt1/2odcBICSlFuIaUdHyG1pH3UEvhdwcz6mJbI0uQhIt6LYlM4WtcyXw/Eohl+LyZDJKsiEsYjUVICENi7+ACtVP1J0gmQPUDfvGhg9ksNwMVQVmMLCTpmHNeYKTTeZAvgyLgthe7EYbUNEko3HmK7mSecNoZxDsHg3W06YIWiEJql79Y9NyPq5cE5TBF2kHRREKnOHGo6QGf1ud7wFOoJ0Brerf8ylPOplMtxjwBm6vLZdT97Fv1Byqqu73/9vf+v0WlwqMubX6kqwuxiDvhZAbndmgl6cn19TclN2CNtKC/koIscf6oNii7P2KXdegqc06HpM+c62Bpdfk+s8IEor9i9evTtaQpLY3sbzxvuJCwXG0H0hLbTaAjCL7T5n7ducQ4TE0zbojWhlK16xqnZdWXmtjAsSPjUkuDmJCfdoLX2sYqiXdw1VEEMCmPrqvAj3+drGT4kFn76199i5DUs9G1VpObBqi6uDY2ip2zlnSt2n/jDwRVYKipEIilCOAKp4FBpUZ8JMKENlDUE6HfR+6GZyqeuNskcSbTQadsx2t1Ky1On8JuyfYkMNVUNaTbi7f7qiECflYRaozorB9KaOaxL433qY7E4s1QWA/LQYVU0HDReECCXvmCHFTVtn3I09x3Kvv3g3cGEvsujjBXI8swyt+ZgzvrW1R+S3sRefdsauXBIiXfHSweoMUmompvL+atRuPtPqY3ZWvqQh2NMLYT+Ywio//PpMpprz7AbB50Tvm7RNa0+Wv502YveQGJReYw4PSyo+QRj0FMHBsw9XOdQK4sXW31LTq3VRlr85JV7Z0ph2FqoL0RQ5wca+Nbmfojki4u0p3pn+XVSiIExbaEKOYGjKeTESEmtvJqkBE7npAKA3Grn4g9hAs+YamPEqgpjqR4jr0pNXvd1YioWldTYcAd6vfJ2A4m/4Aqdz3g90jPrsGOpRFawAdCs9tor9/ByG2UJYyxwMVO5m/OyeOopQsyY5wlpAZ9S9rmZvkmnScWrPKLqe5Yq/eebzm224pBPs2bNWfHx1RIGi8jTxPCvRMZXkPJdOU07bs2JMCMWKhWCRdCs8aItrmXFupFuC+AX9qkGGoLkwXQoUpV8i2jSU8x4bpjjYfb4WtTcsPPBBJ8wj0jgzoSHpr3fzsCIpDjrfWwZxBnWF8KjOCFE/d2UV7DPXZ9Zwb23g62mGQZnfZSAsYR8Qd+pwjJ3wdSO5kC0i7UH3ou10tMhgoJT9iuhUI8NEBn3CHp4fvDWFS/PQnJpHsI2lqZqiD0IvT4wooZrg13Uhy04URY7+vCKEcUbstecfIsOGUMI2pzmDLABSCT5lRGOg21aSiNTD+qwZKoRAnqgYP0yQj/9XPa3ST2v5MOVJKqzvG3FqlMyrXszZ4VmyEFaf8i02Dwqx7GMtuboQ7YsPa6NpUMWoAHGa1GWfE7MYhvXUky2KF+milvvfTyc8LDiuIyzHwcIEH6O05pfrakTAIyvPOd6cozmY86Ak2iHiav+0v5DJDHPKMbV1zovxRimhUuSgDBo2itOuHQyIbNMNQePKBqR/kq6DeAdP5bDk3FIvNnIKn2Y37vOMA4SGlgfYWI3rfqS3XZGdHAVb46eYYADESKgxMI2pNd64CuphHZGB5zvzyJyWVSFpB5TZLq4DzBK8a7+e4IceLU5ZpkN0qT0kfPIy+wvp30IPq4sNLWRgyjQ7//YMkxPkG7Wjoy+wn7t44o5t5fMi9e8WAH5BPlFZNW8eSmQKo0bxUjgdA7jkrMHJVBzqQAtjQ0qfjRYdsTl6g8rYtQGRmqw4exPzWhMYjoc/Gm7FdJv6UQf5PyjIOeFF0qPBsHf6n6FKJYQYqvI/kcyQ4hrN77dQAJWTAodNPX/FVms2gTRwhqPd4oh0dm9QjCfv3c/LTtDZbtmt2tJfezinKG1nJpZk30hciRbv82rG7sBrzmLMDOMRtEjr8HT6IeirDcsMyb5gxZ/hW4oNNaQ/UxRLBeemkmd6P0KFNKy1Ss/G58XHacuLwzMkcVNmZ5Owd6owkjVTYJysPBIQY1fhJKD8yp41pdSHHBiRVbg6tUx6ECPp2tduE3og9nMbMZnYNEibU0hy4XHJ0GHi62ThE2wpRzdsyymFYdWOf8P5rUTGa0dZgRWURpya2cJusxdFHqdvsRIQItdmE5XQz45YIn5Hwra/4keQ1cJ+WId4Z/0/TdEt32N0fNI9gaPwjbXD3l0+Selyj2tZGM5rawXKplsUXZ74JQq/vlaD8Ebm4eYU0X0qPm8GgP+GqhEk9xIn2CMdhRdjkahNJOMCZdLLLFgt4UZydFxa0cjFpO4n6y0mvhe/vvibDcb4PLzKPsbJWAu2lcsU4CYpd8+wsHuQzBTP1BOm9cnGZSqf3OwCO1LfyRIXTCADdJEwucsfA8VzTIUlDI5365IpncfyTXruNHeBUXSlRSyx+Oh0a5AGPIq6+UW+k7Xm0sAXIuQY7F+PcZ8hsW3rpHEWwbvDnKRDhq5OkC4LOujLtMN7DNUd00HhFLWXt1IQhDSIOIZP46+525NI0zN4wZdMKMwiIiMKK2dfTubuO79fdtUo7+18vvmUrlcnc3GxsHyHwYqPAKxWE/EnCtWFiUqXZUUGpqtrgQsriyAkJ3BFEYBiBKQvCcZWTDlZAiPfop9uUaMyTAc08jn8YFiSy2kiYK/g0K+oflCRe3Jq5OehiuBb8dXudmsFMC7M04ojiD+KmCxsYP3c7TdPEy5yQJxCujssomyDnixf0xZcHsCqmtq5G46DpZI9c6SA6CHL3H/d1STI4/62fekJce/BrzWVoiAfD51wn2h0krEZY3kgOFGU4TebOyM7kawLH/W1/Bpw2U2kC9s4RQuRVEulq32xQtC/uejBgaRvplj25p62TE1x8TrajFXKEAN8ZD1glw+vCy0y697hO5YbinLGBS93SF5z2B1qrUW7WRRYEyqKwmJh+7iw1aX550EqnwT/4Xy7IsxIN76GbqCsTfOR/QC6K10lcq3Z1iJpDtxavdcNNhsEsuGcLysaHa/iGCOG0FAdzY1VY4Lfw/R5ysrLM5AAVx2Eo685Ny8CPj5B0UJTW/nFeidUUas9Wm4qQZuI7IVv5VNt8Wx5Ik/nTZfQlCddI22NKrXxHDQm+vjNB0TkGtOpUcdfKjoCfuzrjpwYmeTL2IAEPI8camr84ixDR/KIvWW6LW1UoIwYu5JGZck02o8OCsQ7P2kjFYHOr9NYIeO/PvDJYCdMMQOpfF6HKAzOGfs8st3a8hBDiX0888p31GULnw1xUvqt4flbjYhR4g/v4z82TYvfyUNARv8YxplUSq3Eu12OSO0qcDgW55Qc904zZqAIyfLsQqc6q7ik01T6k2ikNcofvUFlB3oljx9yk0sjwmWDSne92dRoSYOBM9ZEeBkm6TEIMZAOuik3n+BFmMfC8YLo9MbwLurPYYuDOP85zfF4Vo0mQSSM/Jr5pl4sC/ZhR3s54ysusJHL7jOVfQXyoeYErnqs0w3Egj8zaNIdMJGtWH5Z5HK3ZN8/GNITUjvH7A1nT21/Zx8OWTY/VD1t4gNk8aMBRfzhLA9i/+f63cbgASujPnfm6gAjhtDnl/ge6gBsvCG+QYy2novbDlNUiOpXab+KhMRIgRcAMbJeBDYV4qORAqy4wF3fZaKctO0kXA98z5b8DR084+5c8qE337SI/YkNMaaDSAfgI3i2YciO3NHJ1YYqBt+qlE4QY/+ycWCLLoT4gkO7h7hCLuUlA2VxHWfS02bZiuZjoO0DasteMUXUUtcM0h6+6OclZIUSdLFXYytRYm8zzqjUdUGdy+d/H1XmHCi93JHaUVu0ZhVTNuJBDCx059jPkXqNjiO5RKYRPVqbYJvAerhJ0o7UaiB5YHxO4kX7foR8+Cnzyyo1nVupp9EZSdHkW+p5PpWoZ9SI+ra3dV5Q5gLO+iDmT2IJ98jFDkHecFSt9HsUrG3chaPfgQE4lfldqk/xO5N5vn15/IwrtD6pu8OqtkESqlpb1rTPDq2u5BlvgSraj3V6uq1qtT8Zg8e9l21xCVM89LRgDehYSR1pZWOyOrcmeqrM7EmonFM0qR0VPwYnLnJzhdAR2Y+cpj6ZSg3QnVvPsJm5e3Se1rryFJuzzu3cXmsgDQczCNw4I9AekPSVfb3Ff6hRz0JqQ6gyEaJcPowHia9nbD+6FxKqbmrRaGneghz0x993/7SVmdZYF+VEajNJe5EOF0bR3kS6j+9HqSIpwdgBwPBklccryQL9MNj2pCeHoUiavSqtwfQhzwswgmK76LM4PvJIjaSzW2Za+87jblnnDnxygiTCZCNNZdRiOHQ6cE1SViRSkAAdkYNk066uar664W6WJBysP5kO0lfnpSEo8X/Pt5epz976WzvxXGaTsq3lkfiTb+Z3ain50bnc338t6xsB5RYouGuRkXknvia67EijmVhi55bXKdaV5jfIwsXKbRfax0e345o6ODjvOEDbghm7RvRyoLYVb/kfUf84RIM6IKRJREeENTz+NCAkn5JkVKbZp9FU05TPT9r8hRlkCLIFeq0yYUjX/dTaXRe+XAAX/A2lMtNVHEuZtZfHGCIgOELOgu9VOaKRaiPMFp1mR37IuOjuWLw+3GTg6u6CgoBMMApCnWEpUTrIU4PIkv0biAPAUwOOsG9Vh9dF9yNSG4Xuie90K7RvsQx4WOjAz7ReuhDphyXG5gY/2CY49wjO0c/D0flarl0U3LAUUSnZmqcEwRTYHdjPJMeB49zOE68ftw0Apoh8XrupMhdYTt98Xk/n9gnzEFxWFcIg81DOsw59B6czskN3zuvqYVQa2eVUYp8M+1QZuW6xWAo6rTYmQUGcVVvhTriYw9GE9bhXockGc/aE8OteZwFo4beZ0HxTWJpFbTsV6tEi2Mv2F31y1y6C1S5M8VTP6sjJ4EaGEWhDYvdLQgmHv7fSHw/8JBTnNQws05osvNPk8EsBAXYEfK0uyBqFYyps+UTCGhJXpG6xxpwCwonQo25ItJAxg0I39NWSYEYdPn6jpKnxio5SQZgBaqrGnjnQ2Y7NocPUJmrKtgp0ndCgGUkaQxSiMGWSo2cJwDKnfg/FdYAk3Y5oEm8xAiLmMEZTwJgRw7Bol6EAc1L2fAWPRfBbBkP62zMRbtZmnqAFmOyFhq3yNw+/kmtgocnFMkPUhx/81VP4dEJao/TjQhJoyclcWVkxqs8Lw0nPH1r6IbR545H8Tr33iH8h0B3kpXllu/p848t5IK62SbDWSveazjAIXgKEjUZnRVJlAO2Y66JbD50C17pT25s4s9kK/XfpPOimZhMzWeXKNwXDJfxdljW1uC2GbisOEpxxoLh0mUZr/r/VfRkN6UEQhKTlLmMp47mLyDa3Q62ulHdBkDWkOEzbmpQ9oVAHBLbp9aap9tU5rdHzDrtNYjABYWATbuw6TJeRMxBLkMVeksYqq7ELf7sYZLjPRjoLgpP0oMn/tEq6kYCYih4Al4etZ8U5lbqw3dgieEV2hLu7WCVReWke774iHSWfBK98vfzcb7pcTe1zxQ2kjYd4lCAoqvvbEtSrMB2f7WQZGAbNEfzPbMLaxo5+RVGAY22qS3V9mHhZh2ZXkJ7Fa36/y1oNmwOa2msIdRd9msRzCZdsws27sJsRLf5e20hZvgvdJmmLSDltCQQkPOrkK/bL+3iF7cByWu1DuR1XEfqiNSDLF+xgxmmDQbn5mybGDALLnAnxb4x5SUggwn2JlwAohUkPBako3jj7whxkUTI6Cf7X1j1YXgXMF9Y28z7CZh46dKix3ZUWWYG0DRmI+OvfCFJFAOYogCpzZr6STNpfwEppuDg6pUlZBVcPsMTgefqkCQ5VwPIEjYaJwHl9dwbEKhYu1QKv+KJrWDgO1aam88GETMIXcC3BQ9iOMfQeNkUia+jWoC95aTJnzJBrrjIfOJf6Ax2kxpbAiyXi2pMOTpFUVSoL19ZLa6lb9F6msW9TnN0LWMHlSDqnCp8x8JqCN9FcawWFAIzswr8P3pd+uqPKCEh5T3yGSf+KluBtnEoaptMquhPpbIFsUgbvmfngbCLalQFbbeiMlARcAUvOtAblr+oMzysYHCs/3LZw1mrnf1lMLGR35lgnamX1+kLoxknYZzzr+s0lNpsseqhxuasLhVIRNwhfInDoWMrux3iN2IORzrCs6gQoAJeRtElk3w1iXAow4lvlUvRmqPtvQpV3fqtdBdRPCYB4y10i9V1AI+dUokF+GyBTLPl/0r5Xa4vAPe4SXOTUwLS+MvTRScL3VU2VPue/Oh7G5anhgA7jrd6Et9fAkAMRNHS8AAHv+zMj1WnghUYBUe9jOS7M4XYHCO8QP0kb0IzohPOudQU6vznK6y2Zz9QwasrlvcK8+pj7pQDK/PsDVE52NyOiGQZqIcR5O+59TZOJuOhIUCLYqQv/Clu2y2vrtS9NHIqj32pebvtu22/Jtc5BkXGdTahCh/fDajccACWVz/cordetR0FV0fVg76u0eLd7kY89DTZBhC7mrLqhzO/3sU9IqOPY5opnxAhRh/lugpMzHdrFSiC/42D5LNlj10Mk8Ecus/PN+9Ejqw4XEcjF9Vwmi48npnzbBDnqxOjBAzquRPy3jtE/hk44rIV/0Q1Edt6zqSbPAkxBpkFF6AfbH/ZUfjIEZh+IHrJ1v5YOqdiOpPMmzowv1JB5tqJqpmEeVulDDA7vU3Ylq1mpkBWoXLUd+iz+4/BlpUAVcJqPYBd10ty7ZH0o95jvjf939WBS6v05K6bMi6dYunkN5NOlbuuECV2/5zDizXcOLbocsg1V8EJtRK2C3jkz/wUf6NtVQummWdTefjhQAmlp++ZlXoGOJHd5WsGdGtErWKII740MSuWWFa3SCpdwGR/UA6HXLjlzSgaQ87ZOMURA3L9qQjoMQ8M0PmhcVCEAYSp/1vcx086a5emX3u4V7Fjhe6z8Uq4mApTY00jmMKxdDy32yY5Fug+Kx8lhBXstA+jwt7tcxFULHLX1uen2372FIU6xGmFjbFwRRrlz6azEnLZgZReSTkEJGhka0y99Q2ksrE+ol610YXzl2eXoBKPpypic2BaiqSuK3CR34ZP67epgKkWYCuBlJeLOp1LleJXU8zUUmQpUtYS+P7WEgyxK7bWVyjQ3/Tfip2fRiDlj2RCqoWgegHJUHmUaJI1wNNrYTpz77CqcELkKKL4/EWi/KvED7uvlXtgCbP2+n/e6GSf6ERIqqiQ3SG2belYv4/ITEwjOUIvYfPQKroj5yLdoU2Yb6yohsd5rRRNu7qZdaF7sznd02/LlmMeqNKnbj61UngbNXPdtiLXVwA/yiFEo8fEKRYBZUjUKHO2MFE8j1kN6SZhdg34OJlP6S6FxwPoKSJx+XGlFa/S2rMuZZ7ajjZQuqJFj/jRvpY4nCoX1b2a4sGhwNdkD9sVQ1YiyYy5l2xNREmXdH1AzYwhEwEJ2q3TmkGFzZimUc+jKRNmgcQ0kI2itNnr5tAZY5oz5Qh8q4p5w7i5kHGKdTJQ7l9fqKqiCl7oqVHBK3M+eokRv4BWfuBn6P9vsibwJVJJGa4CV0gsG/jmEKpI5pd+EMy8TfMoxmvOGRSy9KR9rH4tajGYBgGt+yxfssEPXSTA7MxBVDDMkGT0lQn8wawdNU3/IOCOp6ykWiEQhRJkzbqMx6De2LHdq1Q8YYEPKJB+flRhsV153yQA5ZA/DdJsCIik3RX5rfCdc6Svn1dvDWXBMRwGbJv71eNajLhLDS68u78BoJFDwe8/4eMQNJjyhwiD8sVOW/TvVFBiRroYUD3i2Xug8UaI6UDXKppXREt6Jwi4kb/G+Mp6E47Ta9iWyYYVjDm+tZV+n7rtEsiH3qicrc0sZtGt+/ZAtrsp0nqRwPrc/GZU7AYx23wDYGu3AuPZj4a3hqVHLfUiBI7kEcHTjkqRpRET6uQiZX88GzWqBLtPXyu1KWnKgZJ5hmJ6GMeOo9zB3o4IKeXIYk0bUNAtokCDw+JL1fTgpkEGg+ASbny2/s1EPZ7VKIlPmcisrUnIgAdjoG53e6bcIIPNLMpD1fQTBt9irpRAzfDXmSxYr7sEwK8aUeAcNybta1ce/tw4YPmdgfL8/VfGenx/h85zgG1aos0qy2VvY5dXjeSV5aQPNF6jZ1L2zwqpmJGlrVsKqnVgXtahpgN9x9NKyPuHU6l66qtCP/iHpdXd3glmm4kgPTN5YU2WWBOFRN4kuWocQs+xRJZIR0ncqiitmqLsWoNwTWf95ezZuvPGQDdVoH8U4Ti+zEx9AfXfVhKyhWbnqrykjJL6uORZ/1X/H0Hsf8RS70WbYZX7OnhEmH0NQrs7YBaWOJRpN3c4eDbITgy5Fk3a3NrfhFHTL/SZycptHStKhKowQyODTOLBuF7NQ3bF+GE3x8Oz7LOC7VD5c4Qi/Xdlei9teTfWGvLoDJZycCzTwsWWqY16f7+VH6BR67O6tNU9ie/EFtFc6EGi6layBuz2vxYpeuVpos/UVYZxz7MXeTRAX0n16sq3r0cOJCojrY2O/OmvXXqDJ8gmDBVXHceI/ccstuflb/J3XRwxRwXpxrqygcAdj/fQqwNbN8QyHKHP5f9kTfruCo8Pz0fPfVYBmymvDQqPshA7DyXNjAMUm2SQoCWpD8tE9KkvyKuaGFM3lxLejv/+lorAl2X7h5u751wGHr62fi2LJaVn6QKjTJB0KQw9SyACop0NMihkNSL/uaVz2rJyg3wl+0AhVNlfTM6E4/9WGn1/GsoI1lq6ZeWp2VrT4Ns5CfpeWHQ9IgGWhIlhlBamN38iWaCg4+MP0xcnmEITL2rvqTS2uQBvXFLg7hHgm9UGMSxEBDazGTMM96HwB7Bz/UOxZRIP5KuWEEMnKBDut0FXbLJwzocxnRR1p9R9UWfv7lMdszrbH/Y5CC5zNX2wEaR95p9kOGkNW5hzHoXB/Zy+TG1pX60ORFbOzu3Zypx74KXvfnff3s7D0I/rhdFKAZ+0gaEVqvIv+XTNv7rPjews3JazkgizRbqBqCD3MC0RDQBnM6oidoTDqC7zLyoV4mSFEKoYlVZBApWk02vsc1YGsqo7Tej6PYyiigHSivdFfVMyGewthehLbZ9MRoGfrrROdLq9VrS1tYMcVxdXnoB4J4/h+eq6xnFrSBEvnEiLyG0MI59G6wsyNUgVBCueRzMiHDE/951StwCQZ3gl6I+AgBL5vSfJJoLQoO0+DkWx70Z7J4Vkea1+Bd+yxORxHKjVZITNspzrp0lKVS4dK75iZUitIlG5NfCe6CiCn8PSQFpnqNZR09t09WqPrxsvo046Wukvxmqm8r+Iz+f2aCAdBzVqzqbdAtuV8myXOHiz9eiy13TX31TO7wL1o6ySZb7+WQ/UxvG6stOzZ5HaKNPfXGH/kcUMOpcGmyO79DTUUCvWhGZecrDJg3CPDwntcg6ZeTwoyq58HXN5pqa9/NaWF58Lw4WLyOIht3rh7A2D0Nz7c6+nNz+dPVyRXQgvivZ0fibMGyEYi9ezUUTPZ7FeE12xvJockN+9YOuB9sjXGzvc+a73JNLqLqrawbk/4G6ptV5HmVNuEdmftOiTCNIc+P6chLdmVB08BeZ7bw2bkAe29K6GvMgrD0QcZ6TentbP1/IJBHTZ8XNwMGfaVB1srw8Lle9T/+6NT1K/I95H8APzFGdVMUprLJ1YBkccpHWMk88KrNsBJteJr4cZlFwGF147R5ZfwLRTOq31Bp6GncFADnGkVPPvf7iuaxjSnaoLfRlszH8nU56V/e5rczT1+lkU8J5T8stfZchSvHR5PuTc/SQ66WxCA7iYTu/fNi3PyESH8gR2qdqOWSi87meOyvM/JtEqo5idPbjAWJHCwkyvlWklED0iIhuixh+CA9IbkysMBDsGgdL01CTBKtznupBGvdIFWT+67ofVI1PVshiw4wafySHnL+Fd4U9Oosekzyim+fD1DH3DVY3YPFiL9AEC6AiiGnN4rJ+bP9IxbKoElgdqqT0+Mf3wbL+1bBB5KzBUq1SH62nn/V0EmoQT2lz+aVJpFLMTEIW6DXebgNnwAqnylXuHmkR35GY1Nw5lVIuPhHYEqFVO0fkeSYn8wFbSxMm7u00sMJX6XtnivPLOteKWmSP0ePSY+nrVoFEFzHHe9S14WexHCX9fay5NxEuZL88lvdbQ1TCqXrQd3MINyaxGrjXcD8SCDUwfUJZTI3q+KiwfCAS7rvi9lg+q/JvISLgTneu4RfBrgKpafZfmeskvz2c1ygPvN1tGT4h5yiHUnl7JNmuvFq21KTZqRtwx8ZXdZp199OPL76Ht13fxL+zOmJEH95jUFjTEh8n18kvgaFFjysL2Is0pgi3DwKHMQ1mNV+2HFIt9j88g6PDyqVBk37+WAq8srV40k2UtuAtCnpRFLGJe6L183FVTReYhLWB02I8KA5pPkm933nhYPCkmE9H1oCck4UkvHQu9qq8MPhknRu6NtUn2LhoTxwYdmvSOvcnu5iIRQPVDjh6JjxTeCAsMtQETUvlhrWd9TDmuaL78tLiZIWinrGLJECMJyBlE7b+9f1Y4UfV1fM3nzefhuD457QRBHMq2kkgPXpGa0YL+vTNlp1oaaROl0tVvyTjBnIt03+gR3At4+OaGUtLq1MKJBSHvKUu27+CBTggoUDUiceQSILxKBlqsL88/f2OTas+W02H0uhxpBtMa7ceYCjTl0/0jJS4yFUZa/gmKuE7gLjBjjXlZed/+eqMN+h9yYxLGWEK5zxYf4mwn8QPF7EkooSxJacdSVEPZpSG9S5sJME5qbN7cvBvJig39sOXfN9JTjacUwiuvkUIuFFxfflmqZoc8IuMUTaVjcgKu0VjlnXJhiM0aypbj14emWm93Qxa8cPGj2Kd4Y7pIzIHSeeHYtg34hwzXe9Yl459q3g3lYn1SAscQcme3l14s/WEJtZ28l84JgYmBnyLirBLSSwPS9+dHEN+DzCPlA7tbRhfFHGbqEYpcREYA/cf/m+sSYUEMstjoeuWXLyl1t83xrTXFw9p1TM7dQemkJOOtwZ4Ysego3Og9TFgyE8Ph6Mu+osnVF0QEURnTY57VK6OD2Q+MkiDwpi1QUQ7uQqi4p4QvAQIHvuB1S5WWvbFVyI8gPfp0wrB2X7igm72snaESGsnKI82qRyK2ZWMxsjhwDmgX4NADbEhFhnFyw+Bd5isA+bJ0IlRb4KoZy0fLjGlaSmSBSpA8GFPmniQA0JxzuQIXKeqtSdXNOtjteeX1Kbmoa2sMXXPHg6AjGILSwQpExkXh+Ed3lDg83gFvG8Wf8S55kSEkj4mjBVbrkeUwY5eDWE/NiIcWDBOkpBI08nSVjLD5HX1FZBNqrRfNuaXrnDlLyMWXQcOjaIFUCi5m0uX3F7ufcm/DBqYy1cRbNmGzrq891uCVn6wVXNaNP/Dj/wmHbad9MeCjJzIit3FSvjAHXGT6GejrNZ/gUBdmVrFCA+JMfvH6Qof5KJSB8GPCB7B1syNJFr36HQ7sE+um7oG2sj9H8/oJTKTnTlpUGFwUKlZqIqAg2Jax2aKRbZQpRPAncpsJ5/0jIOUqeyrPW8C2LE+VyjegdPS0MJVqXc7Oo48+nOygLHi0SQWYSpypvB1+SiDtiMPIlE3KMHhULnHM/DhoU81qg8uqew2DsrH7rU3aVAW/Vzr5TgvGwVBVpVyHWGFXQ+0MPoLD+5+xVpIy4bUIzp8fAhBaIptkw/nKuiKGr7ge3QAK3/i0HWe1s2f+nh7CVJigL72jeJbuCGbPbsc4pdXqVwnO8JrrBpP2QM+5x9Jp7zYhl7azo8MPqX8uYPX+Si8GWqYmmlJ9CpUX604Fdx9BVxbs+YGO+9uTcKB0Pvx7YOP2wwe80+rCxDM3Dn0mHrgWhTbdWtn/aE0mbbUjvGRLSi7/FjoZYIzaVCT8gG7lptqFIVy4OfHrbfC9n7i8I7ZoNvY8wsI00nAba83D5b0G87aPyyyDFjS0dbeRAGYzAvfoL+W5fjoQF9LJc9pMI0U+nAcGTa2QX9Xj6CEkLHSg5yo1+peJPutU777SZnXvZ5tnTDJ/msS+9sucz+qC/2HU7j9nE4IoOWFghlPZyzNdfGyr8zZMmLD1cfbJ8frMZIwvv4e8pGgHRIjAf0bSNEu5hwaHZPNA+OAyv6oaV8TXAzZ+sFA0i1jbBQy4/b7ceKvD8RAQF4eepLp7oEW8oYFI7+XK7b20qIIiwWGkj6z7BkwhTGgUFxw8EMswLV6OimBn5Qm9tKlaLOC3i8lCaedoTjYuwlRZ2n9Q7w0y1CzuiyBuHNWTf9uCsRAsSl+QR/3aay9CT+9zxbhnvmrZBnJSREHiL2qwN0JkdNFNNzuFEvxR3QbMi62YlNMN8p1M2/0UYswkD1jpXihmACojbvxn5xm6woUCqxhrIiYvFuWI16Yci+gNYnQar78kQfUeuYqY4ecKHrFst8YvWHlq/T+1Qd1AfdfpTmUrSh3H90tlR7pFTyqSXwJNJZeBbXeiALGh5PSCdCvDQ27V3T3TA2rGtYOGV1/tfoObowgtAlor97YUVsRN13eZNmoNmPgKlayDR9rjNDZnCEcfH45IhdNE/QW73/Z5+d3ctQ8i0/HBwy/eiJBfjhLT4F5cR6vAQUS/ho7i3fmCnIuBUM2N8tfE/NmmDODJBhdn7uSnATy6BFx9QQpLLNS8PGhZuVl/Anwgv6LL3jHusV+8e5Q+9zi0odmthoN5hgBDcMg2/5zC1u1GCDybXH6yEmf1bBxFwWe1/bNIGRcQvcjWqS5HyWozQ0cnZRn2eQ6kREjtPLeU9X6ERPX1ANw5B4YYtSKlJ0a1RpCU1UMgc5iuKRgmPdANDfrhpSGqyu3/lxlCKhTossshjSdO+PNQjE49ZG4bKklfcj63s24oUlGWySGDgMGoJQe9mPYCd3b1iYjmV4wwvbQ0PWNsKdS7KS+l+BkhzzJ/mMNugDwOLmcnWov38c1qNQmaKnXpjPUC6kDedRC5aMPwNSSd3cEcWMixBy3EP1MJCEeaosB/DqYVc8kFNavZ+woVrNwP5U488a1fk5p51eA23feDPNMAW/imMpdDs24yxWVC9iXbvmvTeKH6dRDeEmx9Go3m47+UkhWNOcAAfGY/0LdZI8G6WMxxt3BwrSo2Sh1bzivtu7NozWuFYOXFkXhUl76kiY1D+YDL/5c8R7mqpZWWmTYnEvgbXE5AGQOK2QMJAyKkM3a21HwO1MA6OvOPGbgpDINUaJJrTEirMZYsjyHhFWzX7pmlPFg2VYrXZYWl/lf3umB9/XjBe5Xd/V6aBTkZ/1Thvr4mF7lzNkwcGVIDXR9M+Wmg0Pt6KSzu6uyEMYHQDUXdJItfM1vyA/VDyt6t8p0wGe8jDjQtGiwHmUMK1ajJIdZV1xWYOlaOJ4gjsfiQBgZqMgEJwo/padUYGWp0A7VaA98TrvSJSUuIVq1oSAJDct0aUqdFc+lXMKmM1i52Dn6w2O81IIJ01F4q1gAdY4V13VhS1w5zXcUubZ1z4BWXcOyWY9lxlR5pYqV7BrU4xqGB1uyP+Yei7ZsLlLXj1OZ4NNCZ9P95KsmUc4pk+gK+NjdupM9Z8jj2M90L5QefftLFy1kk2kT2HslpIO5ZTOYTP1rjxXh0wcJ8JEwQzWMVWPBVe0Zmc0wTvmUjHl93TfVt9OK1oPME58jsuZJ8IdGH8Jr02rTkCAen89pgbkfDeTPbwisd+tC7nmGZ5RGRFkTHNpORdoFRSPB3ItL31SK9rmbzXJtpSVJwG/WVZSTJ2/RmUSgQU404JHKNrR8hmb/BOkrBnrCyGHCi4q1IppYWUcodyjKjlu7oDQw03esfiUNX87KTH71RC15K2Ngg+saZJv8soWqFHiXzIdMoIXpgFrIbhPLaF8iDnvhyVp4NjJLUDTucpvVjIKUeWK6/HOqC9kPfPnbdZC12G76wv9pbMXXTEZ2bBm16ijJWwhF4JdKKon0iG+WswCUvWyU1dGlz+Rbc8LCyGEu91LHrG9dxepb7GtZToip0DYb3LjrMh03buuMfi+0r3L1XS882jyzSaG/7ubKE/WUudpZedmThKhCbq8U6rIdv4wqty/ojjydrej64bhm6N2qdWjZCoPo4XiirqaaLsdLGLSSHarldt1tYLe+tM3/WL13Z5QH+u8luOnxph4i8kT5J0jGqyEZtH0BQBFHKKZsZbtDzg/1n/ncAYqDkqcbPYhfQhpzI7ewcpRVIv8OfmsxcW2UAiZubke2NGRf3Vaic0p3nCkBEQs9L2rwH5ANofKenlqyGGqGumEQDdg9Mx/HFw59z6OfxM6xCkecCN+I3Dr/r+leqHbdP+n14zdf6i5HkQzdwrZE0wm33SgF4VakmdloU1BsCOe7gvv0TizZPhCrSyju8OVD+LiLThzOodYvWUnviYADFby5OMV1O604LNjf6REUz/jS9fbuIQSS8NRHf4IhCIQzn8RLTKV/OCnEHiIgp4JVsapH/StFWyszaiPet212Yeu2IIBC3FhPSSvYTYpky+CGWF1Exa3gaCwZe5nQiSc9DLpHAYmVVSMF5rUaphe1uptoXJWBI5owsZIPgKcDaiVS7ot57DfeeP4Xsdajyae5W+LRR1fPNSKKRmChO0S9heHi50RXXQ2CklJRk5bnSVY/BkB/2uRt8wtBy+J5ogGPYlPe+v+dbZV6eaVxrrKD9NFMNnEnR3o1dWkbl7O0qTx9qD8zdBideMnSFjXrgmF7QVsNAOPQuGcgpE+MX2uLor43V3Jd5krQ7N8LWog3wwTMTJR0q7itYU5VB0lmu2C3+4xrKHFCHchqMtthLSfFQAi7CiD6KpoTUCq8u7mY5XjXutwBBWlNZ5dkrY2NsoyHMVxLt0RH496WAP3EhS1ukkJD43UwWAUwSfiul4J5bC8HLGbBAtcZDY7T30/02mtgJRlKKDBt2fKmgaXUyLt+ARyeq/fsaZ/74SE+GE+qiqY9nbejKdLf9TO2KCzswCWA0avMEfS40OTZdizdK5yacCMsk8vqY4D1YRUj3sGaUsS0vLpsFjJG7MSYrNGWYqNBOygh83azjzjO1BbqVEH3QvhiMClRQfro1fJejmwkPBFUYLZ2PfJ2hKBfSdLzXN5sFi8RvQ0Vh62YkvIWuAMyGh7GpdZzfC3xTd5QSPneq0Jk4ELt6E+BnxmQyeTZZsvqvU9f9gEG4bpXADiEi5F6g/xdqDEzrBa2ta84AdrDy8Ua5FKrJuYW6+/CVdnQvg+88IqLti7ZrT7s5Kd/SzM/pt8syPoBYVqRuCzYSKB/PER6VbOrSE9FH2k+1n4I+g99JXfk9Y3AuimaOJiEiwYi+Kk7jX89melYBg+tzmzqj/AUpavd9r/cU/VjdRAEHEVmeEUKRq5D0nnqqjxBx2TTQyAk2cxPlGtU5C708A63wegs9veeABiAAg0zaEMGGiXGhesl/4hM9Jdn0wjZtAlt/LquTsaxdW7HemCsjZT41WfaPaV/sjCEQrgdP9gDUdm2KBR3waE6ZW8dg50T2u92s1fsXXRfHft4g43CrtOOo5mnm1thfK1IwAcomoOcajo3s5qYi9P3Se+FNo832f2ZkyRzM+ehPCIYlfThWzB05u4XTuYuRIhwe8mZ9/VB62AHYycMiPNi1M9P2yuek6kU8CTSvkVaDaV1K/47QNPj4GKdeRraEVJZyqKw9/fw9F6n2uKb9udqHS0Umc1wh/B8hDAXYcYu4ZLVxKUxT1WK1YZloBE4fNa90qwpmsaeJvMQmcoDrgsN1H3E/inez0phhXBcHgbMHK1ZD+mNr3ZNj5PvJC6ya446m58bXwgWRjJHzmT4NjxgZUfgPExT/mY7FfBy4XQJd6xfIEVW3eNlPhaSGzfBF9O/0D7kWBvjHP8Bo0pAaLJ2+MGPkL3s5+VivF/a+WaO5Bvm7y5Zb+NlOXOunousHRJA+16iRwItfnIIzSxr+FIbTs6XYdnHemtjA38A4VsCErUklF75mUb6kPysQgdMceoSMjxUoXB4oyi/7CKfdIECtRCkUkVcpF9g8wNXyJBX8kyY3ZJasoCOl2j3u+lNrLJRu/I0s7IzeibYHVv6UE826o3w49OeXtnKjz+v1RVwnS+OWPxHtuSVBsZTBYNSKPz75zRdgjXuTDx2RKDb5+IBlSW4bV9au+dtR6HQoFUbY4VcuytYvQX0ZIpLS0sDcaExy/0x666+zzRFdfyY1nuvoIWrQaeoUvzLYOJ1AhUtKbOLF8xY8GrggOPjPjvdePOhZBxVXOTBTomHgJXTsSbVXriqKRy84DD7zNLIWO/0SVrYGleE1QPmo7NZuNqhqQV8tcdnT77239zsv06Ja2I8l7Zp174tsl0hEUxVU0HL5MIFeXTAOr68gShXX5TbQ8s5jGRWzoOGPb6ZDINP2UGBPHPucth6ZTNaT/iI5Il9R5PUyzfpocJGntGmV1c2kJ9VBIFB0EHgKK9MZ/+zH46dtSrEhFXFpsg2Lyv+Ij/lpPc4enku/UgIkT+KJFbWubxOuIfxec/qnnlCL8WYp4lHkGxfEAE6Mls+/BoMI9aTuXFjejwc5pqz+gC7ua0uQVo8W2leHIJavHxZ5gVcuAKELwrKnDxDmIvmWd4FwHcJXGuz22HEkkh6swQx5cTNvmC6z63Ds/RsWW6G5IYgN/tTtJzj6xVuAzWDL+cVLeBUbzQT+fQoHP2YSqwZnppI5L/s/zPdiMTRlXEHoK2mDYup7SRSrT09Sk21qU6ME8DbGgI5zPOSNV4srHosXQAt5rsB6wnTa5Pe9ZNPHCwX4c892fnur6NSuMGrMe/81x0j9Pijr6gC+XLwEN73mgoJxLIqVwPzrSdyTrmGuCmdAc4KmPnQuE3GwqbOQDNXdi23KyM9ApVZ4eFy7Y4U6B8ibL1+XPBRIXTykaSy/ncOMhwuyurC5yuyHWkrUB53N94IQCDeW75ypXKz26x/9aDpKcUuFV1FezmyI8dYlMfbIo2rDhMkVLLutqDutwoqJjNgeEIN8oUCApHsMPjXBjyJUQguicaOREqWrugM2bvmLN3nrOmB0bil5L0ea9RT2nqPhmWj8BywuhcbkYxCV/YHvgmrwgYgMl7T9I/V40l4DROXIeEEoW7x7WDTGjeihYK1WS1SQ52UFQWvtq5/dowrNs87M49+L1mfdGBSc/UpA4s74cZ3Ig7TieR01w8BeKBLyPjqLaw8kierPnFihdAGlYn2B6yeypd6dpr+cEOW5uOCO96jsTHjSyJlY4DCJhPvecvd4fVQsvKlgh224xB5idULui/cfam+W5ULNwJmLs2W4iDY0uIAPkV0aB92IrOmBUUVG6Xze8s9BvxAgOocd2V9q5XOEu3gAUfplDm7KY62hDV0/mRaWzuTX36ppJ99tOllN+FGVOPht4An46uUQx4WLlboTcrJ3NX1j164stkVs+lDSem2OJYNBPFgf+n2do0sSNQ56eQ6Hc7UIjfMAAOcAVkplqCdM+JlLMwQQo5GGoZVVXl6SEzaLt2hr9ERDGVZL1XZyw4Xd2JVqeDwB5WIMQzlKmQn4pTYvjIVWgGkhC9fKe7KRAjFjDT8oS25j6PUwUhC8s7c03ZuLEfPM83X4RBTq3aFi3U8GxLRtifa+eJekVuR6zzK6x/vuP8YWflXarkBGTF4i+Nq1EdOO55gHtGIIkCpNj5pJzKw/6pEYN4zxs5/O9zcEDCEYm7j/UpWl0zH7sIeisqOizWVmEPXXF3U+Vpny4oGk197f2QC0erGlfNDSS30/38aF1FCge6t73CClT8kjRLngsjyYihX/kEyqkl9a6Q645alzM/O6Inc1Lh7sjFzWnvXkD6vaOpbuDQ781OOC6cqgEb1aWhZpk4L9ZHvw67NWowIsK7PfR92AdPKSmUYox8iyIMnzaDy0LBgq7z408M8iKCZytDBQvglAu69yWOjFUY8zwYKJYX+LgGZ55rokGhB04MfR29+NgS0WD4DInXYx9FvvWtCyCmUHQN6gxj72uWKJJTniu9UHK+dKKZ8fX4+DleGRwL6czNf3dzTbBA0P7fsqjZcLhKds9X9fsKW04FNSlphJhPTn9au/sOvLnxA1V9H+OqVPx0lShiNgnRK48x3KhMwNb9GH2MY63W4ZDD8/Y3LeMpK94PluPHzFzlzpspx7/J5BLclkdRyyxty3RdQpwuJoeWYJgO1Nf2Qp12jnljlxcRoFA1AdPgAR9/XVZfEdQqaigzFkO7cQbc4GegamJhXghI4Rb3/Cz06qkfxW73qVv1pDVBefGNkVp9omLOpj/wj/9OZ7zG24BSy48eBU670Oc1syszkAzDdxh1DVTfgTtorMMQeoZPaS5Af+V4htk4FVAgB5bHtjarWqK4wkXnOu4I5XJrzXiC1zue3JCC0wLWx8VUdJFEWm5gibcxwm3acEUjAan7VV2B8+fefV/jd090wWAXTsfTLSgihM4rcEHAc2ZzrKbxQG53KbHrZincSjaCGoB+Wiecct94b7WaXhcbHB2rc85m/0t5+yUo63Am9zgUTdsRhryt5a4a7xa9HWlCTyPtJQZjmwLkwqsS6N3rn4bxnAAL2uxu0g1c2kWqsH8uK4BGvCv3LUGwRviKlrABX3ayl8BaK/I55FeRccLOzbatEdtIDGnHsdugzz0GxG2oVMeddOXEwMt9tGbcqeNRIHW0CJPZHPway9wWjQt0LxpyCI0J8wPvs1cRLOnwG8//Tx2i3BrV2VNdb5drV6mRmrz9qLvQSfc+ncoKvpDW3OyZ7AzpDJPqi3OJjPVNhhx11JDjfTiCYj25gizg/enGObMg042V1///pCbGCSfQ5MhormB8Jb9QUbFr3HgdffgRctEYRvJDSl2LaRiZwh62IKGgjDIddBU928Enck/kQsks6RX0UuFreOmLahmErLj8i4p6gjrxrjr8wRCbEsfGemzlmz1uIiT7JR7wPM8FBApu2HnkcbEoANHBYcpYj4v4utL1dbyLnvdC9cbsE88knsgwmF0WKMD/2NiMBKj33S/worMOOd2zsGosrvssAiXBAhl0OX42aUygT6O4tsfV/mpzSJj1zyesoILPTpGprf5UvKHtESXXQGe6i2PysuJLtQF8l/NWZyXRuaSkHVbIKlYBcUB1lzLuyjpt+4tW6ZcgQ+O1WQZ4rK7eqeeDJTArsP538vAX8yiASFRtMNRKNmW5gw00ozSfnKQXeTB1i1VoBsY4/5/C/Iux39YfHKZJilBu1UTosB0GXNMX2ODikuxnaB28hAXGP6ScnxhdwuqLiGQtmjapNYFTzuW9rgGx3NKdUxlpDv9Xuy/oH9gdzYeWafsjYt+5ILDs51joOAmaP8LSNWKu6NcA695zMFHz1jZDbzkRyesGaoY+Sv8cOjG4d9nW1FNwpk3jp/DhwhA/CRXNqehsBbjuF7luTb+bWCEs3K1pVZ5mIHp3Yhms4dZ9PikLPs0YVYP6uN4yVgi6Whs2EmNK1FTm5ghonnkXCEZjLuhPjbl0R0jC3DRzH3FO3ahF+5IB6FHuyjNS8gSl5zU2gouXUtzG9FPFUOIhx4GQNt/IqnMbJ3aUXLZIIT0024ZZDR1vH3+EPM7Th1uLncRpzFtSA/s52EohrJO0EZfKMZacgAc4YjEcgzW7ErWzF0pciGhYmP5cbhzqJAdcDRmBUycLtxi6Y1lwBIjAlNlyBBv70RfAPx4UePgnWUw2nywBlApu7Awb1aSoGC38z25h6q1YlXY99Sba2pwI1gFzHNti+SxKILWoDx95uQ8Bv6Z2ibhnvItHNWBLPaSZJSnVCAuA2pvFs4mLXDeoMenDTiZsUDCuXV/2sEAeQmpijUs2UOgbvAf6C6EK+bX7WV15MaGe6XrzDoUxWGbkqEH1fgPHU2DNqruUazeK91pUp03SM75LpXcuDddGODMLBlg+/vu72DGbXzvjx35b7BLOM76Nq2kR+QUwji8INh8//zWD6Orex8rfy/VrVrWjIlVicjSkuxDm16dNv/+k18wBgC6LAHMdDHvPPVm7YCUFY59bf21P31QhiC5dt4mzg9OELD4TOjWIbE1/gA8pLj3e6H3Sas58u6X+v66McccDlMJBsPBI25iJPbtA4nIL9bQurE97wZ/npqFsCVk1cWCYBm4uQumyh2HwBYhBgKrRz0hg+E7pUk0ZhME9NRWVmzEvxzt1c0dvvIlBUGUV0XzHjUX5y0hwsaqXKIeEC55zvISrkAfRiqmI5MTLJ0xw563hfqayjeViHX+T2Hb9R+o4tWLeepA6AI8Go5CXk+pJ/U/Toi7cWcp5GVeAfgzuUYHYJBewidC2C8e0MCsjNIG16vH9fgZRvP4SeIrNrKkd36ftnEmK/tdJVsVVB9ENvzMmTooSLK4QgqROCWGeq/zqdPRtwZUta36FWIEFW0ASJJc8uVXneJSzVoRovkPjkEjFPyn5duTG1hzOF//Ar3LXfIfKc5E2b9ppNSXOIs/zqikwZf1Y5ycnnGVP+jExZmkHjaDuAnpelIVfeO6mIzcijWg48sDnrn9Iy82SHw2YPwZ3hMbjXhlG6NqzuFdhFcF6EKAXaJFF76y7v1xLrz6kwElawEb3bX9f42QcbtPKE1WYR37difomm/BTCCOSkIY1o+z8K+pMOLxwCS3iHD4XxlUC6h8Be2vG1wNbcaY1Ef49fb7GUmOlHclCB9BQWxn0HfsBHtFfZvSzwdfOJDHvp1dP4hOw5slRWnRCLdFpmiOMEfpIuI1P9wv2fGEfaU/pXKTqDR6MDwlk1c30KNUPHr9r9smEP73Eecw8/UVNSfKdvsX8SMSPrN9d2taZ9B0m6SomimAJ9v7bhUoI6Nc6BXqMCy/9t/BiLIrNTx2RGPDu+n4wxNnGFduHyHE8vl2PrXzkm+Y7kDldAGPutP8weAZ5E4VQyguhi0ez0orbfeVfMKzktX1YtWQ/dSr3tpKKTAXrbLE/fFWe0ScSDHGVNicGuXhc4H86y382K+aafr80KS5McMr1Fy7vm1mgzXEhPd7t/i5eRaxN9js9hf4thTHwSheUlfrKqrM8dp4vpMZVWwMPZtTMDA/xaTEzB6EWibrlf/WGEvemYLjJnHA2j59J1+My75H9y2nE91SI8JokqtXzg5bJv/vP7FU1WRvb8PwmizMQbJ1C5SeHszsLtUxz5LF7k7xJCuPT0sjR0G6pEM1iHCe1sX+ndkEFuGrZMKMNqZewSZp/ycqOHXv0R/51yDeMa8MuIQz8XicBAmkqs5YAAGpgmw/Ae7xd8hEOYvBV4JZjfhL+syzrjxokc5nF2broW9FWsZi8kCjL3Yxp3tQoe8ozBpRsZkkUQkwl3NVaHwvz9o0DUqTpaHoZXzJiS42foOV3gMK2Reac1K0EllmPLBPHbReesyjCiG9sWGnJ4GnIl20qWvPAmZCKy7Z4jezhqGw4lNw3MK4i36pTE3fNnDL1e+tN3Jb3gaWm8UEADwsEAwZcPzvMYKdAX2twHCc2q+4typ4a3clRSIxbKF0wovw+F2TNMW3Kt+mLx+SziwshIA+HbFg0GTFGJmckSga0MQKZqpxcHn7FQyXMPdxswFFtEmhYiW+2vLBlw59cHKnIM3bkvsbdhM5GWDdoHyfTvdDUDZT3MiZzOe3EGLDh77fQW1ylAdTH2vrueFOVOabCqY6OHNZ6/gpVuRt/q7IqWtU/wyQCMW4JOmTD3EHCaUha2pP/pliV4OjlUQpW3M3kTgNFTHBKVfJunK2FqhdW4SNvzkmvFA4QuHYYL8oOBGTJ4W8QDpU2Qb2yN5QqdBVWmSx7Qrvk9JRrZP43KP7cr03B/EO8fKQFT77q9BicdS/h8cnvg4dyd0ZKvQbC+jN+MfJRM9rUo8SQ3wt5i2pjPFCwAZv/Q35FOWqClS+Q/Roszyz3QrahAiTAlUQJDKvC6YDRSaZjPTGqCR9kvxscGvc7wIkKrjRrJL4Y68qL3i6SdkrP/yQiSU0ymbk4PaZUecn2/T4nVqbVtkbyR0za5pGKHYW6Sb7wOQadUOgWRft+1J0FdnIZusahecbePoS3i7OgmGdQxDQNtNwMXw4ZhiWNOrsDM8Llcdw/LU2XlkimDdnWZXIWZs2viiCMKTEDiKLQKRtdCbZNBFRzStsws57WbGVbPuYiG/hzQ5IiQz2BrsGAhPcHg2xTqpxwLEXzKlSEeM3T/JxGgkEaKCDHqSodmwD3lho5MeHj/Sn6idoImY1JWoFUCYhkgE1eX4OdrAzojjZSr/F7kRnKSxnFioan4BZ3+CFQfFLC/s63GkCSViWpX8rVwtIrh6pZsjBqxKQ41XPLkCvc3xxblL2Kq8fE6ZI6+Ui5SdVVrvKnN6JDMTnmj0DGpMovrhI639VG7TUzmMKLIFlgMoNuAlT7Bl5Aa8CEuuEgCG+Mmht1GDpZ3w9mjNxgvVukPzBcYCDtFB9cj3xNfJGu6GR/vWsvkNUASZ7qoZTLti2RjWlir1JsHMp6pHY1p7Lmifzn3IZNpzBhv6jXgbU3wUfrr28nW6MPyh0nmNPC0lefJlmqvopvJnfHc5fy2qypGV8ltD7vcGWc+sGsqDCDqzH+2uIZz3W2q4R3OBP4tansT0vzJZQBMokYWb3o2OfLb4/rb7bo73pNaGLh9Usk4Bq3pfIjXhJO0TEKjwGBFlzTw2g8ASiIQbZ1LIo9FFCoQ5t6JCaxnzVd0X14axK39EQen8Q1qCEe08wrYtASSgtvu+ZXVjJYTPRlicydDjRfPBs2z95xHMd+FI50I4whvMtN0mNHGpkui4F8AIMjUbYRyU/yBETuhHR71sj4HiSA4RyOLjDfWXkCQ1wEuDzlCqo1njQluY8kEemmgiilxDT3vWoTJWwq4l7+mB37Bqd2+V6sW/pPorNaC0zvdkUuAkVP3Zlt7WZwQSvAeEfbIa6Piyf6Vk5jQDgMHuVhMQP/LOIOyBIbfjjIG7Dk9vD5LAAmxe4ITv03SCy1VwRd2cp3NLARDsOK+i5s71pxtyZ0tQ1J9UOaxfsn6BZa/ZAyVBCwgndXwjfllVUdVT25ZvsnfpnCX+lCRNfa3lx79NYLG+i9P7yJ4Q78CZbyTmp/XbvXlf4ya2+gKJIGLgvyBKqEfXt58VkKLERaWvuWR7rY8rpZMNnE3cUEhsI6ufNfeekYT83KiH3mWrc8DNQehD8SWfTs1WbrlSA3h8o22k15q3sD6NQ3Qu+QG00lANA1k7oZ0nPWu5XGFkKNXwVarFp/y4qtOJYA9OwvM2NBqQyd/El/+nBCEdBYA5wqaVuRjNUuZcWyVJNkGFr1aMn7rcXtrIuVjhLl2K+j7sXvPr+Cn7y1//uCq+L0myvl6rfJOKTiNETkDVJICKMhm03YBjgbm8nIqJHU/40JyCX97lSlpxrtL/LOPeZ7JqYKR3gYd2XFWpwFb97nKdDtT5h+af233lc5NwCSvFPLdxL00syikRhK8z+VgrbxxsTUTvyeFQ3/4z/K/lMNpAgv5oEz0LUKb3pRInNxauKqjf28ztsCoFoBECHfECCnSBQh8F9DyUdGI/nbkFvSz/7IA0kA4SAs/Qn6ehLqFl87J67BFJmZoVB1TF0lNf/HesqRxXL4Vun/750Yq12mPM/Cq4nb2UsgQ7u08v04ax59bKBecRYTa5IGw2hh349TfSD6Xdoaw7fd1I5uLHEkc6sQfwhOh/yw1gQyGn3SVncfOlGQkfEFUa0KDBQEtm7salfBmj0QyUM2O3XKDpiXffnYxWplOoeJ5hq8BQYhnqMCk0J2Vzjo+/uPRxVynBy76VC2rEGdX5uAnmWb2w67YhAmW5uKK4dP/f4fqeZk22N94XtA6+/inYbFPIwWut+SpVkD16PP/fVDwtQxHfAxZZHiHbXcTawB76ctbpaY+/90dekCeAg7Tme1252ZtTgT5sQSu8fvxcpiCWZ7U8Qrr0veYsQKR0UBsSkYjuAjFZ5glulUTSwh8WhFlA9eMkcDuX241N32zlXKmXUCmcu5UH7f3pY38I7JaUVGzyDBrkWItJmtUv3YadiDM0PSZqJ1kW11sQqxE7lUp8ueXSQsmCdWukT1yzUXtfTCWMIrxjmhayWSZBF+XV8u9rzLk3nhb3IRUimFS0la+HvVjMgb6YLPQSZMtmdT6cAtXO1at9nc1vv/d6Qqi4OXb4Y6yPgiFk2KYTbQ3kDqtMr30av1kr5MX0XBW2hDXhtryQWx4MQZYlJRHOfhT9MDPt9fGD9r2YQUb8KUMuyXRowuGXnRN3umTfYIZPUWngkATDzgwedYsaUkEcnsoo311SEVDZL2x8qMy6ivU5P7HtYm6X6tBHW2n52CVXjDkYRueWVNh6YorpyjR64KV5AXXqnFLhQ+ZdxG57PKlSwZizQ4iKLlWNmQ7SGvfzNR2e8E2d6jgi3QZGqa288xbK7OrU6ToJ23a2oDdXq7W19ZEkjRvS9FC1ZHDrG3qwyhLwWEYHJli/zhAddp53ru+qhyEUNbjLt1uFOwenchrqR++ZBByV1W6C/OKO4oJCKSBOSLYRmiL0SgPx9URAAlIdHb1dG5EGricDco4lg7dG4Jh89usJBkaxIsuRgLu5+8g7msBKLb8JWDhsaQIQtjwiYXlfVcb4Bcv98MVEq8GvHTJ//qbko6K+3D0PqlWO0RGhEPM9fckSPfPqVMAVZpLO7OvxwLkwiVNB0Ha4EfHnelBpV3x3jvP+4HzYrqQg4ULREwnhClTP/RnhTskj6Q6TNerZRB15FGIv5XE/5eE+V38CyBYaHjulQO2PbEe74UIzx6qZdwxI1/8A63GZtK7Stqa6819Rq6Xp7Rc15ckifewHfqWYPwRx+nz0XFZOSSR6qlSxAhKnjM9qFGqBW2hYWHoyUMg+rZZwC22XOg5fi33qAYFHS51ZpZ2PCixu4iTGceFSM3m5yKAjQVnigcjbxFsUOj3lZyiM5NDqmaCsbxTXKB8FAzXl6L9/mc4qGqaGrIhVTN7KluPJdrPSrer9jV3uRL/mYp55hEwaxKoTWTMKNw0rkYcpvw/FYhQGN5g0b+CIp7zoSoHgFaXnHvV5zjDb24CvLq3OEXf+ArARt2NLaKAtuiUZbZL8xftHQUnIWeZyMKdwH8tZYh93TGplZV66256M3aIoYp5+wYhSI3P9/P1uWSyyZKjVmozeAuNCm2R5086y2gdmUQNMpiiUllFnUOdZoXO4/CBB+zuTJybEaFi9gpNjJ3Fio9rq+ThQynHw2vZoqp2uB/mocY6JuauPtDfQky9Fe9lzTogq/9ygXFJqa4b/O65jlaCAqsgfIucqFEmOz9Bjx5b9lTgM7SipymIO7lAKQGx9nPe09eenCKRmbFXjg8OIhTXYsUIwBB9bYN+fj7R8UkcrMzCk4rznGCdMJrzZUKqAgmHn7azyJ1/59olWCg57iFYkR0k4fMo6e9JJgdkQfZv1m9ZtiLUODqJTVG9navK+bgch3Cg2Np9AW5LbmcDmWH027CHJX3ptpJtPe5BeL3m3oFdwxq9xTN/40rp6fl4F3x2eXRm1eIsB2E0n539WdKd/vDVZ9SfMzYCsH3XfWlq4EwQHRrJS5Bnn8gqvNS9/nqKHsnySlljC2w025DHkDG182lAOXZIwR9BGe29+sRwHVHz/cosA9YMGICSLyOUnRcpA5CYd2DyTaickl61t8hi6I4NVCo7HIwVd5CS2tEb5fHwDvMMSw1tbRML9FC00OkeRB/2d4IbVSbOhYnhoOoeHhgC8fd+Ek92NnXtlZca8LFesSv43cpVtLrxIwXZBZrYNQPO6ULhY3gRXOZOz5KtAsWZsfXM/KoIBiXq3Yys8uwVjZ7IJftv2VPswy7vVerH+F5HivOtf/R8f6eTW+vmRZ99xwuYuBwFA/R1udjuAq1V3NSiGmIA287Sr4BQVROgVY1VKm8owi/RtHng6jh7xfv+7h2ceRz/aSu6FvvXwHClUhNOnL+1MvPX8+7Xb6YQYHCw8vNgyDzsLot6SNKNKFB0XpQ7y36no8X9nRltx2Fft+Vl+GzABn2f7d410Ntin4U/cOqt/2pHwXi3qwnQVgxnFf6pEl/V4ea5lQkFdRAxR+DDRXmPVtK5qRpBlpbgf8K0rWGLg46mF8bZdFejwsFGgMIhyr9zmasLM7sk45kdWX6NXgXvd8T6xi4Lb5yBkBnWF0AN544VUWvv7z5ddXbyu15E4Q4W3OSAk5q8/bBACEPCRyX+xHgLEX5uQTH7LUBO7dr32ZTlothoe6A++doNzR7ekg8ZqaFnPw/gkSRg5dMqzgMwNW1wI9cKaWIxCfABfGhiTdqmrXL1kTNQ+xWF6LzwQiz+2HTNAGKmpdLjqEZqARJyjN1YjC50ToXjHkiLKzVcBklnvflDrI/Y/IlmPhN+uEQEhjA/t7uT1ZLVt//EAjLGi5HVUazJVw5TH3jilAIi7PwCQN86/MEE4APaFmhfFh/jdPRaDH9EoJdfZXsjBmLX/CYf46FVfaoGAQrPA94bjQnc9YCPr2isx0Q23lHMuHNnzTnDmWhoZUH3/JNWmQUdKh1wjh9pd+nszV/vP/P8TZDPPn9r6pL83e1LttGPq9pRRMFrIgATjL2ZpkmjmDRVRB1TyrWaifN/nV5nCUjj5AQUgaotOafca1kmUU5sL0M3l9tKs6c6XPtn92OBnoQFMdhBaKBbJR7v1U3a84kKbAilq1mkorHON0Z+UDJ4o5KNQPF/URHmJzetgDsccbgcFHcnXq2jgaO9uDD6Qpr6CQKcFeav6aMaAALbf0IZJoIZk8KmXr3SEYNL2rRpf4fxEiMTHjtsoiZugAlZ9bW4F7ZIqvnPTCpfKi6JkF1k8n2gnQ/mIuabAG8Y8Bvsf1lipVJ5Yj0ETtHL1/LkDvD1oxU6rOt1ykDW/taifHT/OytO16mMe6W7ySc49uqHV0mgAPNRR3kkcC/vfOw7fv+0bcIFbRqkLo3VLqDtFVEmihQ+3xhQBkxHNW2uk6+P0aSYM/J3w8XXaN5DBs6mbkb+3qjzoFptWZza33D/NzGlZVlF1cJ7i1f9flLznzJ6O5KvKRqZvpz21CQ5iHkTKFrCnBMyIYmKdOyjytzSrCDHJn4IvcZ6okhjFwAFrY0R4BLthoVFu8i141eJwohRRon/EBxbxH+deTWi+LHnUXqqedI0m9CTnUVmFaQj4oi85Lj0pUxQD891KzxDYmIuFd/M8cyc5LIdIf3VbeuW4Y1vdGuLBCwkl9u3x4UHoiNEZTWOJ0qnuAuIlK5gVDrbp/gNZPI6AlTgi6Q/0vPbztMQEg714w0xSQsEX8Xrhwd8gJvprfyvqCGm9l30jwcjlb0xwAPgTFooGy4KmLQ3kyRa+Nemezq3GJD5vRUgPRxT+EwCt/mZIBX36wQeRxXYCzbTeskWQeHcCJkqO6y0A42t1h8DDD72zhGqMizaKDxKx468Ifgf16K24qUHcBVTyB4dnQGgnjTRb2wYTG3QTPQVsKxt6LlgFg1qNfUoNkfwjSwGAqNvy24I8rLZzSTbj5Wa2wnQXnVvIHPS5Pd2zOscr0c8zcwdTo0htpOiG4dDpVq9XfuJXc/pjUIc5VqasTu09JXBB1W4bUdEyr5AOo7xcFg3AjtXNoIiGQQiRhBg9Axeb59HPL3RWwqutCfewZ4LcJ3ZYSf9rYDa/QJXnakfNsuAYUnPH1shgy3I8uTpgL1GEWexcVuMYbfKx+LibQFvmE2OcL6RL0Fd4jjrXUM3zgyCa33Em6Ybk42DeVZQ+SL/zBwu9exeqYzMKHZWaZv3yYtTwAeISDeUPa2cVBfIG2HNge/1zDjD1BJMifH+V6A4X62t66asaNF5TZSP1iegd0QreRL+04r/7npok2H7btVuib0NR6gVdrJDm3jJuV9C5yqRvxLpPVCRPxW4sqppEK6eIoc1/lq+s8JONbdm8mIIYJY7itFHnKjRV1eIzRHLFKwhgMFONdNBGOazSiro9umUWDBUfz0fiHFYiIezQf1sP9yNxT+oD9s9RD2b03GGHh6ADCcW89FSL4DWafFILduXWBZZDNoVToiU+i2cOYyUyw0SY2vPHZUz0vLa5N4bt2Z6sh8LAGnviYHaTw8C7MuTiWFsnupuexQ4RB2HO+pnv3Dwna34SO20vVwYOIKeMb+wc3sRJfNblUFzEYrE0cifbTB15Z/ZTejkGtH8vyELw6yrNR/nYjLXPKlQ4VaDt+qF0OYg6Rf+3Z1l0titqQSmz0GGwo7xiAYirimg0WlnYB2VmAHepRYp/a03dPE0kuSLkgYgpx9lK4LEeZGUzA5omRJXAgJDnbvDw+GsnGiU4L9POHHSgrG/uDCLjUMupoAcqdAjqOe0dQJjTfKcpu9dG0dd4S+Xec0KmK15hpqCWfKcFV2S4TWZU/FSQd8cRKT/DEjJupAmxgxdXYu/uTaYoJSo1wne3p40HVKM3AR2eDCMEYiWU53q21/vDXweviFIdPRJbUDYoPzMtWM+gyP2vE6bsrDclvYmjmWkoKNDFR0E/TknhXkFgwLv66U3Em3jAHDI0uFbfY/H9lwFJVgXbKwDottpaqXV8a6MXSqlN77kGBKSkAkO5dWndC1v9M3bqa2+ugh7ukHLOYJkl3CF/9F75WW8U4AdXk2aEwUSLNm+M777mQtKoqG3ioxp8SofmJn3kv0XLvc/BNLDZ9bvbUDyOHonU7a3GJc5XYZfDlFDKJHKFVBzvE1Gpq0U9trNWRcWmDsUVcjX9cv3CxxlZvrYNxK/foVEtZluBp3IiuLpFatbMcm3j1k1g3mOS6+51fy1FW7iuV1JAHPOrKLbhKmmYexRT+xz3aN/S3e0UcbA8diSDiXhQnwrWaniI7pqIHf8V5/GlzzBrN8ucKaP4P4o3gGK5Yx+UTEYdUotRYYKQTLeCqpU64CnvJv/CByN5WjLVUsp47pjSBtgCVMyA8WKPHLE1ssHlnGiEAAROfV9DkiC+pMeCDI1jZG3yYLgopZ+TLBR4d0Ah0se4LVTM8ZMHOmwaggrGFneohSarJecBuNjKWKsZJ9U+YYjcdzcAH0+XlKpG6nse7DsM38MbaAD/RKaAjUD836Gm/Q6xoiyUDvoVgdV+1E0jQgBTVM73Eb/MewOiSUMSQqxc9e7iZkrk6rWL/09Y4QV7Gmex/5oCxjOkKBf7oXI6QJFkHIT3+9xcvFO3BKTmrXq8yjPqnmvuXgrgcZi7QzrBhCVhAbYfi5vccfLFeo76VaPKk/46wORtvRgmrxHqszaqIxfbGSyTdZDTpsya56FpCD1q3OR+47NE3Q2w9S8t82oUjancIg5SaMCSFfqxmze/u7kGRM8l3Cbb15RnqXIwjAOsbTqKZ3YZY3df4XQNY501lMvpuTnDBpfYPYPYadnCYn9RNV0pxMw0k5800HLtR1tc71bYvS0Y+wRmgbXY6rtcxRlZM/iGy05O3S8hqLzRqNvzM7nfZGVdhtmZh6GvMlo1P/zoUMemVNpKH03fMobemT96jftCY9EfYJG+emUTvFyp0dp2OGEh7DVto10BkjkR/I2x/iuErwAL2Sy2T4wb7MGGoK/An9RiX39IL69GdGGswvKwBD/1qf5P62TIFeAJ7a4uIIUYL9rkGBxmQAVY5iaoYtdbxzCm2fNyH2HH53OBgRAjIxLFwOJDZ+QCqZXfEzLlMh9h1Np7U2LnJ2wpBdcQtmplrQLmdZE/Ma4qQ9ebEm9jAgce1APJXeWYlwR/FVfaJuJ8L4xUFwaRsyK+i9ckCxVvqQADK/lM3qJgf++KI01IY5Ci+FlVq/ek2o0MEXZYvOl1uFzsfb6WpsdG/rzl2a8o4GLxfmJgHuJToL/a+1HL9YeX7ENl4NcRYNDNUvzV+X98Pppd0lgNISFodQeGcFRIhncTyq50H6wMfqFX/uZoXDx5wFuFnKT/hJwiCiDvu24iIBhE5XLlDKD1itpQsf7vhYg+SlQpxYhugLJaYHHaelUcVtQzr7hdKjel/JJHliy2hG++uzX5THCkWpj5sczJuDrr30qFn9N04Pv5Xz/kfEJhwfd/vxjvP/RXoFpohbdpmRyZe0ZgG/KaDpdGha+CnEMgZWekNEmCj3JPxp+Bf3bxZRT8NnsvN61GkPFG16wlt5bThd0xZqt+RmJDfRv2N2bcsk7MKDV5tvuAHh7mEkjShbGYihZmGWXubhFdEpwNGwrKdC/GPiaHBiADAhPFSbfPAr8R9bc2R8mmlK7NYH89fjFzg/6yAE/gKTSVQNACkdkMSlhvzfiExCPPxzgB3iWFo6A35nJNZv8cbPWlG8pvLbW5bc8SLwkAYH2CJFv48cYnSJk38qXqed0hrz/vFANqoK52Hq3rXxOnNphHBYdiAboOfhdjNrnp3Y89XO05SAC67g7nyU7a8STW1ZPmIIDP5MDtJ+AGZq7Do/+zwdUFn0dL1pwKyoW+AbKLc+Q15vTfA14PoO61geQM0mhhvHzQPXBxedh7+GmtHtJhIAnn1pL0EdvqhePXNM3P26wAMXklICkuYkzlq/ilP2/BEGMODg847HuDAEgBZxVG1ljF1FUm29ywWJGpnNOMbapz48gytxh0k8KqSpJt+h3RI9W0qrt8b0tPNC9kg3+Bq68iOFuXTz4j8J+b8nx8LJD+QANwJNMUtvqcJDrTHu1l4QZfjQCOSMVlHL1sQjAb/6h8JdyAKATKcBfjT14OGDLzEH/8lp7ZixkJsp/sIGeBhwvQgV2XcHbneU6ihz9TNYOhkzXrYYnMrq7LXSptehPvl++hd4Ty1Gjun76C/95/R+U0w48yvWavyvrVlNKZXL6aQQaRK6Dt+9eBweQPEedq7g1Rem4429bAw2ALtJ2H5Z9LCCyIT4G1lrC/pCXCipa2RUF0PLP8m2MPbdx/HCccKt2xBEpvWulVISVjyGQiLJxorYH0H1KSTjWQha0F7h2/4hgzDJL9sbwA2sVt6/2Wk8ryd7NEeZdHp+oQaqIeH3Mv3sYVkagyIWNzmaTSLr9trGFk4GU73EeOrH8/IiID2c/k6oNFV5RapDg6XPE+hX4p92VNxB0oeP9Ip1bzM2YxH1WoO/Ou2LEyqUzD+PjAq/y7AgA2ut5DY20NCaHhC7d9C1ZT2PDT+2t5Pwy8G7g6aDB03052uBHkunjKh9zgbH5bxox/cbCTbR7XSkFpyYKTo0nlwZ6whIXOWl8qIOVivvhlOJtq7fA0J8p4aXNm7xaH+FFqAz4mnvElRSCXnCmNNIAgyz6hSX/F1V1DSj8Dh57rUuKuJSwF1+XwUZNgROVkonZeyMgduVu32UVw2oXmvphzzYUXY8+9ZBxCxsR2eliA8jcpRDXqQjsHomfTgaUdhDGjeEnO8l8Dxm/rqrY4lnI9nkCN7gbR4SV1lAY3gO5exrgvn42oZkpzY58ehOR/xFM8OMs/R6PPzz6zSmcEbxucTp7DUbvGpD4DLAZAADY4o0flgGvNcVxEiHagasmxE4EGArmxH7m0g6OnCv9/PLGZTgYfrB+ICNkMXuUbTHoXN/+Hbrp+EHc++QFsfeCfLfyRXrvV31zezxH2jALC8vdtX8trcC1uy4uByHzjiidezzgHXvB0GSay2hgC+MC5vulDzCTxQKRyVlg4PkUHUL9Dwkhh/AQ9CzRsucKcBIZdHWXxFwmbuEPtQpe2dKgCg+bwZZ0E1rLHjCvca6L73pDvwY/oioe3MZjZnpN4AFCbgvrFrYVmmCHpmuwiJUMTSMFZtRbfGrvm8ghwv7p/sZK5iNunnYU5iyOXVBYAlnbGfu8fEed8zq2x2K0nuWTqvykqqdWYciifKC+aADx30QEYCcPp+HjsCQeM/c8rkr98LGgmcT/SWf06dVYZuIklop9UyhKbwYZGC7GiElwahNaXvg3gobaVEpgMdWc8vuy2zY7LtQiZ04DeFd/lDPoSeQMjhK5myocWrUuNjbSEGYY4qmsjPVsfOU8QWkOLqPLS2oE3RXKe01AdH+ivzHuwHgB4jZRnIS+zUcb3XhQLsM1MiIGOb41EE4gAgOulU4FLpJOp4Lp1Mjmq9QoL7Ez8DOmVOTmvy3A1gOh4QrZhnF11cWt5vLwtTOqfl5o5KTYhtQlAw052vbmexmQJNQAciH29ikihTCEj685EwqqLwxcnUauadbhy5VKTLL23u87qRSoVsgscl/SSB3NutSFgbu13Bd3wQVSkuTwXkY3cZfItpXOQO00DdMmRA2bJF5f9ZSJdpyCIaPkVOf6Mdu4kNHI21mMVIdpCreWtzEBLvY9PG0iUhO3w3+6V493vJgByXMmLDEpDRNllnVuL/dDt5syNOp/0+YfpElpDGnfO5aepj7HRSz6eIW13tNsfe/0YwaDCGjn99t8gcpYtG2ZTtsLiOPzTwBshhK6SL0VgKhTOggs3Ryz+nOc2d36LuNBvP/rZa4DsXRgCns0mBGc4VcC1beuAh2nyacHhfpyL4dJAaW5uGeC8AtIPlV74QDp2JxcQYpnXgFDGyY10fYro6Ab44ruthZ/sA48r3o9e1VLjOaJyTROiclOYNVy0bRo7KmeKfy9gEvZdvxllqC8wHP3NAR6NQ7U+RcaIqZTSkHVdlB8zub2pFkW/qpA6rLCvEfIL11t6yFMUGbnspHldXRn86F8WzcY27WI+1E+eSMafR6i/l1sf/e7b3/wy/lA7oHMSM9K+B3HrY6wujkoWdo6BzYkToizrFiWOwmc8upySCTOeI0qmH6hx0pqTa+ZelAlNuB+9aB24M6w8WjMI7frTPkHFprwsEs4HVkMNcOJWvsiBcgXhRPh9hy4oliCgDCIZwOHP63c32TbjaqoW5dkenri3uFpP5UR6kVXgvYzwV1OH8rMtfXquODr6bCBUOJb53D6rm5VSGwfwgvra8y21s/QbZKRfhokAkGpluRGWjWKWXODQhDxPj6Ob2bT29lAVHTGPnZzGtoxy5EiV81STElNcb+RPl2DnukOuj3sOflybHrPg+VlUgFLYeQOmt05kCCPgmJzyq+3mGDbHlgsKI2ICIgAdx0MY4nkN0Ny88nVpNTdwAjiFp5TeuJQr9jysbh04l6Uf+jMqyNLKh1QgZI7ZSQfjIIUSQ5EU4i6Ry+9mjjqOF2mLI/b3n6+RhFKbu+YSGb1ymy2mjVTfyGAMnN9IVDf/YWXBO2srxpQ2Tp+QkG6HjKgUbSLXdiWlsp6Z41lPW/GwPWEb2VdK/o0L9vu7do8O4Nh1o72/1mCd4j4MOBbgYlJo/nLYotHG8HPk8dhxU+vlMo+T2dQPbF7fs9lnhyehEiPzqCNxXugyMmzBfR2RVU+ntkeO1EAAY1lk6TxwgyAwpgbbbsnkLVW9Xkjjl372aYqqZExWuSbv42+UAHLfU5l/fxQA/P4e8I/RA+nomar9PmwVsV603VdTcprYKSo8r2pwdFc77tLyCHLwEe5MIzKriJOt+CJtMV0GBhcAVep/tbtUGp1O/mYi2y+78V5BlnsDFppJ7pCKxqYnDB1ikFFZvjZcFhrHFlai45UmfqBkr3Lwtazj+zOvt3h8ZE6FH2pkqjtOW6cKIypSHzTSyv/T/JYQ8UA6RaITvzkbufJtzg0oUDk1sm03HD7qHwgzvOqOwycFvLuVK12MsSsV1pMzV8tgveyPLmgNV9HvgLTamH0YBuAfT6DZI0x8SzVsiN5oqvXJL2rmgVX3tVs9tZblspjTalPy+rR2qh7kPmd1gcwmOPgjFaM9tcF1DZzPD4kmzDqjLBtpjC3BKfC3WSfPSDW05VoUMzVTcmnVDUC3OYjVlSP1OtmDwafm/OhqVgyiR36ZPPXKAXiEQVQiO/FErbuvpOciwBo5fnJvxP1LOgy4lIKwbl32zRtvLX5Z98lxBye5oJcFSLWogxNITliuaBWBDIpZjwrz6lbHp96Okv58Ve2MdNJKdrEA1HomlQ3/FTNwwRDOdu53uvsDB6IXGOyGCrpRCSanHV7nd43p/cwOCEvtyVPsbbuNXN+jQEuxnvM0suhLY88zSUO4YaLUhjvgqt/1dQbLbsvYqcpr/JAT9mfc8ogV6EqCS+RRqrWb0BA1sJXBN060PRrtJy1L6YTi+9kSYVkCWZJCcep8E/fC1EODDMlrqW/ei7WuOJohi5W0njqg7c7vczOsEkqFHPO+0BtcmVy5bbeZXsQFB7FLgZlkQfyeOTJL+OFW9KWYB8MxaIAK45MjG+l3ZFKHW4ec6q+XtkXHy94JZpbfvAsu/zXLq6DuIque/VNrfZkWOkDaFj+doAkVKTcTOuc5UUXe3MpyMZeaVRKC2obnLFleTh/5EdHkaZhCvy+POFtOU74jPprWfkrvAHFRajSD/zHRu8bOpdGaR0uwEQ+GXvwask6hlspy95Pn7cggngWqG2YL7RgzPxz+acW/D5VCbbOV2TsojDxGipoAEtyujlLHGrAL/gDVXpGpK61UopvSvea/4v05FmD+KrvHylKxZgx1Q+Tjmzee/kv+qbGcSVWN5wjK5wfUYkxGcqRkumYIb1wAAvcz9xP4TaAKgVzGDJ0m/55/EI+GJV/95TrWl9L5PDSOzLN0R4yErK4hj3l4/6E/1WZ66Xg24S64mbaFVdLgdGVNRK7i+6PsR0NOEbVHDnAXnrW2UZi32PPo4bHi6QwWWZQLZKdpGC53KldldwF12h0rfvRyN5mGIKt4JMz9iLEsMbNolpd3LDtTulnO9ctLzvbZuHN4MzdqUYUmHSYM8FWTh1x1YYCTuxT5GoHOdp815v4LZmHfh30lLa3fZ0/o2ezZQHrEw9k/f1/8+zbGEaiaAMgYH96jL//VlQTIesKYyDpa9M4jsbkCe8QERj84gU+2+qH41n9n4GGKv/VDlMRzmbp3sKKsJDdDRIeM80C6GR6bZStmxnmwkLhzm2SIEWfyDojAhVxmFq22Hffnao8gUiwHgjyHeqSa6wCd8EAq2Ir0Pem4aJlizb4iZux2RTpnxiqS0jzhuxgRVy88MYjVORzgkgpS39gzD9x8WIl3fKSggBpqQhggD2j97kEgSQWE56Blko54uFHLdDhr6QcIMcoLGiAkVVGezTstd9ZKYmi5wA16TTlMwL2NhZ1QixtZKX+BQOViMgaQWAO61dnd+wx3ab42LHBe0IN2kehxWMdr9CmondCvcMBljAeopwax3CXYBW4NBCseWeNXzwvlQhFLDOJvF+QI2Nlgj+eXKxiSd0VdFvRNYEP1nGAzLly/yOVbfyrzSlajXSe0PdSAmCT4Z1iv19NkoFQju5/khUH6M743TmxRzgf2IJR38mhH/yW8JL1ScVY5LffnkkjDSOUnTVWlnfyXEcoG+g6fCng51q+wPApYsmZV/HthKvNbZlag6VAF3sGLFqxWRoWpO7jszKB/+m8l7EzIEYdA+FkYB2qco0txYCVuKWrehAyuLMxtool2O+B1BhXfT6/ExD9hhdyMVITnFVt5ylndetiEeYfvVRvA+hqkES4SnDcMUt4B8iiC9XOKb+WfGD3wdoTeBUfETvPSGOwcYq+PARWnGGfG7ecD01Xn9rbFTVGuONbYoV485/rYHOYsgBI2UtRTdQlW+SVkWG0/scqkLE0xjtn5HKur7CfX0LozUq6BToti3JB6BbhC6cb8wF+c/YrxtnMa7TkmeqfZAC/Re4tsh0EbvViA50450XhuR1+8n15TDx2clYx4AbnlvXgosIE2gJ7ai1sgVNN0qP6CKdpEs64WUQ+zzlVIc9UEoKEmKOYo539541/nIQmS+kgFkdM/rDa/MJ8XABxukhBl8QZNk4Ia+igCcwUbl/EtSKAYGCX1x8yhpZOZbXzi1mFKVDjymFigcYpsi/8UxdfdbVXWC/APQFrNuTC/DHVO7/fl0ubCiAV8I7Mc3Yl5jysibwTJlME/dD4px7vmjjQe6+i2bmYcmU1WgIjydPoB88aEy6iXaJIirir784eyMBA9b6OuC8HSG81Lc5lysDpJtwzxDDBkpAGiHBK2gV8Jw/2kJ4gfT4GXPBe6hy8mUgu1s+WCIyxmZeGJSBgvfbR/P4XGfIm5wBwvekXtzlFqCqlc3/UFiNFyR7pHJd3j525e4rCVudXV7fniIDx7DYyFvWrZ0ItOLYMeFV6ljMP3nrfutUpqJmzfj5kwNFse34W3Lu5zdamxJ2q59XaGRdJpd40NYJXBLpqKRmX9tjNHfA+ZdJr2o6IM2hUFdWjrT2dVaTiY8XLsc5DhsqfgVwT4wBq6c1NxaIlZUrrsdh+eMePtnHgrpVizFiIj7g37YZterw2tgQHmnXAvVnHCWxY0zDarh76xCpTsa/buoTXWrYbRwbMB0JTv8UN1EkUpBsTzEbsy+oo2W6AFPCODJHazXHsxAj3RclFJf0RlkGVpID4mKeIhSJddzlY37XASOUVQ7U9enCAlTkcZhjFKDOap4I4pMZLTQrh/W3I5vWJZSOPW/sWEmm7dxnF+NxgD9mp3hxeuzjAvHpPpeHdnMse3vcu8/KOtF0f0QhSIGhOWX5ny+bFDDPfKUvuN3jaCfEkgzCr/EPW4WdCUanx390KiNAvsoeBmN3X/gh7SGsx5XuavVEbmMHxB+HmtCUAVfqT4tx2vs8ijSUXjtUWB8RKoK1phMF0FaShTzPGsx2Cl9YeFUXB17ctAYi9hLKAdAJ22+wof+9qVCvsbqsPfMiZjlcqaZoB6G7VuEecZDsecjlg2nTLrHGABnuHDRuQIRElvty01RNQoGPfLJPp6xGIwQJmlG3kQbcai7C6qBrswJFrdnh1MFu23u7yopDaOTGhdKD3fUYAyptyFi6b+Gt5hCV00YbeSh3zh0UYc1pG7BduQOUVqn5zqkHeXgBPrOKsfEsxKUDnJGp+mYrVHSqx3h/sCnij+6Px/EdGzJsk1W3CrUu3+Eg5/WKTLKl2+7H2kD+9/vrelrVNawHzx05yWf6Xj+q3t/UGk6blwFBFPuazqOlpwQkOpkHrkzLLKHJOYFitxhUzAQXpUnxMbo6zhFnM/T7iSya3yhz4akzgYh5VwFB8WBurb0smc9VKqDOQddceTmIUssSb2bX2tyXpSAAbfhgPNQMu79hjr3CHFy3ecRY1kUzLfB+sKL7OP4jBQSCSlh6lTks33TdXCWzbEO48gy09wJwex1rscjOTiONi8TSPQ3DQ4v0Yn8wI9YBLdfAuXUIYOPBIk57rXnnjvk8gcR7156t16fzuxeW+u6pysIKeVokDKfQykLxv5h5LUlYJBLLCF6dugCspBZab6hMRLJWw8G8EG+x8lBFEt1h2dBjaHAAY1TLHo3Ov/hT/dWTf//aPolOJmX4ts+eSFQ3a8e9ZV46E682xMIYaqP8jjP5e9er7Vpm6Bgg41vu2KYlbVme1I0USYfRoVk1Z/meR7VQh/1Jgoh0LSqDb1FsRoTi8c+XhHzz1atFMk3xu2pQJHVkx/dad8J3QG3PCyFbHqwVEG53V4HwsFXSAhwjtYkDnVIy3z4BzEW9BCBaOheBotiPTenYci7qOGdnQ9cxtd6bxbeCZKfAeHM0tzQZHC/k6W5l0VzELYsz2NexxW4rRkwm9zS0MGBNy0kjw3FvhqmiOha9RdEQOOEWEUVmC49TEQZPLv/QmEvStcdSLGDonPlcvoqcI6bRQ7Za1HSvmaWwRQOMu2VTnGovsFXtNTgkWdv1L+OGboCFAtIyhojMr358XTvVoRmz45t7npwRS4NMUmEKkbfy2BrWmZQdhkFvXPS4Vr8GY5qYVnM+O3ieo5LVB6ndPmqNFX3LIuASwovGWJ/uU5RDbWUZVrxUM20lVCBEC6+EmtaM8qaqEukyPNmfsGNp9TRzqOKodo/of2bQL9tj244+LmRr+uQFrNM0EWVal0wNAwhXTnzYjlfQxw1TlAqVV3ocXcDgvs9JMfewZb3Ter8NykMHMNcMLUPbn6t7CuPeRNhHntIkcH5KV4p3z4j6LEVlTqrIQcubGK7WTBpUyalI1ty5JqeHf5ePUfDeELr8E0zc/9bjk3v349qI9JLxuGt8mPlagtRvqdJXWU0YG/pQUi45Zz00xi91Y/V/c+0gbUKcB/yhnYDwi/6VuU7YCzbUP7sv5e/BWILOz4pfKcoZOhImpwG3kyhkNJw4NNNTEvBJWSC7f/QdLYw/t5ZoQSQqUxVO+pAtcM5ChtVKp+paWX6m6MXRV2U2wiGtxUxRpBMTiBdADeFqUXAp0QK5nc6iO8hqVFjtM3cSoYm2g2QTbOaEmZlaNqvtZAksj3/GohpCHXD4I4TldZdpmEH4Gg0IthW7gfWqodsygGQtPJMdVQ7GoEIIrc41dmkVy7hCvxe5+0uUrm3R/icgJbkL5c1GU1/DuoPBoijzg1YNvEwgoKSwrq572PkHRQPXC5pdG7ot1P/5PnHX+HpUYEIG/NLedhwQCb1upaWBSRmOIiZ37+PsPuHMA6znlHbNkrVIIhMOgfL7wYgyDOkhGfxiuFo3aJ9iqojpFhxkUvdnMWp5SBNS+KlHhDAOqCQQBePVLg+xzF8Rzb8CAVMVSN8EMh4aoE3rZm3PFOiv0me+eYXTd+g825T6p2ozksY361lPDMRGRKIEKyCQpRugCjgnt12TRZ9BuLTB+IYtIIT3Yl3uqwgweBMKslNDznjkfD9lNSgVfHk0NNyUdDSNIrwFcLUWEqhrgptdoK/3PUgtP6yZzS5r5MJr0Fz+EYcHQsS/kqndqdhGrB1iatji727O+q/qdXqjX38YO1eQZ06gh41HuYyuGw+Vf9vOReLqYR3IXdZVMDeinih4KvLVSD+HcDtYnIxt0fu21d5iyc9fKA9o9jEwHT0z3CtekXGrbRmlr2ESFt5NyLzVLPL41MG7CRotG+WQYuZY8YwqeFHGMJ4P0FJsylaPPP31cN3pP3VzH3sB6C2FRO3xYXTeyI2MhbLTjciY2goHyGgPUIdCbtVm/7iM9qxekpQkbOgYKHaAIfhAgxnz1uOnwONer27Fd5tUoUSmNiUUl0ftjECqGlMASpJJyFOeA71OLZL4Lpf/0DK1oW4k19TXQQujfKZwwbN1bSFIly9jiatyHUbbYb8xIMBANzO10RRSdDlgCX3y/c1OcuuUxLZvCoQYz9uSbk17mC4zOoq8kcxnFEKDByMPrcUiU9cHVodhVUw03vc4k0bHRnw+8Hs27ho9wksaTdKglJCjUnj5hlC9m/Xmexgeu68XMYSvU4SPeky4lVCs2vF72VWuDolAECewV6GHp6qCxDjVttyD4XZs6DcfmFWK/SFxSl2UrHBImGNsrCG8ahcOqY4qqQZ74SlyzIbTWZbPq/tfkptlanazkW6goguvQd+zJZWWkqT4vVCOYnb2SR/3xT6J3j4BjaSofSAGz65DvjA4YGnmYsJJSyC36GAcvHJ2f5DC7H7OmwoVr/BuwUkoEhZAjuJ9Lj97myxLpc0HoFAhK+Dp1fXFcDzH16NpegRJMjc5zokPweyiNDmBvJ7SWhH1BqvDkdgOv0WERPBdWUrj9EwiHSgtG8Lfs5qcQoNkQndLEiyX/SgWEn/cnXlmu3mbHKM2Sc8Hxk67+TaWsXJwKmBkNVb395z8g59C7t1ap5A0R99KEGAOKxnuLnZ3fKnCp82IlGi4jcnsAsUzN7ni6+AWI3yxV8pZ1+HV3cHjRQmTFPtZGfag6x91MfAXlhAVSjRgENLGvT+K2Y7Md6jov7C930UOAdTcvwIpnPmdjHeZ9WLoLlUY/FjP9cliQ/AiZnLEHU0Sjlp5HPaqg5eJ4BtdwlvyzeURQfUkoplQAEjUJKY1JLcH3xrmJDOuCwGvwrFfH5MAlH5Sgrc9DSeNiNcQNOcKnwOo9rtnJLrrSuD3Xct/BxvVlhQ/RUCM8d0UvA+gcZKuYUMp/U0xHFmdmk8dFHgmus95+WbkbCrQzSnqsnte7PM78QKca7/qRf3HOlmqlPrmim4UzsDWe9nlVT+SD5JIbZcHjrQyH2Ai4UWaM0gwBXOALwz7Ld6cGr8cKUZOqZZPzL6ma0s23IVLE9VmPPT3t2fvmqKMFPNq7T6ivtInvpEWB9FlK2FnqvUuUnTidAuroD0h+QEFVmduj9AKsKpU41J9f+zjXbSMCstXX2TXU/j7f4dG220oxbEWcMzDLPIzcLcC3ez+UbLwCsGIXqF8slpZ4swUVOnEQgDbmrSJdo5tugoOYftXhszsVVcP7CkkezLfVw1IT9dtF0ZUSe1y8Slc0tkVSvQ9P0I97zswod1/UO6ZL0wfIocb/Ajw2LgJsx+zhu1nhomhpZRR9qbmMr7kk6bL1+wqKGsijGu2f0Xq5GlF8ZHFA9WN4/vpNsQ8X+QciSnjwIRcw4RXn9nWg06xv7wm35tCJCr6ire+YVavui7otLVS7CzBBXMi1qBw9ozRz03dUQU7RmKa5SDG5JFN4IxZRxdiLK1v8h2bHj/fDBfqApX0PvnkKoAQK3PsSug9mxeL6sqy86MiHSQsYL78nG35uYT8tO4RTSYjOZ8S/pnWnw5hOT2yP3LQVvqeAGymB0K/7GwWcpRWlwmnUMBAkM7jXA4twzsE76mo4gB3rFWX7+xFVsD7682tmTvTEyl60z67wik5wiakvM4DSY4CdrSejciCCBu8aBVyYLpp/RG68Q5QM7zerXa/ZaiNsOw5OXSv8YQJCbLxIjd5OdWz0G/354cP4RYjzpfXu9/NE0GIskRPprGA/aPe+/TcBcw19f6Xf4zH8X+pCB+s1O7KJ2TLk/tsEE7KuTgd2uU9o6Ov3YM08MJ9mV5isua/yviAQunLX8e9GBVxKVWd0fzThp/CXntpKGY+GbuM7SAvs1w50CE9it4gDzumNs344zLooiVzyk6rkUAUOSOuNhyQXPi1CwZugogh48dkRUWuQe9ZEzc1FTNa/8EplUGt1agJCJggSwfDMf8C9sm4l6oLbywe0UYe670QoFKpS8/TJzz2+SylvkkToaHobp+daFrobFJas5ynBr8NyNCvUMYQ0poSrzAXmj1b5HtoYH+bJnBC9icXa6dLqaUk1gVWNnK6qD1G6D4nYI1m2t7YWf73FXrNzRe5CYq8xGPQwBNZckqyQu2vVcz7rE+NvyceDE+QCt/bwj+7G/4DS3HWJ4Mtra5m5l2g1dBg3jqJu0UweSAq4QC0pbWhPOdvUxlHkHr+3fL5LVUPHuJq1y99r/ijaTOamps5MkNQiwICRJBTsRIjACSs46JREuQ5+r3SdKtj/79SS0tL9Q8U/4e862v5jMxE8QjrjFQR6XsTv4J3u9K6i3u8F2Yo8M0OFPMtM216L86/DbAQR5oaIB/iIbz9RU1igXmChRXcjIpSSEd3RZCC/JbM8fd6MTI6FPcq3PA7d1BPAchzO7Y4/8lGEkjik1FAuK0It2KeXV9OzvgHg0mVS+zKQmyY849N2GVLGaMsWe3BUsWf+Eqx4vaLEUJwanrNjLJHLkObyZQMbeOIAWNG6YZCv49tSQONpLV443SBzYEEeMeTYf+gE5DpXHjtmsFUKRXruZi1yfv42pwabwrw9j62KeqOfB2szpNwFbwcjY9LtanB7bR6FAQEAK2iNgIh8IytYjqrjABie7A8ZdclvtyXvO19UG6YtVfYT1HUyrd37xQf3XUZkvZytpOWPVLatxWaNJkKCFWrHriTrD07fOv8raJYVmY6lt/uKFeNdYdzDCJt53wj9hJ02OA7v3mAJHXfWeafmKhz/BQ8LxXwk1MVs8zj4yAlRogXSIEokT8UqgVoS8apteYaVASH190WhTmIzVSIPQVVh8m+bS1zNV6usEjg0HjT3HMzUII9HrVGtrNDWgQwoxDVzQpWQ4iQhIngC8gFCRa2WU+WwYxXIWhXm/6e/toLZSHnRIIbqR2iWex+dta6muZbFN7X6aR/W8LVl2jFqp1IBL0qUiBqHn6ahmskfV/Y5RkUya5zQqjFEF5wf4adA0L2djSyWPaBoEAN8uGsWjngq2w8zi4AqxrPzk0nIwjgJyCNSKGaom9io1bWqpI9eku5vJcsXTNU6ePLctqforqyestfygwt9UkBQwicjgdgZggOTmwDg+FCtV76UR2A6lZLGTB+pSZ4Uhd9zX19hU+TQ/XzQz4kr6tUavKgkdZr1sIGBj3TiBNwdxqLTMHlUk/RF+o3uuYsGa7Enr2fnr0hpGWLTJCKY1wSBof9TkKYdTgN4A6xMdYmBof6IrXKKLG7o6aehMar956yne3UM2NHTmYNE7Cu1TqLn/CzidiJpiTVz9WXOOMhrzaoz/orWulZXf3NXsx8JiNRJTknJ6Vgoor0X9Ue0gBYvfXpIByjp1C2pPfmJh66FRVZ8A49bUrzWj6vMyrs3/0B/vaRGMXPeMSwdUDRaIqj0Gxywx5UlmrwKEhFGjO4PxeVcQNZVHKJeeI9l6pQViEsBthuweD6gcgLqQLc4c3X3DFZ5EJ+pbklzry4mXO9LNk7j/fzZ6euJiHEmo3Eny01TEWC6vQUDUEIs9DT8PsJyUHWmeb8W1+dTuWOL1S41iXKnMz24sE5WdWT7c165RikMFPDfJJvuGGPAVSkM09MHirHgiTz2/ZGo2vYqIuRYK5BQ1H9bKK4JOrzGtYRhPZRFez0bL+lXWAoB27OBzDG+lK6DbETnGJzHgOtXmdMwPY8YISd5DcBOIWWPuAC9RUbJOAfJRNv4ErLipO8CidV+pW76GPcgCvdWyfRpqybh02zoXInk/3l2yJD0/NL4l1WRHTCIR5UqAYqxh7tXg2gOEnqW1P7QDSlWU4bkeziReTIdJXBCvjiY7HlzwPME/5RcUSIzb3BEF8MXlXlhMnDxy+om+1OiwXzanXfaVEVL4NUi/bX7lDAhTa+npsZ1k8dXo/qleqDyZSHXf1Dh0WbmOsfZwzWp48SGTebSpLISPtODFC//PFvWFYnBCxZyQF//MGsckOrP3nlKozDV1PHlTDfDqZCk7j1BxhMSbwvBxbJPt3VGNAvw/yd4VoQUOR+Bd9j2C7Fl344AtxIWoLJS0ZfL/h1Eu7M3tIKlSSxoxWsM4/4koe5C+qY79MS3gauGoq4Zu4X2u/E318Npt00PTjXqYpUHuKJZ9U9tjAtXCurFTyoRM6l2zaS96jWX0RJp4k6OSt/J/0WkekqO4pnQZlIrnQd6wX0aK/6QyLDrfrawgN5UFIvaF/uOQB+LbEuJ6Zhbbrd7GHg4pHroZw5uFmCnaHO5XhuJ4uOGI+yW//DU0drEf23Yx7pMOVCfihOnBHNPJ5iVkKS85Ezs4KbufXkZd/cCan+nZ2TBLGm39xu2jNctWq80GOpoaYB7OMQu6CqA7XY3d2YFwwwmGGp38UYVRjxJZkgO+S248lUppBKLBDVroXLCM6UEc5Dx73WWJH4ZR0Zmcgec1kz4iOqaZFhYSVbQnO45cgS2x6W6wW401pMAltRfWEUWVM8fcEeVEDqv2B9KRk/GznjyrGVF90VO5AWgVBtI1PoKHs/XGM5YotpUqlU1X1WVxaqvhSbU6XadGw6qM+xG6CcigEoo3u6KUZBx1zz/Gnx2hVhGECsw146VgSlOpRT/uFfQ2ymKGYV7/G+kaot3l8vONJwZzxsuFLlo00gwMqdygc0eNq9U+bbifcwLAeEfUGH706T5MZjrv+La92Jr/Z9xqi87LPvF6lz3v/JCAhmd/Ph9wsxtgr/hFSiGHrOkIXoPx5lUS/5aZrs37ej5oOk+cc2yoEPtstzoX04hy5vRW7yBV0S/V/yMgqGESy414F2NRGwZ7hd+t1TS6DSzF1+2pHxwAOKmR48OqFDqEL/5+125BbH4rUzanfVItPDjoICT5dNI2/JBICOV/VF7DF0MUAK6Iu/8L/4ZkrQ+RuHuamxa3CyPU7xGrWHUpETyZWBA08o7D5x3jnRhKaB9A6FEYkSrpbnhT2F4MWNW5dRbEGPV4hafPCSMD2UgrVKinxYS1SHYFgyjRtm1TwMqm71pntZfw5yUupzuPwU1/3CnwHttG5MFCM8xbUKFt9X1uyqAeEZSngNtL77SNdmUxqyrvq2lJt2akar9ksw/N/SDzGbudkxGgolfCUp2/p8PGLc9ykTltd0rUJf5mpKWouRLGsns2qYwUL6Q7fxOsDKu+oKS6vKHHqZFXGpSGLg+texFA3HGoF4af3RxT3RW4O19M7bZJ334HDW5hIULELUPcDaHfcHSeBfkTmVU6KJ0lladBueoKV4jmidnr/G/YbcTVqvwaX6zKVbOT/Y9EauFKehvTALnXqnuK8nKs+s+YRtbL/qAc0HuhEeA0SGiYIkby8RevOf5spo8k44GjXkZSJllBqlHtD/KcYdXmCNte8zo2n6uo6tkt0zaHDzAb+jzw98SSaUj6YpbKwFEbGiURV/liwkk2xDUmCwwx9RTDLDqpvkFAWBI07VtoY0WHy5M8WZyfvqm/htGww8k0zyof/r9GGzev56n9wzjL7ETVEh6NK7WaO/9F6Sbm2YPuZ4nOVPJoqYpX7wCSEc1uZY2SSEEbrxYIMyMpjGG7uPNV24XWhdeLMzCfUmc3gKzXTvMHDOEwU9N+QJNrrsGKIBofDrgXsDcN92cz+TCrRjqkLWPFdzzIk/migLNpeVRt/7f7TXD34cn6rdjteQ6mzS+HPNwCt92sHhrYYo/qu/ZLzpIyCK87xf452ZDBlkXO2VUEO4BJr24LToBs1xPvmSTYA0rrSZsOfmNyOw2ElSEu5u/QRfgSzqSeavDFLeDLfTWFSOVToy++E/DIjPgje/W75b5SOBVFXVG5xIB0P2gtb8g4RNH/9XD3EtPCJtgGjTVLNcNqD+J8hij7xWs5mNJjnXFghSM1cMo1Yt9mLQGpzXCEQRpe6gnJJp7u4foa6mrVCpcFstxwZNBPUoHkRLB4hNIgUyvuV9MEeEJHHrYgfkVqcmCrjju6ln/1eew8GSN+EN+bDTCTL8mNhl+ScJk+nG86MtbzXaVRq3IhydiEZbP4GCxElaaU6GqYY2V4WEr01CLQcOjUHmUds4dFLxckbCw8lUrBUYtr2gh2vFFh+OwjMlG4ufpdZ+UWp0tdheZYWw1U+HnNPkTw9BLW6TYiTZ9Y6N6NEb/zZ7BSgayYFUYE0xJUc834NDoqxQvHJYOgLsSeRAknEj1GnANDK64kJ60nHOGasA88Av8T2AqkAdpEqYO7R9BlPZTsRTKyZO+1HCKhE9M2IYP1yjrfJ0uNJcL93ZsnBuOcJHffwi7h43utRqDqGMQc7Zi5DUd7euN62QzUpbIPQp13gd5gbRJfdw6tRZxO5Cd50GhdWtoT0PO6o75vW84abwYpaF5CANQSWZu2HsO1J/W+Vr/VshxM76OMp9U4GxJYB/2e8w2E6v8JeV5jMizFrb32z6HumJ1181+QDrk8pfiEnFsdKCHWX+YhnqcCnBuARDZ25iBLXteUhBoYSZkamhqp9UA/VZ3Pv6BHpohnKSvnmjgiq8xHkr2KA1Su3zbkLA2mcTZ672D+fB/92pzvLqw2jPdsq3PdjWEe9RsLtLn6cqNsSdON8qR2psH+Ge4b2tyA0XNMx8BidwSeIgB3FodvTstyWYxg6hYfWonbD/hnccUM96zQKfSHArJ/Mi1Tq75CC45kDIg/YAdVJ0XxU6gIaPsoFXSd1KH02cBEg6pY9XnhNABiiGl9oSukHcnD8AijE3MA0M6gJ3dK587s+7/Npw+Dv62I38UE2HTUBj1IDfM9Q5ULtlc6gkNTKGjoK4ezpe3xRtVGfe9MhFBaQH26CoZ96CtvwP81MCAv5cLdiDSBKVIXGL6owOwCtsUYEIxcMneWrCXzDpqbEbKGumHtk+4NsfFwLVNJoPNws8baHuEZSZRjF/RzJ7Ctl4jm63r1Usp/nEaRx/wpvlNYlfcEBrpR3qXcEdMyENLSjCYdpO9GVbfc7yHMV0/5fbSvtFE0XlhI5dTSlQnlPq430SREDBcDdp9W9WfMEjPSnoAIW0a6cYoli4qa53Iy0nZOF99lYwICFkKi1TCpFNMAfAYgxHV0MYSa8f2CDyj+ek6YTbw7CAPyb64LOUYbyHRNcqLSa/wLbwN3lFNqE2plaT6Js8T1v85heEJGNK6T0ADu1ekNEL+pWbF66s54y0TH1yplXnnhG7zzCSljLQe7RLQHwycfs7zXF4UzCQ2MDES+FBqYz29DM1BMcwtRKZGpWC0S6Y/lORoaG5rKB+J6DNhYekGVv0aAvKw3bq6JMDemvdSPCaRO/ppZ7oh5WXhBiqMz9791lzze1cDx7BJslaJunEizrNhIRYffs0zwtSkUmFsV8W6tNeYFN+rgtjAZJWgOtj3Jb8Obi+KJsSnbbnJ+sNDQ/Svc4ak7BXeaO0OXmnWPzE7JOYHQbJiAZWB4ucNtrXOHqOOtZ/n9M3aOUYZsXyRnBPkuNARHqdQQwPEMGVExXr28dwyPYm5f4rMU6ExHIZapEEnNJg7tk5u7vEW/JIbRRP8+1qpACJ39zYFwcakCCpTF5bvLIWtKly/fSLlsAPRcW0BAICnGXMTjo/a8y27hIdY/xDtx6sGLJ+SAVFODTTKBg53yWuyNcLFOwWu/8gWJ5C+Jbgv3CHwcTanQqXsAViEV5Vo56nLxmuRTmJNmaZYuOMdPSOGp0aWDHuDsXlB5zskq2K8d98GEAxpbqtUAzTOrqqLo9dRoJSA6sn1cDpzFQL06mXdp//zdG2XdsdVKW7PjtP61o+FedpcHRvt0sL47WS+btonYbNnag2yrcw/zDpLyLsSZXeMisTkugaIXvHs3d1WeOEO1Oz4ReSf49lVUr0NSU55v8yybnmGvmGfwgX9LasVTUIotMHgZlRd4ouByh89MYOdm/+pXtLbdTRQa+VlhSJy7DsyOXvLHGIrWJIuJjodgf8BjaN6nqmn7oJXcxwPSZH8Z79bmpKRBEjgRAlQqay6Y17Zhrl5zsejAmwbp4/8o0XDDyx8nCCwoCEv5ZywzfY+ARHKg8bk74uj4xQ+BgT7d5gEq1LR1kvkzZ8egtdYfTL4Ov2wHHpM++vBIdZj3pXNTIaADB8AyLr/DJGz8x+I5Ze+wrooaIFVU3mJY7LeFyJK19ZilOm4UMtPrYtRfZDByyV/cRYPoD9BZqlh28bp06r6/DsRKR2phIbIo0uTScH+FaXbj9JrpIK3icFmvQqqs2b4bRvKG+GrEplbeK5Oa/cqZHqY+etvzSZPbPvr2GKgFdxp6F1YZjgLjqQg71OwDfjK+BCFfM8Bw3gHSRk3bcEH9zPmALmuPNGuurwX840BrHDp9Ad+4pn+ALVWG1/Zh6sOONB0UoFsxqFkoLljeUE2fu7k6NcOkJ2UefkaUbhk5DwG+2EYRiiTKmGqWJOSPBaIo1MGG7dmBReMiuXyIT5+vMJWRPpQRPP8NAQ3w6EWzJ/9s74EdJUkBfJ6DHzBKy+pTtom4RHAXQfzxdnKKnK5Xj3f0vcTbubZ3YlxH6Frqxar78iVhv8OuvsxicwqxulBSYqe/mTljJTErMlWEjIr+7wfvj5l3UXHwhblHDA2OyGzAz5tNj+a9RxTbXBsV9wltKg2alNNlFoRuP1dTYgiEcnf+dl7bgynlZcQe4EEnEDT2dyzlst9Y/9pDwOgBC5dqrlJckI21dA3ZXS4iK0isTMGw7m+7uy6by4aobiwnnEJPGv9F6zYI6WCH2LTmZgZQu2YbX6moik7T5xSm0YuMob52VBRyiY+rmhl7Isr1eZFo8rbaiD/JckTxCA+eZ1sXhTijSnBxFzOqmWjZICw5XdqcoJUhz8QgT9rWDTTSoFMrZYR6Lprn2P+A9BbJ2XdzsC+y3ZB3f756PHXDZ6Z5ffXU8ygcr2Q47uszVEpZdSarN9HUQ2hzAfIHpDNx/x23/bSPoPu/MLCRp8MFXcyjdWTOAWx0M6BZBIQuQxTimzz5UcWExgOAB6yEmMn8+pwytZloKiRWi4E9hFo9cOYWOaUuta45v+cxWILRFYCopc02x42SyD3YjwRt2yl0d11wyPlT+MQVjtV9jclw/QtsB/vnZMZ1rxzkFc3DaJU6SytDo8/qD1MsCi444zYX3tzFfqrnSnids67Ues0eINVuMPBg50HM+MAb+VJNpwS7hz7DxIZCSdn8r+/PiMpBmqR2jNWg7JOkjyy1CI8j5EFv6dQNVBO8yb2Ekmvsg5f6PD6C6tazmFYtUMzspNlcPuOzNB7k0z/brrHnTHSV+DT5NKV54mFtGkDKEuFHlPcj5MSWCc9OfnR4+BWlvwF4GbZgIzngrxvkSrPRe9KYRGuBj8zrfT29/4oIbnbqEcQX0nCUxngeKDYeJ3xvlDCabS1cy3Ydo0EnToCHWkHHb4HxVVQHts55tlXki9SN+rPAVcrfPEY4dGwWKvVllwgFVuwZcl1ZWLEfxZAdT/II+9DnsXOWvr7hO0kIXAYSSJ0/0ayKTJ0cWwYqk9cLtSfZ2fyq4Lhbekg/Mbpj+dCM08jpf5YDGYssx29TLDPWOcMxBCYmKg/gfbKrKA8pD+f16i2anMO5mmaVAxVg0FayM1zOIfd87b2zL1GSht/rv6JB7L5IiKq58tnunp1izU6QSDH0eKO7OcwsH+fWjAb+fRDVh0XpPbbN0E9bWsoErXoj+8l/RbK2ruTCUcEmSAV2ajcbQJfwVekDZ5D6EaIFc/6UjW89ekKHO3v+6p91ytsaHZDu+qOs/mQPdpoiMdYnvBUkkufqcu8wmpLTyopoTE7ElFlFlQ97v6KUaBOpF6C9kmR54n0cgpm6hG419v81KclMzk+j1+HKtfK21QFCv0EMF3ZsQhNmC9GzlZ5K+kPQVCx6bKEESw/NDoJ8fF33AKIwqb/pSfNih0baZhowUyTY64gsdaMK7a/FoXWAXaYQmv0az3O0ZzDaAQ90SUuQEJdGHneC0QFEOTsK6MIMfffPR7Z48tSTAhG2BpHnGpQbdGbDGYUALykHuuTvQ4NgWFTgLcE4X5eLAGh87Dskv82NMiXVX0qXEo4btI3s7Zrj1dJsRtK0duutI426r6Z5nTnYCbFSFzyyAWWl2xZTYkeD+7UykEsjxMxeqiSc1b5g1ti8orwX8JZCQTw65aDuW7hdZEvwz8YZNoA+IFhm9/5c/QLkxXK+uUZVlHIbeOflhiCjg8ruMPnjOS+ZjQIBZitCUg2RFTrKkBdNbPBu8dVJnLOaCwZj+faStzhUvh7cjz1TQ5Sh309vibw/TCJ/EW0a1qZ4XosY313qUbCIcsTA+so/oT0++80IErEp5PF4w070dpx2rsg4jbEMmaelMTar5ot38JGMRWaKBzagCUeXntE0Pjz6k/JyjeIzb6zazXWe8dBgFl5ohj3mVE33hHybWRwhzvuN4t16r5cj1iYk3Vc7zpmbCvROPuIfCIkoz/FxZRO7zGFAKHodMBx3eseglp+eS3PceQLRTLR8M2xryT64qyIoYDPkEjLpvRQIz+ILS72z2Rc4gvL0Ia/+4wJoLXKDf6UySzHGjTn0yYCcPhHPRizNL3IqQyw5M4qhXAxrqJ8/CD9mA956hEVHSNI9vaTIq/qc69JzQV1WAJftJet6s+BhEf18xQXk5nHoSpADl51QuZSn/3mncVB9d7Lk+IVb3NAJl7m+MapvvBtJz6Ot0h8rb3DP3xuenqCFLHOAkKhpBwuEMEQh7ER8Kpy00KqkJHdNjgh1pyN1MR/FbDxIOk7aNI+gfLH8GZvZX96JzZ/Gb/KuRgkU5Sf8F/hMGr8rlHSia+Dj0+7bXbsuUMv7FEkhj0Ggcwc0M76rDm8vKd6xOJ3JodSS0Gp5aXonAzAesvgsdnCDIRdFjAJdbJNrqpApJLbElU65Op2MsjZYJn8KhyCGI1eTJJAJU5SM75vKNOpOtzuIHTsHJdIJVTkX0DNYKpb2h2YlDpIUjkIRWR5bQltxqtObXQlFJo+DetonEVWeMUhKM0mtXaT89t9ACpQNWc8AvWtBaLnrkMoHnc00BmrrVGrDYWNrRvvotrw0TEEhaSLHZD5ZdDoTIr8nxx7h6AlgxeMkm2Jpl8J1awcpvuNYHZ4snlSLap39iS3IIJi8X3HAW3V8iG18oDLERzkx/SlhRQr21mVv2vCqsgUvljILIm2AbXEiiS5EoWNuk1N3B1CFD9B1V7hTjyYdvewsoTqtLaMsGVqZTFS9fGFEI4+SUsTJGCWev+3Gbx9A4M3g++wElkBfVJ5R+5EbsaNChxEFu+Nq1ZuFeFkTm1keuXk8DxrLrYWuEwWcCtOtXxMipFlYdQ6n9j5FPEIyMhUkofQnm5PD7168nHtC7P46ic0Q2ptVLosjaFtEGqkEaj93lVmbaAkcZjiRpdF1CCEpPizuNE3mB15xcdYAUJM6iuRV3Jimp7lMUZyJr25KBTyGXctTU0rvXlFRH5R+M8FS9ZitGwVi7GXK8ZIvmQTAJebhxnXwlLOU5N9TndguJAGnbkQwrC1mtg8uxiwZoxu4rDWLx9Rhfk2seIya+FMISeJ8nNQlj/5B2FhiPR2BdoLnAczv24h83jmXac8aS/yNAiwgTuVR4s80/8phU7RSh8Q7yhNFTOuEvK+G03bHggESGR/QLfyNpUmFQhNFnLxFtnyz50zP7uZww7Np6LQiG0bW0yJLx7OC7YbBUcJDW1uOA/6WZ3YpDAhhS1v05mbiea/30rTlPrFkujUME6MnXJJQop+RHT7A+jjr0wk5c4c9QV4d99XiBU6gZspbZuaz9hgPvizXxHce+n9/MUynh3+bd9byQup5Zu9biRSmSrlQlO+Eheq1Sbb20mJcxqcjD0XUNm58mOM2BXgsEb3E8NPJFpvZhMzD+voZv8En2D5nI1r7htOPNsEkRhvIC124FRK1kMZES69dgvSa8R+Bk35i3VXx9xuHk3M7KVorbPhhFH4/qvx1grW3NK54rJgtIjtBcRkaJOhJqn1XOrAyyAG2rawvwL0yVNXwxOd1dxEPYY3g81ygWsB/MvfjlprpDSj62HfFEizaxz6I68c7yiP4Sly5joForXCkLM/pqbFibEIMSSCs018Jqhr6KDrPCkJC6APhT2RGcTd8Vfz0H+yKzmpIBO8DznfN61tKpj7WARMlt5IEJNV2sEAx1OwRHCK4hiZHTuqW/Z2liJ7RcVaocNYSnmtTa2DS7YbZ35tz+5aia6fzBoaNWOwubWqWcAqwiWB6WTzy+MuUKY8nLM4FlbmerwEA1H61T8MwV992vbWzEJQOlA2aeMwj1As3bBPt0mWp+JVphXBYrdyTTqGlVNTdp5d5G4scojou8zYwlyPI+TPoPGUVZ33xs+Bx1bFt1NcO6UBuntL0poy53EWkAVm88k3Bu2IuiqYy8ZGjIG5canePHd44quNMiQqdEQEOOym7qpFHs2hoWQhgaqwHhptQkI5ulbKJ8E9c15sdSupsLh8WoO+3cdLTaGfb041UxPcdNO6VaFLnUCX5I2LsKoXbYf+5O/2OLbNLpkXU/T5lnpYryVSJbJzaoryAeIPQhDK/JP9rgn0Tyw9Yf/sR7k94gFuqcEPK5psQZ+T5Llo1NAA/o7z2j+/A0LuJcS1eLCfxa73JuSukvzvXUr6cvPkdSCY8fSjWXm7I4nZdtBvd7LOrt/urwccvy8Lnfz8mW+eEWmG33wubeA475raUvEqhRC/tjWDSHW90nDldEXZ34h/ixzORtDp4UIO1bz2dNOfDKZwMSdz0aNErdrpyb6M5KWrmqlCibiMU1n/SRmu8ROuAxjkeW5G+pu16a/bEntkrPKVaFH3P1KNutucO911sFTcl8qXh/d1DQbARJG1PSjbW5pQuqcyNZZ3tpD7oSrIlzx92/j9FdJGiCkBz9OLID/QIwan6OoBzBB/O+bC7t7vnrFAO8bzADGooN3hZdshkK61o0g2wkunwviij1WRUEo72eDW28OAf/quOnuDrrb1XJIznWZZu04iA4r9OierT4M8ekXSC0J9h0B0xT36HT7SfqVCDY3xNDEXCqATaimPCm79qqq6NXtLEkv2i+nE6+ngn6XVRQRbPsWGwuDePPhXzb+iaB0ra5ar221VOqQ80Z5oSwn3WK4VYQps69So2ufMl0mB0gMnVv4QyEKElvBEGHKnUspdHN0TxK7mH/ZO49dCD2kFX8CIaUamMSU5LvYmm41ijTHA/9UNcQ/UoTjj7V5o9VDCNOd5StqSAayX48v7QFeKakssBrvS0PRR4MYlZ8mUAh2/GgZEeOU4wdddGpJJ/EdrH8QpCn/4SAyNZfggwBSbvn5SrTZZo324LqyWA/XszCEYKWSIk6QkprRBSMoWBuzJ0IoCaGdsi4s263E2WVJ17NN0QHVj/sgRwSEHPxIdtaaenmALnn2tVxhN7exHnskrwrX6UCXjiM4MNAatggYaH5IEno3jiyE2KyAZU/vnb+oBGtnmXFulg+JA1SQ/Sknb74EmmSt8sXQwCqR9RPxENgEEHSw4ThdQtHRKN2QAPtmZeSpDbq+j/4BActqn35R4K6c7+CE9+vy1Txhk9C9vDc2v9BqB6EBVaJfKH/8q0130N5fomsGbAffaEVWDCvkwXHLJdQuoFHynpTfxm/acBy4EbjQjW4vC8fiB2gnYHdzkNQYTrzvejLu5pzQ/dAYwfbnftSsS5VgXHdgHYarSuecOikw96rfHMn5rcmGhawR9Knc0gWysoURYTPw0XuqNyJg/DLu976F2n/jQlrjPQW0QlEy4X38P7Ktlen1j+ROATqhvnsL8EJjFcBQA+sUMH/TMMYDuasd5vT92KQN01eKvZbWorX6cZjG3txuqpvoPFgYgS/vCfdAIyYGzhUDTWzj8AJ7Psbaosf6QdiLqAuOnMiAz3elgMMa/sTBoZfXM2/X952h2uzrZTcDt5WDlmOoghQcpZjXT3vKryM3nOjdQP6zX9Acw/UUXt94W933xoOE2pg7HqunbK7EhSVqVwGJLaL37Ceq4ZY34DhUwjMNPIRef1LE91e8Z1TFVI8hx+dZs2dxK3x6PTKI100lp4FZH3hGWaHFfLQtiysbihnU+tp9nknAO/WjPNAkqGvGH5Xmr3foMmLoaaD34ucx0+3vX7prOEOffLzvbmALIJvlcCibpSJnkEalbDVDhimxxabyfiiWMtfNyjVLHjcxDKd0o9kQqlWdYTJecHeymJ0My7VHKqjARKgoZD2U09n3OC3vK2BKmUppoVcILrFimbM9X6plM2YVcTaBcZEzHJAUqGpfvEHKTA/dtaHes20CuiI0AELzXgtdwAbqinzjwgHorTzJSGVffJ4vurXXWYwMB3LOeaeF/iaf19akrT1F9PIU/Wc1gazC07H90iYpZ8OfwO+ankg+RkXPIb8Br8ct2ntDr0G/WeLz6ylsDurLv/GcnVO5DbbWrk3uyc/qVmJfzPJ1WPz1Fco4pQgTXxoxQbPpYhwi3+vPU3O7kH2tlfcsiGgnAIEZjFBtor9fFokx50NXJOBmkqLKVl6clyr7nc0zdFbSPIYargG5WlI6UzNxM5KlKOPyHGTWWFkQX12VEK7jKqmvycXRqRJVQJZjC+ou/fVxxm7G2+1PpLQ28lO7iz44sFfUAF94pmpQcPcUfpTDCa3WVpwzPzC3KQQuu4DmaLJBdB6U2DKHCLGxhTEfcTlcMTDNeLbKNVnF+ywjYc4cQE58+wLw4pQpoZWf1OBNLUzqToiBCZ4vlRxRziFj4wkxyCCG40XRDzfVskUof02ZL22zv2htukvGc0c/VSdQG2T045D3lmfGQ6BR7mI3pS05sehdx8SCK59yEWkkXZSNWbhYrQw3/fIdh7spyR4SHWPEcZgGk+ddnoCaePykbEiyFF8N4+5uEHPCPn6mecNrCLXnYCaVrZKFl9Qcno83vFb6Cwhxk7eglcnOGAcY4oEvM8sAeCJbn5KH6g3OD7HDdijoemq//Fz6IkFYcBg9qY/clwPHP0GJQzcroFo1/eQU1LjNrmtUfe8Yl9+tuy85TQ4CTDfTCwuR4nqaxqKJI7F+TtK0calf0hHf0J8BF4+gyhyABVivKO6wp0zRdMSdOf7jbZDMc1PI1+586pcjCgdIAwKaVIL+13EvsSft1P9kOYH+MK/GDvFcI8smDXyQn6PURY+9PSX5StUsHnn6WwoXZgsODed6ZNJhDDW/wY/YEWjR+MFjR6Ia02k1EbiK1hD7nz66pz3F1s8pQDYOitU4hqcyvlobJt/ckZQuR0EbTHrQ+W/ud4ZkECT8lpJUjXEq4GzBKCr0o7X/8Z59HqUtraLzsk+qJtpoYuoz71f9gjGUHj7kPjp13nKRcBxp4nklAA10dL43PiA2i32Rd0So/eZy5jXdQ145XEFKsOb09xhJJRkkLEySNYoD9"/>
  <p:tag name="MEKKOXMLTAGS" val="1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iWcfk2RmY+GE6Q6T90sFUaYhHdubK/b9WYMbiqTQFZNRdTaHJ1Coz+gznC5J29/l+uni9WCTqRMIgVGBy5FSCqTCP+Vdrf4pg20L7fH6DBFZNwM9n1LsUHI9V7RaFmsG0sNQoXSeAHwLHqm09MgcFXN66rU1JBmjj5AdPA9rH9HeMv8yYIzdszzmfS3kUAUZ84ZSOPVl7UlEjx6rw75+MLzc4SLp9Ci5F+Jp6d4/4dTxXpojeD+CY/U6NfngENab6z5pEgfCltXWTBNh+62+cZqjnspSl9gI0RDf4nHe2aTBcjnUADSnuY6Ah0E4CIiiNkboPutm8WDAWbmoouBw/ecy+rr8RxQilCUIH1y+Mmjmkh9VJMClVJT2BabAb8yh4/2Ta3fuMsDjYz3pO1A39IO18LCJ2SlWo1qD9rOg+pe/eirL9gzc4Z7gnjZssjjrUObyYkcSeXF+RW8zRTCLMZLKuFqjBsRNyYrbiZwjj4LSgbGOcZJTcibv5h+DTjPkRTIkJMq2LUICZ8C5kfx0Odon+Kri0f6mQr4o5gIYpltWKoEOCDZEyqs1O0rs38r0m2NYJhRY7jA4qHWfbLk7N9NtjglvWlakQ82b9CFMoHp0xsmOi1Ts1A+QD6W6YHOHwzNsrtkmzQF+57+JCrpP1emoWmd4j+BTzMCwkD7buZ3+KMsh4z3UHLam2EevdzpOmfZ5lIhrAvZILCD1JeMKWIK+gEviD/VqvFOUGf6pNVB8o/RxWgBMAyHLcdjJ2AAb7YHkhch9qNyY/dkFdBZgZRD/+UBQdxVlqAKifYEptjMphoIGJFUQvkj2mhro4g5PuzvJT8opha3HTkNIL8nEs60DppXHiFv1DgWYimxxltqeMsUTvqR+ijINHZbdYRU3Da6i62vRBd4qXBixOzD98giNzXU8pAX7ggBDnhuiOQmEb3FEw1JViVCGeaNNQ5nfwKPLzLrwTFI2/yaAeZso/XDb/N+1zoB9eg4cRfZQt+dzJtOeAokzGXExE966jRD/iFpiotfyu8kqZje7WtdhEVUEUoFGh0WS4Xgv0KS/SHxLAu1x+stus3vMjXV59cWd924G9vARqFOv/05tJNVHXXjQvh3+z/NQo6avtlbwMWtAi4P6URNmS9GXOQGHxDgEjgqYua2JY1CRaDS04IpmQb4sh93/uADYFANRRaBqj9dJUWW0ouYmodtyAx8V+wIhFC1yr5467tbb5SaqDBIHC8OUeV748/vfA6pt67d8gClD3KFj1o529zFNl1n6PqjUaIPNREvkXnEmS94P2tovoKwRvglpsOrJpVtp4I4gvEq6jDEYciBLG+X2DRc/BlnVH7AM7JyJjxn4xGf8Txym0zXc/AW8tYJdkJAWcPX+HZ9v9TLgZr0ES31lwJo00hFE4A5HFljPx8T2Gcsn83uuRMZvCGxiHP2AjrAv06ZW2WoFjFOqfP2ul85Qz8J1GoEVBXL9aPELHYhUY2shRl9n2GBQiEdQYXoedExTu18/yyiYmePbD7CWEGYM/LIC256atQ5Y4vM18IvOfDGsXuOiP4HciYIKQ80fhnbmdWGQ9VJnqeRiOgsdqnH/66FtK49rIIshOCiOYcBGvifbm/C4zWwiMaatgTeFDrfSqYWZ7q+wp9YqUcbBgpzmfx8wLsBPP4TWlo85D4uzVi6j7A7CVJaLHK5g2ipGxDYdLti7WPu6qdZsD2PHEfgWrQ3ZfFOk6F7UkeDqDIESGF9S88zIzDttbJ/iDDfOcb2+TWFrQi2SS/ZCKjIoeyUvopFgbmH19e/q6cgUJhbJAIBzpX6a5Y5OXjKx+hVB0jKQwn5yjyG+cKMxoSyc8O9v1v82J0989kS4wzC7NcC3W+SfzlFz3h90wsmcZbT6/baDM9F+QjJTEdZN8KYiBhhz8cRI6KYPII7flpTeTxVrj1mAXoSOADe013FcgLjzcLFVyMVtxuS8ZXJSuoRAstks8+LZQ6pt/GLyPMCkwKDXth3KrDIgnhdyh/17KKGet1AGrlDvHfB7w7o3k6cConF7CrS7R2Jjr0ert/jXrEOV9GdeP+XqbmjZNsMcztYN2LWvIc3uIoNUwCnNGsSft70XYeKv+t9LGGtQYGvk7BL79s9YfbheDo29tSgcHDBICw2HS7LWrzpBwGd+b8n6DqGo5Ga48139bNsrP85kHhz381aY+gKO0SZqpyGpgUDtz0OyggCZusROcczj1S3v8bs85jaHH3nAIdg93GE+Sxmr9Erv7vYVwMkOEpXTT8hfuFFb5yob2S6yrdJ71Hy2U7Ew/vo5XYMV78rzQOibcmcjGTBra698qIZrGYh9UBV0lL2jFkhYrJClxH/rCMQjNHF+tz0Whd5OQn4NGL1orwEtzgDAMRsWWLi7B04MfRVGYZHTSwVHzDUoFXR8Mlf/WU1WhlCImjmnkrIYaqCTzs4bVNmd1uZfijBTS9ahCSj2cbHzmHtaxAyIiKzgWy8Uo+p795kR/mkTW5iyQWPOnPfs1GOs2QRdJUeviKna1MsJIVbzTTk+tp1B9OhMSVmGYTlxO4p6zWcE9SHH9Lg6mI7s2qny4rSLW0tJ14NnCq0IJvwBbzIWfftuEaGTGzlPFpVyrdmnYr+U3TAtuLGCRAnyGgqfjoULAu1FH1bvJpgI8F33x3/Ru1eXEPsjGOV7/TpJ3aYIINp75nXcfzOYTKSkMk7X0scS8pSUXUz6kwqpbB3+TpbmtOPA0CwMuZe/3egUjg5LoeCCgflhvJbV801Q/OEdfU1f6jo60BF+4b+qvo6iYnut+ExLrKpQyyIFD6Wcriz0u8q4dVNOBAVai9sbkcknqom7POi5gP44X/B8e8zI4ojcpb43DWIglEuqz3+WgASz7yT1SXJrxZ+M1FBx0jitSHNI0VFErnK981xzZRtBpQFn/0XMu+R5XQx3GEqffcbvDphhLN6+94yjjScLQt9iFM5zOwWpJCzHzFYiuBJeFHxWLQ9ERrwYlHLBqC4LQDw1bcQxnCoH9UTNUctg2kl9XIrUq9MXA+oLUmHUSGqapZd9R9g1SGmSSSpl5XwYhSSyMuRmEFfQ5T/TsjCEz5hjVBOVnzY/mj/g6kGWKklzexBygpv/7ysGiV13S7viVGVAefPDiiwCf1ffE+2vazlpOhs6iBIAPOnGwOM02UFIrQIzN3Haxbi91+uq1Wt0WIhGeKQ5ZF4LM60C6xkkfDJcxnZSfX2Lh5GzyKvZJ/tfGS3I0IQktFQQKfJ64j++ZDEpVPgqdTgjX596f8QYxQHYO92eVbZHqKfQumfNnBDQLWUqtjNzyZ/OYhW/bkJrehPBg1SsI+TiWq1/FWmPTI2SdguxJms0CTbyNmj71XBoe/bIfPRon4h0+AcXEDrQSgSs+2CM80yKQP3qLA5W2yPle9xEs3rD+1GCCYUQJbYA505C8cwoaUsF5BSe8Fszyhggx2lIXSPwdGPvcrVs5toNy8JQelWBtKQ3HqoZ8J5YMgGubf9bDw+7JCHMb2YbtIgKNNrAbYYyDORaPfVZYV7wWV/1IryCwj82X6QPlZ7mfrL5Jz46C2k84DME+qgIPqW8+cVBJQA+51M5d+1Pxu3KuRGY7FcApO2x/jRPdvCNMU85VHQiuoLLLULYcM5wNYDNIprP1g1RKHlXIRTQ1DMuXS2YusUFxQVHnprN2oYe0o2iynh/qmGdD6TrEBKXGc8ss7oYrSJ7k9v1276U/FBdwi3eW2or9nJ+iMz6iu8GxN633PNTunZxexJU7kFfhhnkBsV43LPtrr8F8xVtpf5XoF+ctQeJyr1j58HnQHab0S5Y0w3VsjeEVYYYghIeV7h9cEOMmjkNQy2s203hWQcjmlmsXKHRPO5qIwAg81o/Vfy073176ABbQzZwI0+lHdXiR+XtbO9kv/npfBozm4eZ9uoMmExnBh8z9RfFz21BybkVCwFzMgUSTGOZRc8mhSgKbNlvXr5rmjeOB7K1nt+uAtS8nFUu9lv21KAi1SA0qa2Kj6ZlWtVG4oWbH0TO45iC0tURSToqPzLoZidNL+X53gS2WI+TLPLoQH1iBlqsJ7tk3C3ivbImvK5DYSEyMsSa19gZy78dVTOM0TA8m29EXtfMTxFwIrqbC2PVz8UmfZJpCnqoIIeIMB2Xgd0fXQR57Uf+TjTpKaGwJPkAQyv6nvYZ4dhNAptj5EjGxygXBCVIKCqimu1apa6WDAGEia4MrvQqXyStgoA9WfSJtEJdjx8jZ8rWvE2mE0RAS9/cdpO4jD8RH+z2bgpqUdaWJp3L9LRNVWigx+lJHvwJEcm1Wb2niMB60vQ2vvffjneVtT2V4cI1HydVVhx/mFpmeQuZJVjsod7Lu9DNB9A6fcqs+XyUTI0DhRmnSN9zWoCooCdatj4PvxGxYviHrlFoLCMww8ZrGoK12+gaXfiNY/VsL7YxMXUcDvzEo8wCVPiGSE6dhnJEP3g2sQ9/XzVxz2D8UnKrNhad6ebgJUVD3EaJhniFVH9t6X0XFK3kmG4as04SwjB2p3FBe4YuLM21sxyWB9By6KkeBAFUpbCTrufw1KOFaxIsQNEj+LW0sECQ3dn5gZp+4gotM4ez+ClVN8OFFdfT5Gv1EVZwOJej2aJw0T3mrRrSr/XrMXE0Yqg8PoV54EOLxWUejaQtHw4xJb3gBtnhxq7df7PfmBanyVPqM290t6zVCmDvZ+PLpk1J+8Xmm/GVWY1TazODydfoIJUbb40ZBJ50QSejNQy+6QbfNhqQYN39iQH/cM98cVeOH3X7RHLYGs1g/RREF9TDHGit81hEcBQjx7Uz+4HF3pNaU8lCEiI0LjQDb1fvdQLa5r0yhCVpnN5rZge8+HgAZxrR+lrKuXyy7g01JsNhbQu0Uzv0hAjyG0JhoDRBGn3KM4UHWhnoysTTmPmtmL02MZs3fNnTzWIO+oQtHjn97YuGiDfzO8ou9PRow9EDO0J5D+NgOUjGi1/4AqGAD/Ur3WL8NTnUjPSrPa1xjMg6+UD0OyegGFLBBXDMpiI4ZkqM3KJzy3L8CdCgo3gJygHlTS5xUtpTFqEwM+H7igt4i+udixHtAdEYVkedmIyaNxoDIt4APMyxDHYPymlIIXVXvuKHx1RUpMofm0OZ2R6yh6lTvVr1XLGc0G87wyj/h3er+Cx+DFLvS9t4Kt1RCxEDnO0NgttaWygJRVj+48Dkph5Zm17RT5sodNueoulaBNB9FPnzHain/n6/Jq6fMvYqr8BDJe5xfnE6GcaP5ibk8t3Y2va+OoIvLz1HUwnQypvgFTJU7VAil7vrCsjesDDKFw6sEzQlUl1SEzCiUn9O12wdcdj0SB6287CqgfFm1PI4W2he/AehBvJB2aAKfmWlXEXfu/qrVg7dpm2Mr/IRrOCdw9LKqRw2z8GdLLBIJJXlOIyXNZgk0OjOn0daXHS6rD8dZdWh7+4TveCco33egdFS82mgd45MSbiXwVP3Jw+eihswwKiPYykaWZE5woKI1m9HpQqukpqKTyEX2GhTZOLR9L9hbsIa37iK8lXpLy5Ttnln8jCvtgvO5PQQ0aVtyWAFl0Y7ItvZrDj3jh/oLRhoOVrgVbRkNyQW7IpweXungGOPiETxAYupB7fU1pvPSEAPVdgJjGJFy0XyqjdcyS28pG8lHywZtXxIXz1081+A6MDZ41ZrKNoO9kyEGSx18ku6kH3CMdSiZO9MaSOQZx422H67xOXV2P/NMrTFINgiv15lw4VBC2vqpVoyAzKvYM/SuZMu8KIKezrJNRZ3jQFNocJz7EhaHvma969oWZzcnbHxeO22hTFyULv+HT0dcA9URI4/OpIQqUpY41VTO7XwE0StSkr7hBhfXVsBSB/Zlajta3O286wgAKksT+w45+BEgKBS5meaYWr3DAaM0yAkwnktdynKp+2O+clLoJdzQQdhbJMr4dS5Xz8tcNPR7Clt0b6reDUlCxONaeMNp0OW/IJacO4PbZFJtzkEYf53tJubuX00shwVJ8h+ImZQXkkeCzL89KW9hvYzpZesRlsQEpouW0Cw++XPFJikRsgDkchxCcdNZpxiEyogFlMtr3rdFQ8paDJnhQx9amK+dcoZlkU1uUKR8ViPSuBShlQ/XkXkovu3GwCxSagutixL8eWNrrfAk27AEgI62n9zyYVZzpNCJqadah/f+8DHxR6taWuArMDVYhpkSsUddNDtX9cl6e+Z970YC3ZJO0/PHMO9XkYZImGLqT6m3M0NVEK5fbRfwII1CwnCFzklOzVxDb+3rYqCn4JaQwpgRBDFTJL33Le/k668/8rA9NqnPMDynqmWmvHGq8YDGYJcJP73O7922p+WLpofhasRZ8ZG80UnuE3qf4AwhdlENofg8t/LlTl8W7ERBI8DV4kVXuMzCv9RIT1NKoBd3eqOU6CZ2sYwfqSXQNTIEk6TnXwOqgTluWebNwE7aMFmTGhKstJVpZofwriMZrvntUyIo+IHZvNTRO+XR9HlFWqBjJqq50mnbVez6Q6GuSobw+03Je+xhGFAnEOIw6/kIj6UAdwM2IARb46fknva2tISSEX0uWPc+1cnD3wyqYOYJuXz7451Gbwn/s3DdkRQqiS/V4qutStBU/kiSrUK5101/LGLZfNMDp9C/DG+akwEwx1NiaND8UpocjT0wajZ+zl0FgjJwY12yjJAi81K6+qhEJZIyOzlJbEoGtwFCxl8oGwIma41q5P+rImnlxmQb7x//UBwYsmZ9EVttlofoWEAZMsssX2HoiUu6EoTgye26pWbEeUeWxO434CIXMn6ZF6PlrQgzMupKARakPYeLfxzdRMhdBdqQ7qu1Uj21XnNAS6wjRp9uETP0uUL6LOPcsEHoVikrXNL5cDEZ+4LyPcVDHqoc933xMkn/fux3cqXWQwsXU8Bp0hzIoLwS4p/Qe6YouFljkMY0FkDR3ay89qC8ZO4DomNvWuVhMR+WoxMwl/OuQRaJmaju55IMhyXbjZLxSwv/7O3eiaV21o45gYaqxuu+GIrCyM1iTmXqwQKqxsM/jVx80Rm/b4RBu5uV/cr1/DPTuotSLZ8Ck7ADD3VVWLAVhBW3HsMa8vy27BwtO4GfSmrTxhj9BUb/xXAEdCPthG32moYymlDNb3Ex+o9ScJwFKJ5UVT9uKgWuQUErUSmJOLgg5AYBh4uyfKMnKJ25aY4P7PpQiQPbkwUfTWzFOw3hWUAoHr+Res98DmxdrCpbw61hRgLvyQr/zM5/z4WGhqsfwBlK4Cnlf1X3z9jwB1ok2UJBz3LfQ01QslPM9+0BV+6oDgySI4yRxyGkQxcseYdTH/wPBXMRfhQ4LA8bgrUB0jTVTnYkDYT64iTAyPJWQVPQJ/pycrtMDNenOWhxBWblTNlvAEkjchAb5C9UTus4bU/ukGGAtFsLIHugi3Uwww4xkNf9SdI/lAjWOzNM4qgCwrxHhn4LiN6kMPyjd6UneATs0lf0itjetUHgZPxwkrPMFfi1ZkfuaTMltvQIqAyaTOn23+tyEoBqXDpPy2r6ySVU/caSvRoEEboWoAt8MyMPoLNcUs8cz2kLIB4fHpSVblC25uzg9WBwdmHRLjw1B30mYM6Y4TZ6YvIkqDKWeAy+3P6/ZoWuIVwdw5lMRzv6wuyvAM8+lJVAD5KwNEGOWMXsPH5q0/cr5JoDdhVMBsvGbw520SMvvwTYWSl3h+KDO0m4IpEVhJVdQ05UbWOMwkVbSDYheFIew2IDWNMRGxKEAbtIx2Sw8g3TZfmdlPDBLTwftNeLsZvNUQw01ut3TrpgIczubbWPdOqD+gOcyiUA7vo1IKrpm1vEk/dBl5G1HlzyWVf+7slNQ4Eve/bhn2E6iDRfVoNdxOg3waTFngCws7OvkU1uDL5LDk1m4SNW9Alzb2JvMbIOwF/3I5fxzw/W/z4xOMS87x1BqxOHu21rIHWIDH3As0RWvTfG6AA6t7YmSiMu5IUMH7PNhD2glliVTAdR7vbIV3U7+WcK8WgCx2VzGC26mHv+5AHhjepHyhNCd43ea0K1yI2vrEUslI2ALB4u1cJyoWnTOd8mQe5l3LVt0uYSQkEyegI2pkkhq3KqWEfCKu1vM6atJhkHwT9dQsdN2lDqE79HqVOcd9fxMqzpESBWiFPnCizrIUg+3CC7SfYNk78olYtp2HlRkoFN3Sup/aoXz1ekHXhEHJHBNRxaVrdcVLaJ5s/70zmpDweTaTGt+QI19MTNOaCH4xC2z5kO9n9h0dhHAg5meGlflpcri9RTdfpyf15r9xLcDDEJzWtcnOBUHM6M9Tb2Jo8WNXYZ6EXJkkS285pTkWqoi9MvJVfSwIUJCpeff9NIm8Gc1nG2PyTzk68AmaldtNvl57m1ArmRGfZTZ0Q8BWupITP6KZXLrhIFlpQMNGbhcQ+yCc/1GxHqx5NtLoejlXp5CB7lpV9o/dqAbIt5xjXsxgm8HvJabFhR7jYRqByX90uMRFY1t/E9Wiw7HIzVuifH1pTXUZZbK9lm33n/dOc+DsHN9ICEuKblttCL3UwEq1ebj/iU/61X16H0FRh16K48CuixpC51p5z0fVOU+pPkAjc/xOJvR0sa+ZENgCcX0Cx/Ebv6fYTWPi/TSZZq4g0fatOQAMrOWeXLblGkNDsK+UvMYA8+eM3RGEgsn3pMQI9OeGgCNNIih4fAeE/Wpz9ZfP49GtOM5E4gQMxglus9UBfL9biYZUbSw9q5YF8dvObkKMHmnpVg4KIVk1VUctB56Srt9mDOIucZnIn+beR5vd1Xv1NbXX50IffnMGnuf7vG7ctVCtoB6sCOezpE+pyAmumiEsqs060aHLdoZOYBX0lvQ1/rQ2q19SWgZWRxNvHp8jJDo2vQChTbI4ZfQEyMOikFeEoa+iWEcmEf1GTfo/a5BmA/vbpeHJ5IUHTb9bspNLQ72A33VOP9yhj30lu+FHMCUtL6c++sbnI1AVu645+forDiwhTpiTaAqlUBvaM5t4jTae/GV97MYeoCoM58rFVsZT3EG0SMSks2ggrYuqiBjyUTul6NIxPO7iJMP9/TZneSHNNvxBS11leBB/4OUaA2SJKOLKh3gv5sbbPL00pbYHqrw4lyWsLfS1C061mFoSmJtrui6TFZCJwZcR0WG9uxxEP4hRGhznmYU4luEfE/XmhjEh8XPDgz94aU1e3jtcY4HPv4/nzWcoQ4SuBDajuvuWC4CM+D6EfKGGVMDXbZIESYVk+swZB+H5nBaV/rz2F2z3qwlLD9/ssG4gEX8+/2NqIG9LrlWuAqGVOmjk5On17iMudVhPFHhjVDO77u7MKm5l0qEph2JSnVTU+7bXoEMuuBeFleGO/gtFbDqhWiLTxWkFToJISicJ3LhJ1/4VokpzyonbhPN4GDcDawk9D3GUDf20MJXYdVGvtdaakz4HsBNGChkez3nf97ECRsJa8t+b0RrYGC2KQoQNOYST2QpC7VBX6vEJ9UqnwgBB0vhUfdvwvFsfnhIwgqJoyW4Bl91YV69T2VioDgodardZw1XPoAPTofEHHGVTu5BiJ+pMhunwAoZM54nz2mTqd7Y3CL538LSNBJYUhxyqyyVBXdhF74vsgeDk6TTinFqxwHWs4vPyxz3ov17Ee+z+YpzAurTEqklWHpMiuVw0l5EHg+rySJyOv8kNLL+7QDCkIW8pgD9LNfs4HOsWNiymjCZrsKNqzlWGvVkZDMvdsGO0mQMnwNzu5buC9pMw3/Ohu5cSuvaeRM2cUag40ixYAj7kOgFa7ZxTJeQ4H0hsjQYZxSYku+MOjIMHVBBC5XiF4P7znlexulSoWSkSEdec2UN8QQc+g4o8SIizAWNiIqH2s7HHvZWfe2jDHBUh2qvOntMXImtHRbfeQyPpeueMx0L2lYk1JkOQLslqISJ+G3X9LIVi57tAZeR7Nh7Y5ou5HzjjcRuFxl4PZ7k/YfdClXcdJ8XeTXsa2KrYgMY4d6VAF47Q9uUWOH6qKx9pnk4pz2eL2/KXSYgv/qabUSp+q0XPyrWfBx22qECwXtoMjsG8+PmZh5vIO5bHYV60zuxJYSdVDaXRsp5CTDKCCNV3Eqw5L1ZW0DGhV+Qs+MWHI8VCfGtejIKHfWMhKd7dt10bfJuovzFAFiVbq62xxSu66GqFlm8pim9Qc5nSTlPbrSSPKGxl4IM96SobaBaimpLTcZsQnjlBoRSUZf/3yuct/u+go/2lzZZtVWxWkCmciCrSJ3m5rTnRt9kl+OThBfOxvLqQ5aKCT05zLuK6GTCHajzbH3wDf2AqYd93q7fnz5hDONkgvs+xgbhbiJO2Cy0Jd9x+IUjuj6GDpWbCPV7Nkh0StHFHvlXXOkqoHzQgjmZD6efTgs98fSdkgkf8I3aW8OwhcdgUYjMtijQ//zIqepcWcqlfSNw9N7zBpktxRU2Hh1ZRYragMF6LyrmFZPckmHXvQ0DBdDQLBDSZ1YLSYe/MK2npi2WKwSWoM+8dMiRY2swKF9t+hs+lXeRNd2Ahf2LEstEu4e8NvWXU4OI54EDUx/ZZg2Kx6aU+qOX7pSUPqjnFQb4QezhWT7tZDJyEYkFZGwRS1xEPPEUaRpP0lNvoTECQgC3Ih52GZJlnIDLoUpFon2oSWxhhvcnJySQYRxNMEA+gyNI2WxAJ23yoJQqW7ZeyLcir5KnVOy4wRX1gm0jWWoDPqk2dFZ5euPHhus32gc5HcqE9lnWPoXR/5mNl015o3lxVTHjC6Bzg1UboYFqrtx5b8yux8nqim0+/xTg/xaKu40JP9lJu7YJPe1JMpp9KeYEVlGihZ37FHuFg2mYcnoFxvQB1Tc//1rHBJ3UmYTkcqHnvX1hSVC/0RrvTN/25spWkumTKCvMMVICJmX9NqRrF3aAl+9qrwuuyfaMdLlSIVP7IxzvIULImgUONC+Z/Rs8EPXGxLUKI4Yq/xhp0ULZc8FfSHR2oUYR7Z3PEAZsjp+agBE5jB5iXww/5Bs401T2hGjN1n/CD/s5BtmhP7PJfwj3hvsFu7gm15aqwee9JmIoyEiRnY2l26seAY9bJ207p89MjlRMOC9VpydC6hRBwWG2yGQSTWrHIaxTcDMl3HuBE24SVA6uoLrPGtJwXGdJ0VhoskCZjLDTcd/R8hQahXIqthpnfHBTKjbeFfONBsh28Wv2STpFkjb4onqCG6Hu61e8jvKuIrcuMcguT2k0UCdBwImH6Tr3YW1jc/KPmJ4S9VY6d3+oJ7NSWAMw/14l03b7UQhu+JyzfuTL2JsEQ2DXm0DbpGQ/z5DM+Wd51nInMbcIat94pTJw+Pb+kRms+6ymTbnT+Z9X3VI2LBfisod23k4tJhb/Q538fzKJvb5ky0M3F7XE4NS5fAWSyZ14Cuu9G4rW3FShgVR6GHYFHEWFvgiXGilT5qQ6ke6kdYaAwSw6sNhqRcjcoH0mEAqcbOHr2ANhxPdw928PPfPGMvPS9NllFWEFgHqaXEp1lxoULiaky0u2r5p5go/K7V3emmerNrk++yI351EF5nCyfnoQFdv2VnY/vAJzloF7UN8thXdluztP7pPRCigkGgzwOPU5J6dcQm6m0KXeo1NSBXARpeatccJLpoR7ZdJvS+KdSdi3abEQHCze3wj9nZbUktAO/ilVPuRiSrTJLfpCU+9z3GIIVjE5fY+1Er9J1O0l2Raf0Qn8jGvWK3HuFQTItiRFMHcHO694uR4G0GSYagf2PG+QCD35VkeEP/oXjArngH9vZtvwGcilYBDdvENfUOa6Mkr9gfVvO1Cxtl00L1c+kuQIJov2IyLm/3fZb1WGGY8i0p5+vBFiuBd+xD3c4WH8g8EYj01r3JO0/OA7wOjFB1/EILn5C35BushCsdr1+rQFdWRPqOYvKqQzZqkhXALVhVob23ssxTP9KZYhbwtKKA0dXpRsrCb+YBlDmQFt0wShAYa34VbyklupV8eq+uEthTBDSl0XUx1DMe7pUbC1iX0deUW4TbKFzCnGzFU6EljlI11+HrYJUMt7Ps2X1yNusSvvDomlXMX8Q0IDjF7x997sdZRBzuLTmMgA+zpNS9xhatVX+Dr7JL5bDEln7ELtLw3D/Owdk09IzYzrlXpN80/sFjshVG8d5kKtMgtr9t2m+j3joISF8QowvHXZsTs4n9I4hXfltdO07JH8UbOGfDx38eqH/VSWsb1lhQPFZb289Rm/GT6iTHZIdscfJ0/Rkwctlg1jZ2JgNx2lN47eLlqV4LG1ODw6nCh2SWcJIjwlnPIqLoVJE0YjKQ2EAC9tj7DuVHMA5eROgH5Ov7a5U5nl0OdtO36SnXKyQrZupLYzYKi2etoxfYUWfZaRU3naDcjsDpgMdQMkPLf9vVcxIDWj98wraX32NbwJCCH3qOMYIcFcW0m+9jNx5J7aKLWpckfKv7Mbmcmnl8W73jjdWN8ZSHTiQLLak8kSzpip1zSjf9pkpYKLVtq4IR0lfxzlYWGmcnYi7fgpS2cP3bGS5h3cEN4BGV4V3kVm+bpFNBa5/gaxD5CJkuymWnQdf56cnT2SBeFslEU4xOUOQmvw5Aubb7oDLhft2G5Z1RAO+uS43x5sJeGbrZ1zQZTLyWTkQfVTVXNYp+lOGwCN4AVRhjwMTkUBUgmcmpNr0a2x0PiUWHRAhAU2YEBnj3YyGNJ5Kd7XkLGMbfWM2YAxwB/oriy88Kd2JIZYwrVD4UPzU03Hh3F8StF0VJEi9h+s937WBBT8IEbIXmYUjUZUUeiQA0oulYoINUqygyWWIbTlyEp46uOhbwjIX/bP0h9fTN7n4bdpMem2jhkkz65QJCH+hAA1dh6+V92QrUcmE93Gizv2CWAqBp8CjEwPB55y7kZNKnNuBOlwvpSaRRf9WMKvog/ZG+Bepm9JcVQCWnXklZD+hAqM+HpODgcHB6SGcs5yRmOeH9fbN2wmtmSfICdHmL95ENKnJa4Zws7045oJm7FLQJDQbsiimXa2/l1DYxeEOmFqEZPVP+tMnleRdeiatzZngqet4Ev7742EqmWyDIK/DprL7jMLsxcg/ypC6m6inyB0KJ4GhiK41Tc6NeRSvbiGxW6AB2En+d6+tk9hWTfs7zo4NrY06qY1sOqN77qlKlX99qbNLcgSBiOe8QMWs8QvPIGYL5ZW0sNsBqU1alQ77IjB5wu6H82HQpc6BYoU05h/ZdKr71m8kg9htReu57vV8iz+K/yyYPW6Dmmqbe5X0pzMAz/3rjoVYcUHxFm0uxA+HDNQYIiJ++kjRVDtI/ZOWxasJWKdBV6PgI+62tDTSXL80Jf0sjVIyL8lJEd1Rn+Esgb461CyP4xN7+Oygtk+VjqKqjCWMc3/XiMx7S095M1oETOPlyT4kLGfYQRkP26HRpXzoDd2m/jUgLs+NCJkPYqlkc4uU2JyHXUgQD3ixr7nhPFvHa4yB1oxXR9Iz/KJuIySUanUVwsOCwguLj1RNi2Rr4tCtNomMLJBilA6jn5p+uvp9W8JO2R++P/YbBJTU0ArCt97QgmDn9CmS8DE+Ezrn4g8FCrTN+TyeP4jLTWwiLZtNkBGYbYNRlgTEn4RMyQkEvQrBfELhoyd7sJ5bEkqBaVR1EdOEjlAyPDZ96jfWxFcqNwpzE4mPY982DTkumBnuBfQCh2yA4kOCYePCH1ES2sMlnTRzVxFZTk30hMEKkLiz17fRoGm7VYH+HHHB5L4AOUHh3CNHaK2wyxvdkGZR70Fhoawd9n9EbVW8Hd6BvusRrMAbTyXntZQHMoFaCbXrRXjFOr2K5cCd+bLTLlBQx0kZLy6S+iE/nZymIBCHZSL8Y5qs/gCg/HWAxsYK1F7+75jir39LCTNFAACgau/l8SOFFAdPtdi9YTMATOTc4OkLTuK0fQAHiUwxptGAjl1Xqwo3PSNIrNvI2O/+SXVM/4WDB4QiSVYWBvpJrStu9MxME27ssUTDtM/vWxVZzz/GivvA61DGaMAaYr+ioAaKkOBvPDVgHYaYtjG/im8mU7Y/LiHPQaAzfkMvFOOJUL2SdQkcpy6nAbGzVn+hslg+VpiPd+00F3edDSV2O1jVe+I/Q0IX/OxoQyo3qCujo+LPPx3c1PyMeg6V4xRcXxgSm3Ci3lkrjCvY081lv1h/8jFPGrSj/cK+sSPufSGG47glS99ljUunlV3KDMwGs1+414IfU/s+gQnYU9u34cmwQScHeof6REtbiYizTksCmlwRYR5fXg+k1Ust+9yP1shZmhTcbjuG0ZiWBom5lJaolP7eiS2i0FWfJXFvOBoJr6FfoawXSTyCjc0W0YCQ2dhqDIrqzK2EC1RNFcMNaVz/k8SwrvDxmtb0UvYUHhuq9EoIMx8gmwHnWsoCczpmvhn3bgWtvn+KG1gkS45M8dHZn+cpWmgzV4McfmD/Dw5/phmQLDeg2g061hu5+J1KR8kF7e6tAtPpBBb2iNvWFr91vbRLTplcc8ZD/pZ/nbrE7I9CoBhTJQmYtG3xtl5fzfhNJO3FgycmCSBgotLUCvBDdU2Y1tnBZs98xN+8fvrlq5MNTC/DSAu2+LP4jcjMR9HprFAT7KaeHp17VCe/hA4LO7puC79TGMT93NgY3BClSLE/+OkIS4nLBmRpC62Jo53cfr3V1sqJYk5pQ1YTb4/ASA02n48aVY3ES/ObfrU5R57hLFnKH32leTHQvejhgonxM7nb3XVpf1qOVY066oI/a51G3S2WCJph1iwAvK/1iLDJeniYQmN7RtuvkD89RXKm4RIhl5GM+XRDx/6aMfHiK1uYt5NGWzFSvS7AQHae9h12knOY2UUYzIGDtvPTTqm9iDBHm4YUKkmeqW4Y5rAipYzIBSy0XrfJl3rdBFjAqIHhTD5J1cTC10IDyGJUS0LAA+vsIZE3KQwGUGeHtwMmxaWTsGOeQr5GXm7G7uEDri/fXJ6H/M/KWWUxqframbhRLoukTjmbLFq7chg1pOpjzAiMOHCSwWKwDiKbTSPsLv0c0eoshlDCudyl1Ouo8XDipLCv7T3L8GE2Rbkwdv7TQECas6LZIi08GvOr+c2uOjk8CNOvnmmJGYhI5UqLGzp0xgRNmb7dwx15ztMX5WHTP+43an+eMr1BdBnwt6h3rQ7m3coi/FXFS5UjhIOHCxZpqVBiOVL82PqAxCrBJZcSJukYCCXXAAnu77eVJ8Tvl/Oq1DVMpSlYwwnOfsvKlO60O49sQeuYm9tMx6ZuYtEy3/mni2/POYW+ujHf21wof5VdALzha0grdKgJh/lWJkL7L9tmDSHAy06bef1A0GcC8WQCqq0w8kC9FJH0DHHmJpv2SfiglqfeYgL3Vzg3FtleKfSMy/0wZnSdYtceIzzpyBwkM95VQFFcsUVjvSveLJ2JfntYbdzf9HcJHLEjDW9iCM6638uhul2ZJd8o79Lncphj/ue7uYYDHhiDKBgeOo69dhsFrAg4uQ3S0x/eCujh600foDvhdPUVXKH3m4tNdonZlEpv5cpB3k1QtNmPlioqepIMjgZuz299vfCpOPfqO0qAFi2kSPSIg6hBuFQVWveI3kQJ9xGo/XVJ+pGM5ZtgC3fMIUh5MG5GN/FbcBX6iOAYXR303n9QibdqHkmDjkL0W4pj0MV3FZOFuXV5KqKVimd1CVqAGi8QEzOnM72BBjIua8ggJxk8HEOBTLCi2Z6bZeCT+2nHc4e3Vz5DDJSSEd2VNnPIDf5OymsF460D9bUIJO0AlfBXcly6rn2fKuy84UrN5JrH8Ph9CZw/JftPDi8H/onj9qtdPo1WPkbRiUECnHfCU42lf/HPZMcEJPRvnnIZDIYgfSFZT4F2n9KeZCOy6XwVmsEASESdQbk9t0m/P9/omKJCrxejuQqiJ/4ialLVN5l5CNLqXvwviW4sSVrmE0u4rCszdK0/dhaxb5S+IXWCrck0SsmhVUDb6e/to2vyxS2VMOZVO56HS1WAixfFe6XbL3atEqTNDgo3Vb+Pqx9xGkJD2u2ECEWMi9ypYnLMpnrCsPlY0PhHFbiWyd1TBP1/WKPjxxRia0mfgGAmi4jGpwxoqK6AiB1U1eI3PzhxerOfa5HECe7aiFSg6AKdy9SYlM6J7H9NXX6DWfakadcksEK+vsGkldNwfmG8YkEQix2PNSddlWADIjvx1KG5XhyUZWYq8Tg5bB6Twh9niyp94YSThdMhOO4ah9R9eQrowC5DCs9FbwvYYzSHAixPeipY9cxXRgPyX6WSJg3exAwb+JokulsZtyK6CdYsB36u7pLqQgrlP2CUVDFJmp2gTDcSpYtAXiNUb+x39IHfRYAhM39kPt8Z3pTH+DuU9oe9WAhEpKR2NnHuCVE29FZqb/Tirg3ewCOqRQKoMi6FLb7lBCDVk3fB4Buw9GfIZOIqGkkLiAk+dj3Lig/hamRAcQlA00j3EncMHMVw4qdmUz4JJL37VjC7WBhhj3ADMnp8ltqSRPygMAim2IfVOdbUOLaD7blSwxYUTjRpB5MoUbr/bUXoWsSg4wpa7vos7g6fIaH0JRj1ez4yCShIrr9qFXN/HHNBdGcVfxXOI8XhwKCJUBbP+y7RL475dpi2Dxcy5bySn4MJjaQXbL0thFDKc7JgDk0PsCtGkFTYxiRcARMH9+KinXPifv76/1UTR6Cco6pBK1rzpFoq5SwAQD5gXG/vObntPQVQl8qbITGWwhvOjbkawo1kE/w9OlnNXR6cNgLCtDDHKypwV931koEDMbMuhASAQtllzyAI8WVcjUsI7G3C4mkr+KPFiahcOLMdwXg7YXFZgx4CeksrL9vPOXjTQJ88nfM4LOkghKyI82iH/jYIKG2w/maUVHqy2wASsWFWF/5ZZCTVHSw17aguGE6fRhUY9EFsWJsBJ3e96DNF9Fa1Bo6j4fGLzpotfptRJvn+nIasqmcqL3l2JLDs393iWNG3Qjg0vGG6NscLKu7A16tQJKixyH3wV639a1xem6mZePUVuxi9LqjkrhqRHNCkZnQv8zJAPsfk0QwFNeJPD5T2AA+B6cwxM98oHeDsn2xzEXXpmsOJMujXR7kto754sqhFZfQExJcUXt4WU+keetda48z9El5EXatGVZ9i9Hi+HXAw3coM1eSnoBNK2ilWfAm5xU1QxwlaYox1ZdB8jHyNqfLZdyXv0XuKVhrNzC8axpcZMTW1pc1F0S/V3aN8Q/3r6uCjY6NTLqeLu5gFJG371wTzX/kL4IaaSvSetRi7qAQo6z/oLhyirWmPCBO9/I7JsmTLeRe8rccF8LD5MggI515LnMaofmooZl5ciYa1OU9Im3qnnpLI7FbxAEvhR+ahQqyYFFWsIDGivia0Wisqn6ItlI/u28J1zdF/r0MHa0U+g91HL+Wa4gbB+PcOuvptG7GJyWP1WrY4NpVz1YcMD/guAuYsvPN9QcbJVHk8PwKxK04lMi8bixrMFOpcuC+QMcjpUhpOX12zwfybOsoiTulvgRwonyMPoEwud6EY8Xgo0g0GuHknCC9DWjO6CWbvWUTmjCi/euD1D3T8j5P6ocF33OU/Ey8M+GCKwVvKyN6as/yGOzn6CJgmOU0y3JzeNF5YpvZaTP7hPNP1A4psDF0K6sHnDUXGXUPduNBpye6GZGEkNw0C+W4FNASc4FTpU0nlZztPudY3IHqk3aLm0fy290EtOBF+BpT/4E2jH49byoxnIpmXzeN2xv1UII48kM6DTHuRr1pnwgGEsrjrD/KjxBTy3AQ1UoEiT4GDHnS8RLTa4t03TXLVhBctwcl41x4ALw2Z3lpyHn4fUmDv+h4q1xZs6cm5A0fKOZaJtKQm1aZlTRKsOvc0hpoWluCwRFU++0Z76rIu+N57RKEBqf78YzVVUQag5b0RzN9rwZ1yrYCMOzXGieiDZOsgtJGIDglvR1BjuvUk8ZgZTSbJp28OL0cY+JV4ibR3mS6E+9p7CrfqjJ4sASW5EVCZInrnvd7/F927fnQ6o89dnTYrJxzygbeCixfU4sgyKl6Vn25CqQuW4X4bkLT4qd1Zj47smx8tGX1b7Y0zq8TB7rDn81Lax9b1j4sqZqmVAWvjObgriIeNsdYTbNz6t0vBp3Tute81vjFlNGwHwZURVpswLD9h6YqUPU9nVO9bW6moF2UuSj5FO0q5x0UEWwk3zR8UAS3AIDksw2enqXOuHp6m31km4wQWTdbV4Ejz//L5m0IT1INQh5IUME2oH4qaPWsGxIMi3xsY+/REVIyXzsrZSCLsp5OagAQcMO5wbOU/Vy0FQsEEaONXSefxL6ga5OWjefJ+/5RqcTlps3omlT+MJ6vlU9w7ozFYAprh58UMIU1Qfv8QkDEv4kz8FJ4v7rP9hbnNJ6/ie8UBAu/K/dHnShhHBjb9zHKd7edHJsFdq7jnqtDD/JhNJQmkE/L2A+/RgFvd6gkPO8LnpuAP0cDsQH8/BVAU0cT2KbtWYhMCW5TExJdeKf85oMzbNdPPqXopFP4sttRaFZkzfijSz3UnMchCF6cT2ZAHOrsNrvm9oc+nzyIHJmGtt9bUBamcdQqrXK1c6II9kZiYvwAYpRwRVrLy77gMa0WoQn1jgThIiIZIm1lVrQ8r2lgP4xU1kYK7rtZafQG0qliCEAMYnpW40wG+JrnY1HqhThJajuoMDGhOyq611JYhrzMEIPAv8GjJjUjB1DfQia3KB97aWt27xMXpnzImaQbNzg1XJNWsHPBeLQG7+V0MQqw2NAxBXZs2TuTGi/s7CzgY5A+WoJaeC+J2/oJ10Ggs2x1CpoAJcGS/q63BVr/eDw33yMBbUJSU7AHhT2P3A8m1F6IolCQlaF32lFKDdmjhrPnn8/30pz8vBDgNKmQEm/n1b+W+3H4f8/aRjJvrt/DVu/UU6V8z8YftSjNbelFp5pBA38iUSZXTG6VXYFb8DBk79YL+aJcHzZp8DTg2m3LeZqfS7PiifQUJbmdCAS0cMam5NOJ565g6tzVeZVNJ8g5PuRhpdAZN3cym7x2z41TYkm0iko3ix2GQ4n7ksYRGLY1Bz36ja7BkuGlCt2hcMc+4fWlUfKoJYCGQTCHI4k6U03EuoE0XeCZZENthYuLX0rd3JN0XbUMTRoWrsa8CQoPceYUxju+oUa596pEZtFGqAIjK7S05iM3VSr6iAqMU1RBLdTX1FSLT4vU0WXYpbHg1V+OA8nl5Uj3lZ2tveQRU5cj6MPsxvWkVexWRkUDqNG0MGAzdDFNUJRJTuoSItuR9v/GJ1Z9S2NW7+i5P3pXKlRs5P3Odn4MkDKVYZEoqsYGu60BllmU/TDqxpdUoAeoSTj5RzZyhAJQ+IwF5a1PEpUcbumN7QGv/QzJ2zJ2uoI+QKYNVrLIObuRc1aOffgk0mbOW9mRNc+j8cnXc9kgBdFsSXCYa6VmkqrzYMPUaOR0fw5tmQwkM/80FQqsBtt7KIzGt4eZOJwRwdOa0uIrPQ137Mtnt1PWFTfT3gzVXxqXL0wyGfSuOWxnfK5EC6aGb43vyUthVM1m7/5ZDZIWToM69dSTF1qYrp+jzGutmEQHdIrBSeaTrOXGzSQ77nppBulS+/0dLaFr+mdxHk0vAg6ttyQzmzRUovBAspnDzAAbF1whEbSyomnKj6juSZmmAl9fVgfygsd3mILIy7/zKiffcXqsc9S3V+4Gw2TkHjaYAMXTP6/4OsuRHXWQebE4WI1yCJOWsPOF5CKOdLhmj6+ydZXFHvgZrHPtcr4S/XzbY0mW1g9YYMO+cj7Q9yrikUJC/KDTFY6/MSNT1O86v0HLse4Ami4WG9YgqirkyAArceAOiCUoTZZmH/QriuYXpsRM+lflfvXMuDOee3bwupej5EH8hYt1fms2SM5OIe1XC3kc8yI3Q1QHrHbboiOSn/VGK/pyHL/050rskipD+h2PVg1RqSriXz4bwZ98RB981m8P9n2IUAfJkSChZj4Tc2qJB5jI5rAg09MgJ3sPGNkouGSQ/PeryVFIQRF23kJNnnwa0jLFnSwftDwVQCkUtu0KSb/4YHDJQ6XXGfReCnsViMRnepYq7W6AKrHqk2H6pcrVZ5bf9B7HzPzz8GfK7OL09nsjSscnQcS1Tk6uw5vw7EhYeurs3Sjsb+JEp+rpRbN/y/+XoWcmb/wWB8nZwgznlkEqFQ0jNU8+I+xI1wPn1YtM6jB8GDX96hL+bp87cW1Aw8OwCea0Tfiov/nTIL2gE1UKF6vIRUIUkKANt7n1YJaPEzWrEZpdHhEf8lkfoBfuPCMn3o8+JLWmujJMHjRMDdSG7tdTz+2wt0aCFhMT8dEkbQy/ImvtPVrQbGzqkrUUkZL/3X+3IqCo7LKSKGmZL846Q40raoTxQn4ANCcIponDS9jJ4wMmTYXhNNs4OCvg60JmoygtLciSBcldEnA93mmQ6dfMIY3jQpou4n3sFaPIb4nXvL+Ua1e0MUny+qxz4dY/BKJ9gpKyae1AliZfJc/6mT58CGHmjEKrwydUnsVur0ohO4yLrOasgFRJdyveA9SgTIu728AKyz/HgTSyXfI5yu10SPG1m8ZTXKdLwi1Sb4w6YXyWYao7dBDxkh0RpOsfbn8IIZMLNjIxn99BX3Zd+l4XyjARfY2TLc86vuKPjA+bx8lF7s4WMIi9SGZwNiSKg+KooXBk/VOk3FEaostNNJy+Sqqvrwwlnnwrs4gMpMfofhl/H48G7Ls9fmQETE9E8pEUSTqlNZkle8q6qW0Irzzm2PyRdJ5HNxRDRMXx9oIDR5Mob9IfNEu4G5QA2Retg8t3FdpHiJBHbKmgC21M+Sup5biKMMx2MqDSkcymyCLCF/4HbTAe2Wrhvu4wSVp8P2aspRRld4TfLKhFs8V4ew1jY78ipnIHS34L48AxSeY0roHSvMEyl6ei0POc8b3oiVeiywRF2UHUO15k63y/RhRYOtiOP39slUM19I4/oNMc9BBrDiElT+tZ7j06wmTtHsjShAaasadGqwQADIvq/QGD+KF9N9USJQDW3a8ALo+9Q5v3cjgin3FejVLmkosCWY4Uf7xqEDA8aS8vLodzyXyLkiwPPR/saIoVqnVxFKnyUsAE5gK1LCR0FJwxkegAlLhw7FbSe1GDYkT8jfqbWaERy+xr6DXBnRdVVmlFwAAqbv53i/bM4uK819JqWc07FQ8E9QhkCPZ9BEr6Wy0gewp4Niow5HVmSUcuEHGSjguQz9aqpiikRYw0x5SGqydUpOPVDeOnyEMi/XP20y7QUPKk4yxAdTP1Hx16uOmXnQ30PM6qUnZdUmpg+Pqxr/kfsuF/mA5kR8V2obZcPEZExOeN4GjZtoCmdh6EOAK8gUL3aKB7dzEvcchw6Ge7za2OrewjV4PFX7nf5h739d5ZL5WAeMKrVtMJerqA149B4YD+2CB3GdCsMvDKpcGJdZzrgDhr/Sq8z7RYFVbktyF4AELW+dBicxgHh67qhNuaUH9ns8fmk7vO3DpvXlhM4I4IVdwKqWMuJkTCUXxDQyLoBB71TyhGCUESmWNSjg1qf+b15EaJ3/eOg/mkeFmUTYR9em0ZLU2DvVFhJ7lj+LIlNOd1E1cWlflAd1i4eLdwqIMylp73C2z5UxafXzdxybuI8EaSmhR8UvT0pyfe4SWmbe2UlMNFxgmCg2yCkEyMVpqsWvcP7I/ZoF0ceYciaNCt93C6NDg/kpzhTK9u8gG/lUYvGp9/wq9sFhQ1jkPikZGC9VFyoX+ypDBT2oMcKs1MasmjIcVR80xmBjhZRYY5WhgmvD2UYRWSdYLpyJstarCGb1GzJiJZ4Upfhl1Gwjner14Vjh+NteMOLnBh/UM7UGBvwQ5vl9j9HUi9pODMKP2giVe3xOiV6r2TJefsvRk9igteSItcu3nTY04mCtGnQBeGX11VwjuMV2JMOy+fmw7FpXOBPqWz6Hq6tF0Lk4XUe5l95p7P7OBgrrEIVRN5a+ntUL3ubHn29ONJpeHe3aQufTC5jIGuzD9O5cnew2GNYg7U8T3pumpFkowog3HrI2rKz0gUpnXNryIhVxBxYqPQ04cb2SXMenfL9gpmH5Ll4vNS1AgLN1F/Cfx1Xc7mkyDJ4JfTP6h3GGpTHTBiXff/4jJKvvLIs/quJMSCRieVPwxM3mi8cI0OK0UdqJnIoEaF8izijsj0+tDZ4NoG2jhIo813H3c8xc5/wTdT2cif7nRNaxpfv7MLBiRAfhb00OchTiJLD6ecua5PLcc43QBtFYz0PiTBAio+RspjN/m1iO7w16TtNODWDwN+v7t302ViU9j20c5ZejNToshZkDCaCXESGXJWLoRx8WKFe9y3Mv18XOcSCG2n+p54ampBn2eysJp5aiViC5iyCer+rsgKONUGYQBrRkXzUwhIZ/JQzT1k3FcPQbXjrZMmGw0fhPZ6KaQRgCjGoB0r8j6ae3oDTLqUDAMGm5WDn8UJc353MXPUChBmxPcQrOvWSlMH3Q407vu+vPZhLw0Fu00yGkDhEVo+KZKaIxgP80bh0Jjs9/j2GQ1IkGlWP70E1GkWoo2Mqv4iOw+RlW9c+MT9LNxKTE9UV0xR0SxrbCAqYQ8jSNA+5HrLVsk8PQnZKB0CpoM1ju5VtDFFwZP7HRHjltNpk407DSbQBHonu/UEG1eCCkWeGWUmLTJiyusB8KRcCBod6m1q9CTXoyDsZlvZelOoz5XIR9HVHccVK7X3zb66HPwhje0VRzf/fiunXCNSP9052ipwv2QubjTml0hw3svX+zrtZqQQvtHZDBZqUQ07SeXpAl0xyFZOJSL4xrYzTHy4iuzz99yccGzOQBv2r++bbEonko1Y7F6stnSzVC5X0v5tO5Fd97CccKo6T3crzb5A0PZ1xT7JLuxZnieQtjSJmXEKOVekB0J3fAEZScCuVaFVEIuWEXvO/N5F5baoqfmLqw87uEk+SKHPJZfQopdNUqXdvNB9ITwluWD20Pwz6CA9Fu7Vtf9ESCQfKhXrQMjNVIAQH9Dp1vcTtkg6FL4aLo27T8a/JM9Gf1pUAoQ06J0gDz1VhNW6CbNQZcWQU6A5h77MD9nGzIOTXXJts8jaCUxAaf4Tjd53ewQIxLwOszOvlb10QyDLIoG5YlcCemRTwbk8xo9J5rbmE537D7qzZmKgqdz+wY0rl5FjMV3tIYFcNsnTR/fanNVGk8GVqB9UG6Gh7C1nBGMJl2Z3E4/QmTovXNmFSlCcNDJpqzuhSf4LtviS+JHDK48S8WWdCU7xdG02tJuKb4XIzpE/5+wd1ZhkHr89isx9M6PE4SQDNtS4q94YfcSytxvHEDQ8WxeeE/cxCBwXg6QbNN3f/2tT1M1nFMJy/9AlJ68pANh8PkAv+DCL8OgaUCjr2y2R50MqBzrCrc+2pZ9RzE+VNiNsqdAbVcEvzAcUkhGv879iUK9DbDQg5BME0hfewisZqOz/3m/xZ3dN1LqIar1pNefp03JOwiA3eHECr0RixyhPp4QWlP1NMsTIVjWsVone67NyPwtDXrk/pK20KTRRKC/8iSuGwkJpgRk7I5peCC8WrxX1q9pl0qoUjab9UHg7s6jaCURoOCSwWVbUATd+BakLl9v1ox9KBAEpDGR5s5jvDpJIJn+pf4HvuWZHgnQBIus/RQ+hJDFCG/4eKEL80WHQEHo1aRCSOcI3cuO3LtF9djYNaX6e2s1SE+9775iyC5bZUCB3HlSftofVaCb5bmX7VWwn+n32sIiwz4l83f6jcWdliS+FmQElpHAfo+69jBJFC5BHRriVUJmPRCYfgzFEfFUrFY7IbTx4oISQFjCTz5eYZhyL39qazUWzK+aR439z2TZa+9+DOV0mZKXN/sYO89Jmv9jEr/m+wSU//v9a5xPe87TQDG1klehClJz+EoM2GW7KlJ8fLnOVYG4qg0PjVAVizXgGwfD57SEC0dAgsz6nRk4seWsDa4P0iPSFGi//nISweYJlR2eCzzhI1wy0t6w5qYdHfsXLClqCjEKlpPksWYvzXI2dT6rWfq8drPdaUkAGjAunFxVX7iPM67VMHhpVnz2eVSs+tjHQMQKKhDIOzzUrVDvyTUrg0T1MkOt8Gm+d/fdBIYwWh3oeTPmtmntgOUQnbKxFFminyOqt2OEfzzfVQmyk3+Wj3YB+/7lu0tYIk8LDYb1VCySjlcFDhy8g1NXzgHor1+X3NOICuk0FxMlTLn6SGgx2+iug51um9iXr2uQN9+s3rmz+9X3FXuqnlHtc/tMG9vt6Vmt54amyXFqx0VwTkF+mDxZzhoPjog027wKSNb6bYQWzAc6jeohkhWE6TIPD940LUEiNxvR1h06ag4JfP5/ULYrUV178eb1D3FmDOnRHnK0/wkHdNyMBagKaa7qtZgAuOlBVgthCc96IurIXxLozfHW5fQpdpCIT1bpWKYM3xRMman8kb6tW0UU5Y19Pe/PtRPeV+GzpyFw270W+RtodPTvDa6plsnRIGfLtUt9Qzjywp9FQZ8WJgQlXuAAFnaBPS8HBOH3IJoML5ZFnnTECrNvM3eS0U20fYeaMNIl6kxpxaOIlrIaI+fIaOiFs+1aEFDKPWfMTqow4b/K/X4C+XJXOdd5kgegerpdsz1EzRhYaQ4xamytb/QarZvuufxVpa7cPYNgIH+bbVNB0gRVa9S+KGAKXYOOnGkKk0YcvlQDAddEd3RUXGTzNMoo4U9bwG72NF/9J0Kn5r3xjPAOGeD5tO6ZS7oImIS0Ec1VOMm0IGAeFDQKrh3ByyYEKAv2c6DK8owa6YjXnLxs+y7ex0cLge/n2QNTtJ33k8P1kije798cBz4N1CAjj4g+Si3TMu/Kb8fWErOrGxlywsDcuvKpcrzkoICpyVu8B3Uz7BB0iwxuHXNPBwoq+7wOcIwaHtrbxOJ55zDoYxJs5HeNb0hSfINpjRuNI3OnDuJwmvmYo9vqqUCXPK8cFP0fr2aPycy59xO675gv3utxzzJQSoUERlbyoD/z23VjZ++rWcl/xVe41CdVb2JLSzaQTiMso47Q9djQ52BhFW9vDCIObJ6YwseKi99oHPJFqLfnDw1WK7PPW3efDBIiSROYKNXc6dxBT4znDzpa5d9H5ZtJ4oKt0+6xbsizmi5feu/ZjvKJkBmp8R3Pv6UfY7WfZr1jXBo84SUT2KWFG1srCegTpp/5uPISoRl7XpO1ll3buOIOUguhWjdSIYO2y1FZfOHlHfAkQQCGn7rvjv4jseeHFcipcHRoH6rEoHsNU7BS5yDxg9jh0FlupAPGNkivDTzAM9nH3Uz6XvgfIxigbqdhw8qDNhZeWY30OFrp7sGeyFVxNZguNb4/M8AytBwMwW9AX4T1m0YsA1UcIf8QPEm3gpntMMpBEUwnsbRNFl5jpTFYa1NvwIArbAZcOyNhk2GXruvu/i8w35yV1qTsnZwezDLSfL6D/IrBieDiNj6Hf6mvAI1mkxmrWMar4Yt1nm6nJOAYukNaeKR80LxmNAoj/MfX1yz94e/LHh49c4nZpZ9a08TOG1uyGXvifFX+smkffWgUuj7CKgClq2CYotz8SptSC5XuugdzltkBLzFLomtevnIVJafr7Vug7fgktD+Ef6d0NyIuqjt4s9HmhqoPnDnki7m20Pb2j1uZl9Mg1X4mx3WhndWLc3pTFlkuZsckFYBHbB2nd58R3D2OMxUUWG0yrZrdJdS4Lxz3vm/KJ1k4O+P2+a6t1qPOtaUb1yIrb6QVcNqV47AGuBlfuC96J7Qwh5/DCzfO2iCO1avAHAc+d3ecP5R0Vevyo355gz1cGrpaPA/14DvK8vmB1ucfQAP1mzfE95JGQMA2scnFilmB+LUoKshXB+BOxIrmYqVU+BRUpgWk8FHPUB3xBuggYhigmOlUr41risKH2H2EMgdmJHA4Ndyubfie0HsCqOjZndr4eEFM63EIabHkYhuK4hFzZ7xARGCySB+qvtyA1GkHIMZLM3pQJ65EsfUxMwDAajcYfLbN/OFquf4GisXECPtUKQt5NOx0yBk8BFXsNAWat2ME6AORVH8tcgi9PWdtRej20kEluoL6O0D8IFHmXsBxG64+WvG4g89PBdUjL5BzCojIi/VRi/u9FszticLPkU9VyYFPtkorNDxv5CS/Vj6u/7SqWX4RINKxAixOxLO6UvN5xfgMgSzIZLApro+HahDnEkdNvy0vbDjXqByNila3KjtPH70d7ls2nXUIS5zvbo9l+ppG+nAzULC3gdsad0MYsd6w7B6Wuwbs5CbVtPLIxdz12Lr4K/I4TqhJ6OtJPrjDpc6XgcnIRRyavONGKUukdUl2PYjUsoRDsI39W1YhbswkKYgLu1KbcXR7vonAlIy8Uif0Ko6Rl98SX3uaS/AWr9d6uPuTEYJW/Q1Hvbv+32gBDkO30gWd1TAc89L6JbPAt2jwwDF/8RyjD3wbIkOJNtOMzGmHedM6S9+yMklR97pFKYGwh1EIz2R5Fdl2f0u+OmoRsiGfZVZB26uT9V785ZLof1t1kW+xXdkPPhqkiYXcDDbBv6+8GmT+9dI/f704pQDelKWcXx3OYudVJ5coVq6fhVM/oYZhM34N0olgoAh9nO/xpWkb58Cf8JCTLLdnFPUT6DyYqRBfF3X2XswMtKYEwTX4T+gt0tnPyYg1hcnKX6N2zNPw9NTiUnfukh9/WhZ3EVn29E9hq7sHxKBlkGbjICPfFcPwo9e4kCsHctXFHqfUIFE0Q8AFJEwR1qHs4YQQjx1aa/ZDFv208DY2KblveF81I5bd4t+gXIcX+oTJYwZoZuBoSMIChpNUOOwSHf0HLhtGNv+OiRSe5CT2m3wAPJ4AOLHtRmxhrJXDMsYSED6fWcO9CcaUstQ+AX0gB3SWbqlCKS8WFeJ8i1LGLuumd5lLoJJdyDagIHjeXCNwYPOwL2Ez0ZHdecbc0Ne/ksAOQB1RDOiJjRKZcL+8ocTzLJha3PKeZBbEUJawQudr8leMa+KJP81lq6ddLIHihWqPwKKKcbTXh1P6cjl03vuGI4GxC6aq3t0lSV4INInuXGFbTRi+ZTzp/jQpPU6NBw8N2ZeJXH4Ky7JVfLISsN5Mvm14u01sTIeIvZtInsDxj0qpCK+HlRnvjl/6SPZNCk9v6YxdliDP8J2s5TcGV0c2l+8UJcYeR2VD/mnC2J/cDiDAs098Qbtr5YiP/eD+ktUkt2PDi9XCrSdzitf22S0G+wJ4zeDMc7zdgLLpxqfF+MWKE8cV7uE+Xc5zaAPerulcM80CCC20hDVAsMKcszlDO9HSUG63Q6SdNuK7AWugJgnRfBg07k6JJJoNI3MNDVCb8VH6BaWXfFZTZ7zTei9L58qP7ZtsehX57Wan3QTKsAHd0RQWquav6r0u57bUZFMSYZ+sfyc3JlKtbA6ShxG1kN8kakYxPo9e3V4qaPyVJF4vz82nAsf56ILY8R9sINnkMRhpaXztQWa/VC8GZ3Kvodb6YcwB2mtxc04Qq0A8RJvh38Z3/FM7THwix2cQdhv5Mhf50Zf+QBHi42QE6X3vX3tHa1YJOB5In1EBp1SgxtKnw8Klx6wbjQ7SwJzTbon+bafh21g2TRb+W6huMhZx2Bogfxydj2plGgQtec82ipKUshOhYpFgRJ6/VLWpZkt47Nz/U/4s7YKMybXzkhiz4bUDqXAn/vwmKl2If9UNbFSSZyu8APh0Yh5K2SxSBI8eYrH/HjW20s3DbSwVeUe1G1f73iW+cdCqpnUMEC1rVE8YIjMxhXaKQ00Hl4vzA5vhta8Vv561a3Sx8ZBvj9+cSY5738HYfeNwr7hQt2KnOqJl4FuBF0TJkzXMpZEzpQgMRuLDDhcAY4TxGEWIWMJb+52UJbeeh4bVYh6uhH6z2GrdRw/pqdO0B026ARR1uQPkImW5ep5Bms8cAnrhU0Gf+Wi00quecUEEkIq4K+lw6bz4uOcrCSOZj+SwZhxQu6S4Y4AminFrVzZmrsbOXbDZ5qk6ML19FdJEcNzLzNXY+1m998WTV3ASsQKcYyBF3AanI2f1RejfU45nkt9FM6ZntzJSoxgi8IBavRbjY+eOPXM1iiChDOqH8IwWKnh1vLaa2D3aq97xeIAWNcusX2spAU6sj6O8XtXlNgSaH5AJokSqigmiY2joP+XYNTg7expcLdyCX8QTWYiKhmlKiE9tPGhUC6iFYS7dnoJ/5Qswqdk6qFvlMEkMw0xT0ZSuN/NUzYnUxy6vYfhy/kjHh6j9AYpxaQTAzcC1gX+aGF6qL4Jq/5HhlJLzKsn+Xv50HwyM/w5VDQX1ncL09fv0GKlCWQNgdzVajEq9kT+R9aL4BV98S2CfZfQcJVk604Eyr8VEODuO7/FXtuDqv/EZhDgrj3ONX7FWqZbkUrC/FwrvKnofesOA/pArAJ7GjkF8e5HjDPS1WkVV9gUCe29KWgHCDFY5b71/9TsWbR1JNSZicEbNw/noR3kbT14QwHQsFE6O/x/m1i+xLx0bxXU8CAQ2fl77q3YRZZvmobz3W9Ih++gITCu1DpfxGD7BQC+UvrguFr5zc8fIiHVpS5ba2CZsU0qRMTh5m9nclNtXr5dtLZp4OgQQklHwNVEr+FrnOklGW96MQxeUPBXQl2ybmbMTS+flw9k4IYbRHp91fhlJXpiiajyJxT97Q1Zp6JRvWWC2r1+LFTyGxuw01xLgfTcln+GguMO/D+oRte33faIxYQzY5LIGHS9CSGIJzzcVB3jeUzM13kC7bZ3uHyEsuNXF4OvuZboncJq1HHutWfssNXuKlDxqoAxaTf8tpfD5qYU6UAytl88RH9smqkINBPV86irNoH19VaMwK5sWppe/HrlptDx5sGKGotji3gbMgZXUJ0slH7QOfTUbkQpjxyboPgG8l8ad8YJHa6MfNJoarht2r+ifNoRUYIg5ZkHY38vkDLgJepdoJZwDLgRn2zViiSTCYitlaTLLOddUMuU8HlpvjXkQbiwPU1cHuzhWbWgohdf9JQa0rYBsrWpbadIv4bltauO6MyD75GJIneNWW/pfhTTi5T5VkOPQg2/ipOZ68ouujCu1yFMokMsUnjfJgRKB7vNQSdaQfP7xTJLuX6vbdC9CizxlZJ3JRiQN6Yl5R3bxJCaxwuhOW/bPOXLaGEFkDBVJT2TeLeLlTXI69+xzTTruoi36bbHGREinG2u+7H1kOaBIbo44vA6eyyLtM47rAFsIa0U/ACzlBHoY0cgTLo9dwnlFDxCF7oaKbkMOVoqLSYovX6Avm/M8H/JZZdhz1UAGxyq6R8AM9AD8kHNRd3Qq7Vb27PBe/O4Hx+0U2ImXNWcsiqzkLwTpfW4s7e7KlHMDjYXkI9mX0WR9fXTqGLYkRIMOGvFVlrA01bgDRXfHXAVWByJ41RIhsMy89/MCyyoWZfIJ1pIWkWq3namB6W6WFxSdvnmF734gEM7KjBQkjYTx6K+UQltnIz2McCfbIpw0SdcuPDqa5GK4oYPHEeIXYzQhinlC9NLqQoIZSjZOUtIn0IoaVLb86kqh5GyAgAT11r5y4cn2TeuMPYej0d8TeK/A18Blc2t+w2ddVARF+YzrNHSNMBkqRg8u9rsT++kbC2XeiRcVwfRcoEdPqnatH9S1VFew+jGF+JrSuqP0AjGu1NwHRRRZRAvkTCwpyUZg1ZYyAGfH2ow6qhnZ+6H0+v9p+yhPF/zeZRjGEa/LAPT0QtDFH+ymHci3000L2Y9RIeEPHiGgBq5WKq15fePBCn3LpBGCr6fAZIffBolCO7ISptQDrXpOWaSM/6L+lE4v3G2M3/iti/hJPo2oh8NyvGMB++qz2fB9vu21oTyvNzphheXo/KUq3Yav48BZwSQ/Mr/zSqP4fRroILg8LA43ImFAmZhkEOvKrAfCmYwu7nEdfa1ae9jdxcAIpsCzY25MfToYdcQRZ40Br/L9Nop195031Y0ZWWo0EI5XaYz47OvXJO6Pz4yLV4Oe3PDEUqZKXGKb1qPl5LPlozisKTSSRUyDt0PHjypS4loZQi6scgnwgMLsiGP62TLzpk14UBtPI9m8hGlcMFF9KnrzYWXwO302MjDVtSZV0mIdbhYxYsey3YZjX1Gw9DT7xHnn0jlFgiGO55DU7RgiAfNHjOHRTxu7bcXasE3CQhFV4UEU5Qv39FOAzfipdDktLIda5cSrVFgH1zae2KckpKRlgJ79hbgIK6OFEjFxnlAMKr/FAFQ9uooZ+vOj3fp5Jt22IHqA3y3k7jjq+zQ7bjWOMPlEJ/Lpv6ZutV+cQjSmQfMYQwdEa0RVXa1jEgQoVtd4w4haOlNjP44oa2WLT+tHD2YlEOBCy+9CC4EBgGCVQkZ7Q06EfongcZfQgoT/gBIWMxAMdg/auOzLz37bS0plf7mC4T33FU/OXfH2/i0aRcvO2TK13YzT3ixWBDgoLy7iOgPddOyrBUJJ2VsoPTDl8HK36VGdaIu7k2kNqD+QQOlvrRY/ICcbAI4f8qWgWGY4vUhy1VFpx8aadGTkFi1XmjsT45NPQ8ScuvFRlpS4dlXP2Vqylrs5p6zKnctjnerS5tnzh0Nrj3rrDqzXZtNMBfaKFPc3LZDM4q4EcMh5rvMdZ6ETP4hCHBX4LcvaKveRfznWJRp3mcW9b5p+ra98NEUCHA+MuuBJURyD0JQ8yt+61MbRNJviCvdIPz/Pb5bVGz5CR5NEmeiuqQLdqvvolLU/7ldNK9rtCm91BYzjHZ2J0FPmiRfjMKPVnIHgk4LIYOJz59Oj1tk+RPd2wr/GWELa1CgGQ8PjMGKnJh3vvvY83UBlkVBS8xL/VJ+VWnN86Wed8+ryNcZlJAWw13nh6NgJ+MzNGe1d/1nsZWR1RIOoVv19KiNf5/tCebGrqjx+xS+khhVbPcz+sIqWk6SkBl1dO234ky1pJGAigiCFKjcA36tKGFESYU+OCN65Td58vs5VeFYNMUIhmjd6W+hnvWrY6qRMGVphxfPW+V3jqlZUPFIK+rnU0UfHgFZyd+xWOlmtloIYp24iVZhgXW80QpJ/lInHEGx/awRDiGR5FoJG6GdOMh0EgIEako8U25XxYQ0V6GiOwHzbraPwZ/1TwGzggLWAx2oYEcYXnQ5fRgRSviywxTTDuclANEaAjpg7RDTW20jG/W1eGALie4ITCRROHAmHoEk9AAs6v72C1OY1UP/umhPcBAwM6WB4zwiStg5v1jOfh9SQEiXzHhiHJWqkbpwYsCcOQnaqQvkK04ooZXcWQhaGECqtUEchZ1AeaNEMn8Z8wvnEY1tVs+07CuwCVetloFYFmMO3DApLufG84gKbMuZ6sl2ON03WbAORIRkCIDF4VV5mZZImGSPETrtU55VxIRYccFZ3ltuFwzLJrQfwbS2HGjnIfk0ohr9FO2v3tDRCjltUkw/1WIoC/0EHz/HHE8UbkAITmr24QFcxflkMM1y3k6GHkuDwmcnLCjJhVbNNSbRxMfOZ/UwlGcxRZDDtBe9J4kytTgnd2Vb+wg0lFnF+voE9JPFZQuO+fkJ5xVVxOB5Sa70AoE/x5AUwfOAIODrdEOqYXOP+VWospMCFGuI04ZUSV8u//ObgV5vnldraBpdSSbUuYZz0/Wa2YS4AFnyDlt0vprwYTdEP/w4+dlTyqN0IO4k6J8BjRWH/oqS0/ZbMG6sViyFgTsFu+qEyQuDfBg4xDEkuy6Co4052eZ+yuLIpVvOdDdSfIrkBMNnEeGtCdFE9LWG5z0gFgxr8tYuBDCGk49td3XZ7/113L8YAmQsEc5O9hrvfTpkcGuM5YW77UV4kZv3kW35ikqHtYhzF8Ufy/vs1FMQspjB6/buwcNRBIA0vo7Vx2BzZAyuyqtF2qFgBu+x5Th7UujmcvkP4gLsoxrd+spJkJC9xPvOUJ80nYmGLc5Q/KTWUjejhsy0ZvOzGJOuecOiVFW0PZyFq3KxLemRAswmTE9a/AngwJ4XI6YloE7BPtnJQgQo3pHppZWML+cgdv9ODtLjb8d9YAKvxoeUQrN+gG/zAXHbLvX6qvUFsXCJpyiCjpAvDw8P0tqZ8+Rg/uqb+SuLbdi5LFFB/CJw44dA1c+hdUdXrsvW1x/QUniO1h2RCCQLszb7tpqx9VYTjIqaCjOGV27WQvmNiQMvk1OsZOCbbVTwyc5fDIFAg3Y8W5GsRP3UssLkfjEDkpBlfXnK4Yu4ufLy++dUvem97hhLkwinlxPluiFuoYZWozM3tmJ/8mAlutRoAekgsL5RdwkK/YRaxM6rF9t6bl8/1qc/mSWJeoGgXPdmGLXipSYAYkizUFPOAvFVPLq4EfP0Ci8wBIXHqNYp5Gw0x0BWkny0d9mCkEKLi6RMAIB0HqsVO5MclzAu0GzshdJ9E06tHqpkzAl6KeobHCs6iSW9q5m5mISH6MV3zCuiY9M0+tvGWSz6cOZ3ADXu+wGgNuHLLM6dmrmzMN4++ysq8c0XXdXhHJiDSgt/pisDHNkmhsJlH9s15C2C656TVjRVb6dbQt6RT5cW1wElAXl/SaXzoEQVNQBKOuYZVmhOrmFvQ148gJdhi5rVy5kdZsQf8EMid6SBuYA6vlZDJzcY1VrlYjARaHcQvEGo4XxMWvpgcq2btdWykC4H6NhdmpxnAfa7cgNP3VTn/wHuBu+T6GrjKwEcAsL0hR2nhakKRWOBpB6pNFKEBy1aBy5rVP2kKIxYwapluMX3dw/xxR7onjOHj/Z4ClknZwWKrJzRQWKmRQfO+Bk5gBeEfW5hNkTUVasJ6+gwITIfA05t59TeOq2+zNuRQSd58CYUGSE0eJwRJyk5mqRtbQ2rvMw1rIxr2nwx7O7NZ0mR4jj5CwqFPI/MMIhpcabgwnLD23JfIPTKE7rQ13FBF5UScuF/WAwBtKMBjfUp0Z4IPerFIa8Wx0WQcUfWFkjN3Ctso1lj7WjBBIhIGiac8+Q5ouXMZsevky/Z4C+JeM6M7hylNnQ0/vl51RZc6Qpahx8v1lQRuvD260xmc5tCR40wGG9uKUlczAm4RkuW0DjtUbdpZgWDpGCfntijvLQi3FC9HjK0OX4v9GtWSS+r3HtC5EO1C5qYWwzaEVPb5343ZF0EY81c14HaRroxXztUDcgRwrXyJSelcG7B6irq0sKyfZbmzuo15C6JmN0PxUamvcea/EyqejDRGIpy7BphCvo/blyqPRtfTIOHPpML6cChB1RLenPUlmtako8D9WffcviJ/6hxVL7cRPsd6FX/HIqwY0RDJjV9FfeaveeRoLJAI4EtM7MGy3TojwzCD7WsN8nxZzyhWpMWrZcZ+2p2tL7frPOIK8Nu/h9+nGPrALzfjyD+WUD0fMhN2TbOG53NZb6+xVTw2t8ESZIzHCo5PE5NUkkXNpHAdUqecxSOoulGL4xq4B+uZCCR22a/njeNLk2f0HdzPia9GIiVse6xIweeov4xCV+XT2KNVh3LVumX76NQlwHu1OzTAaINb7opwVWKeRmLsbfvSXeT+72SdSZE9j4Aq3PyVHfrMWt9fZ2/1KCcjCySx9QvKvlvgEcZqtWCRiuj60Sj3B707OvgHjhT6nrr0ZtR8fnuWp76J4TvLwdgPL+N4cFXdlH/Tai4JjrovWc1BB6x7jQUTGnyicYQ14AH2rhePPp9x5nfHwLEBc8gJbzgQ92+v5M4k0FrPf3AgowzUEZY7huZqI6C+KNpeihNE6PvXdUPFpTKRAcS9yAaL4piPgOPaVupwTnmuagPSr6kGiWgIRhzucmn45hDBn4sCxacHFEBcsAPqMxQ0B4NnnpaQOa5EBRsrg/MfwnOu9XMXkXZoa8A5Ghq/Ue53WWQwrTVqSmdTrh/FjOu9Rd5shbTPsMdxci/fAFGJxBKn/PtX8YBQZtnba6f1ui1GqrHSqqAWLqC/E09tJo9dq02E9w9WRB6hV/HNMeaUrH6idLiGu+h7WtXu6FlGLRsA788UcDAvO3e0t8kEOzDpjyzFDkmc+2MFoESGqnSoC+QE3PyorNUufR4OweeJXMVNxSx0Z8OLloguIegeQysEq8J4uqOH8LnfJxPR770+YCW4DM3BELqiR05AaCxBqBPW3C6g46U60cgeXqqWSlHps8s0zF4OOHjvx5NgC5RWDIWUsja/7UkJISmfGdWkauBwH7Ajmtr19kijDRpXYlUMdFN4yMlYHQsm4+Ivp0bUS2L9YQuuYl1+mMqIAv9y9C0iGpUW6Z4JIdlZVZDStqgNjv6mPabZcHewz23wmEqACBXcgRtkr4jj08raE8QIf/azjSihGifSiv/aoZLqV8kOOZqmwfH5HVotbaF7suO50A3CPfGSKzybkfpflazkyFOYmk5i8OQ5SFza+A24VgHHgitvjYtCNKtUyvOgAQdvxbCTTecYprEMa6PnSAqsjLlJnIymNzzjBePvQVHK5rFUai4NIcFHJlmocoUTkZvxBah7FNN31+uXYx3l1hGh8wLAKriIOWcZLZOafFyEKIdB4qV0kmaQBQElVep40yXHCvczT0RDT71qhvY0WDAUpR4RtQjkVyLiPoeV7WheEtenCnCeh9Wlht+V7fBPqy6rucA0GZfPtCIa0l6d0T0Mvni+cfinHfc8klEqNPb0o0cPU/3GSiicNT9gqeZk4dlcG2kOomgTT1xTwxQQ8BSR+00qk8EI2++4WL9Qmo3HssJrszxiynv6cEg+2Oz0ClIeYPmtf/7P9jTZMl6x00OPVVLUdNklqSN1fhUzoXQJ7n8tnTuy3trwKqLoQ9kR4jS+lsS10EDweP5iVZhnkIt8r59Kh2pOYHCy0vy3u7p7kf3fFTXkLF5eEyHaJsl2WcLLzQQNvEpR4wpgFqPBFSxl96PpiglzCORwY6R/RYEDO1NGGPRym2pZvDT1yaAZZIu4z8wH0xKhbHEVH2cfnIa90hxzLN7aSJUmTs+34ZP6ZQkJdxDuU/xZK/zYTuJd13lO3qbLJ+zyW+SEeq0T3HnbpJ5WR3HQGiFX4apnelXpZHrC/pBRpf0+dN3y+CLlKNxfwJX7dtQK+lvnS+Xz3eGK/0GxKOVjAqHLrHN7CZX9weug052tzM8rajO/L2x8j8ZUi72YgJCzVYjSF/8//zVNZUXMSeLxwrjLJGUemD7SooHPDngUUqLqcXYO2XGF0P7oCqrvfi0NWekrjvfntODLcbToa3CxoEKc4kZjdkQsKNfToleLaLNwYfXqjQVcPfr37659s/dhVAr4c04iEKNnQAal/tKM+zNIrEtvoZgNFtxKVUeFCVjmSC0CFqw/JrKHOYgy+6pUQGL6ReAFkZSDXfAsrkV68REuBP0FA2+pxSyGRVT0YQFZqRLDzVke2CbHnR6Bj9KakxUllCWQz2vwGp4sTyK3xKbQd1cyhzBdGSirnn/mTbql/bwgg4r/4dOKuL9CaCSCoWHNGHCNMDn1/5J7WVweBfO3vaGH3vmJbhHHPkBjLPb+/PdNyVpb9U47jMU9aTp78CezWwT1tLiBI4UX242ees5f6XESHG8ET2BqsAWGE0Spq5O4ySRX1LX4YqPSCt9U3KsQ1F0bxl1fP8camqxR79n0rs/ExDQlyZut0WPoxpkG2tRTxBARIth8FurZc5S2+wJZ2T8oEBMarnosXv0gYQSJ46q4k2Hcu7ajchfrKBogIGrEgd3iUQrudBQJDjLky6nMGgTZT8pHfxpwkdiowDSoFbjTpUeFkrqN/zQc/9CXPf+rfhAioyi2Tg2XXFKrGwZgqCA1EAFPVJU9uKcFpswAYdsjVrQTUfjHAyEyDNScL+0UEmmjs0oofj4JKeOy4QtKmvtuS0qFSZH76stBRBQQfeNCXVoYTnO4L/B5+3Y+DpZLIC0do+1lrpTCRnD/QYxEI8+hF6rD40mFrifH5N8Hph2nLFrAU1LBykS5EuiOfEKTzVyfrN5xrZCi4h7a1AwzmKaMEXUg0svKACsx1SW0D4IACOksJ1Bfa6ltDow6q4JJRXYclAKdui14BBAkzNK6GGfgI3SQJOU+Zm75udZGoYySaeIwTABY2EOOJylxyn2W6cuthhTrHf9t37Qa/tJNIjO5/aDBqxNYyqzCCAXB6zp/kDl8DuwGRtGkzXE7w4PgSbviAwdwEgy1y4zxllT7bdd6MMqDuSGkk1VBvceNOCs7l6CH3f8Pe2VVHEHlvh5AVaIESEYLliQjy7cAuEUUG1DlUg/OqCrqkZ2D/0b655Mf0a6E7IHIAyKvctONfyfU8iGZKnjjzHusUsBwjpB7k0D2vZiFSEoCNbFKJzFZ8GhgKCG+8hh/nIG0ucFoDQiJ5E4VGwBPDIT0zJtAZBwpZp0/gxNa/5NaOEknhLi1fk3u96Ap4QNJckt8/zmLe5o62CoCQXlt55LU0jUV6aSjs2vZKZo0SDz283djjOY+pIYeaSKkjQeqsNxu3RNngSLa/s97Xb1sBUUQYtF9Ie59pH/5kERz3DYUCv7ppj4YzHtttkxqb33KpVJ5BLNN9MVTWMNGkV9RyErXhWxmjufCpUvsYX5wluWdtjp1ft5yEACAEyQWYVX2MtAIsSjVy2CmIk1r/yahpW9CCdLfXU17Lk06pAhwvuOrXNd7enhM7OfreTJopmpn63WoIBaKUXiOLD2cIzpxCxnesOvrHaiW/1WwL8lMiC4BGx1IgAx7vwXGUM9QzzgWqK82LkDrZh7h6Rbu4kZDyLg98hlr9jaIoVj6WcIVtouVhj2Umc6fj05JUE0c0fzl/2J/gJX4Ui3Jn4jkpvcq/rV1brkI9zxZeUj3znp8QzQq8JKVqw+Ym31sUB+ZN+igZ2T8FBYBSJKFmJ12WblIClJ+oWSGuzN10w83iUebO/vPLLRyrkfCfOJkhmtc2jbD2J1OQ1eLJTFdXJq8K+ll4lQQqJ0CeaJkUpGQSPd9lF+62EWuuqE2LJRpn01aDViE+Azmm/OLoq/4ocKA5qIE954m70Xb2kLNuRibA1Hwbo5qKryKjf4T++S8EVHc0rzMZvyy3WojrnhA04/rDDAsupGI8VpyypGECZs7rigl55VHElmAEUx68qOpzgkah8D16TZwyP5QqdOI8iNldDoVwRvhpOfjd1rJsfqZOYul9ofG9PO4MpqnerEi7f8V+J6TskXwzoeoF3E1ZHrI0I/kpjriSIuKa0G/g/cNK90kwlC54c2gSXfYSDzB7/yTXlJCRzuDn7/CJP3E0oA3NRcBYDVD4O5JoDGB1+PJnpgbXYuLtkGWQyGpetdLnE5a7VOCcy0Lryn99d7b+36cYfrqoswiNd8cmbt+Ay1xhbiL3+rdnOBGaimaXizV3xmJlVG4K5LCZ5qdx4ptn8rvj3gxNWwXFBhIgdf9vIA8lzCKBabxGxl4pLG+xmvuG41bCoP3imS9uc8etHYfd4xXnQ/ZXyd/l7xKvEuki8JyAifqK7q1TJoVZpOaQqhVx4ZWXXZLTo79NEWPXb5tW0/hAZ6DPYMRUO64TaY9+/kEE3miuKzvltyPdd8NnguiGLgxtigMN5bi481k0DhLdl0alE4sLtr1XtDg8VsYHJ/9Q47P0MTnUqtVP0TwEiMBmKtSLQufiw0QRIiTogiv0t8kUguUXSeBpUCMSQg3+N1PdebOPb2QeJMav9BQoYcSR//W8Qdsben87/uIVQP9jk8ZWpL2S/l564SuDclstC2etgYWm3N2lYFlOxLI2QcLZhdiT9tjSwj2IpIf2D8JzW4aqOgpC1T7e7PpWj6bWwXZdl/NR89eWG50j9Rnt49Di3yDbcJEfnRqzkH8DkpdKQeYNQM6MBGegnFj9wiEpuz1IqwRavgFTZTyq/QuqYBdkuQUy2xAl2Ou50/hsm9d71U4id8UStF0wtnc3MRUEOkTxgPIOYA1tN8WxJXxBMgdo+hWFHGOaQxMx/eE5NMCFuWGVD2Be8HgLNEWnHsmVwvLjGVIDZPAX1tbya5+R+6P/lNOASccS+GkXqmEzMIJCNQzUwB1/UPNrGwVOTveon76FtpNOih8cLDoGqWXw2KLUBj4n6cwKRj2K7T3BID7Q8uvJLuPNsCnZFTGscJHVp560ID8eBm4k9lNW1koF2rewM2hQnWI15xAf/VbUJtcQAT7rO34L1rR9Eqr37wpw1PH/lihJ7/58zMTreNE8pv0w84QlSKK+uCxtLPPtaQmbePkPazRaf6kZDBFM7D5i31rtCd/6TH4OrWXrkG1IJRZmaXbJTunBqILBAXyEJDSkEVjoiHDtbeFkuCCg7h1rzH5QbW7AMTfQLZodnk/WMwY0bDkYSpk7RQn2JThKMbpalCgFHueUhJyVAF0M7/2lkQk8+N3hQ5ymC2kzwjOdBi63IOI7fKAMl5+WyNdJO20pNzqufsYLg792iAXS0mpvHsNKMkSxV/SbPZYcVDmMO7EvGo6wVEcHDaVVkkmd0lgBYjadI3rvUnaMsqwQEqatuX3iH8VlEKH2q0JDQgVe65zE+TL1KHEn0InEEmEAUwXsCXsjzhRmgyIZiZlIFf4506ZiabGQPzfv2bYsnYH5L5LI5YRJPQXOkzQ1TVbvoqqgCVZah9tVX5s4Y+PJwQR5bJkMm74YzBBaQl+brup6HbuY6r3Fp3wyBGEFVxCVHXBK1hbRN5rrLhi6BMroWtow9bZ7gBmpY2sMoiYPMCZwm4amVkV+bIzfZ+gAxKBTV1nkcUFvk1ZmKNADWVsfHvBPXfhjCTzBspesm9jZPRMpzfD00Ih66NQfXueLw8ZI5KZgVf5/GDLONjBJx8FxCtrzl7EJeC2UCfmD9mSOYuhgShb5gQb0XjW9adBzZpFkGpBJ+o6aYPRRv/oVGE8nrSuznklZU+SWSewn17DAbztadkceSsn6u115dmulUPmqQHbhuETCiyMICqM0PnWDGB7v62gSDBvuMPhOUOB05ccwYwPFXFIRol/BeQwqmRc8VtbFtGLY0M7G5XmPWEQppEt/aZaoBLAXx5flzaksTxcGsB4V6AQasdzJ94C4KpLv6EDIvubD0lEJbPjWV7pv7kmAhzSB8JTse7afx+/f/ytcJZvsdeMLgCSP3WLvXUtMowjaaD1fmv3HOMbnC6VxEMBw74YSC6lPqzkMNVTIRjSHYHmummDtYgDihGTJJ6M6dJfnADhmhyhJmghoj0roWCtgT5dFQxISEHlhQv+jLO7SFrUcVr9Kpt5ZIMX3U37levnj7DIyZcVhh5z2mha85yC5slFOvcVDgf97c/qFowLTKhvWqOMbzMOxoJqr6gf+Zxjyu98QEgvWkgVNp2kv3KDibwS+csMFkCc6CuNrfQFjrupwqIUk3zqz3shLo3TsT8+5qcG0KT/nYY1Uge+2qGvy2IpCSrCrYbCimJxE2OG4BzGk9ZLXoTrM1QHunIW8Ll28a+C8fCWEh4+DA4cUQXtLBHOt7x9hUDJitNlXfwwJqrXmjElDAKTTLbX7qwTB16igC0zG7lsVQVEEwOrq84M1jle2y8SV/7kRaD5taTgpnxl7UtoA5wkmQa0Pg2xKCfruPRgSv5OUTkoaAoYUcs/MhnbgL2nsJ3yy/tC3uG+i6a/fTilXvuf7i8l4056gmIRgCpL6OOIUsYN4Se5QYaTSZAsgbRuZr6OiY4teGmP+Frk0ae2xa4hG1x3ZTLLjepcnqeUb1W3BN1qHrrjetMEQV1JuWjkKLdAWLsNy7u9qrgD5AYNo3lpB6/dDxqCMwYe8SeQm1ReZqgSRCtmUcN8P20E53EPO5oCuLuOkEbY3tCTSmjgumjWO/v+P+ZEhFF2tbCsb/LKyLZcN/iaCTW5aRjfcG2rSP+dqN6m17NVAtxdDBtY95Uph27Lkj07WTlacgCX44jbAQ3ImQ9eGuJcEfNXE4MDswz/ppf+u566zRTefO0lpRzh7ObuMlxmDoxl3YOP63midkxqk1oi/9XUiPDS6r/I4DU4+wOiTGuZxmnMSfUAuSvNvl9VA6haceItoqLGg2hD2Jir3QFnWNHGK7aMmT88Rlo7ZgYriyD6/g8Q3kmUFeaVSvkptWfRCtA2IBg73miDh46Q7WDjBrLH9oQeLBrHyMOXLH+Jgw2Lfy7/EqH32Jyo8gYE/qAXUxInB/ATnptO/xa0mlabgRLenXOm3mS8BTL8q3cduXUp+BShtNBJ7ltskYIb73VZIbsdcprSHF2ky6y1KpFJDbPS8tPF88MXVv54iadDJ10AgKaNXqv4oXR27xaGQ0QiuzRDvSwiUgfp9eneCLAQXu7I+RnPV9ATimI6a1TB60GTW1ABJP4a3EsdYeRsY1/hVb71oczg3DOn7ci/VHJVSd39dwIAJF+SyC1vMr2KM4chBmivJUu1MXOGV+mJBOwbFCse5yZGpK7EWiAM1YDD8QyGu5ozYSNEiF3Mk70kzMgxIzpXLUvX2X65zMUBvFrKWrJ9woj9WN6A8GESF9ZhjqYTSF/360WVHlmdO5p32op6X/zDv8nJ7CNdfkRylY7cJYk5YWG/J3rdbD+BxEJKdw/c3/pK+MRxJaf4R/qCpBIbcxkBImfuV2UfpBToFk3TpaoZNpRQIaTiDk4xnJw1KWRIw1IPr/Qckxo4hzJYrDLige9DUjykEovTRVetw14XXgTnEs/YM3rJDxBuLC8d1xloXForSkKVq8lvcSR7uJEVTAW2YEXAL52vgfY72pMG/ygDkQxGkU3XSw/RN6sB9o3yQsCrbNatExyxvyaSj464tLWmNxOD8dHVKsRCPUG6DDzznTWKPUBYc9FdbFIAOMhIV50aj+ZXBUzFmcYh1amm+qF2r+fPr7fALHfdYNizqoBirRLDEWUggLMMuZTT6fNjk+XkwCUscjryPq70T5HqfLkJvs3LaBWQEoVDaAylUzcXD+tVXzNZ2dSA8v92k0UiFn1eQtSXIIQEU/UUYphmjlA8KaUOV0wZ+MPT46HOFgQ3g4rYkw/ej3gbx6VEuF50p08on9pr0FuXjvmKfR6LsnP3pq9XgWTVp9iZJ4Kc1Mb+pq52kFBGHrm9wraFyDrr95Zed1TsKmhUJ3LVhMJpLTRaJNn+Qp5hS7ExqDxOEMLe6SGuug3AssunJwK9Ihtkr5giTXLhdUjgVaqdDynJXztde4y9rfBmT0seCsz4y/ZJyZVd5/PamHIusGSe/vDzl4LoZfjNZcfMtvLehkLqqfj5R/3ioidAM4GD97SnIl3w5HX2otP50ho5aiZKbeK2gT5yGAT1O3FtjKfksJGf5k11W98YsskvFCYUoT+qMYTkpFoEpqqPGfHBC2ktsbyOV6d4NagyN9/D8O7fmxvscUD2wWAoJdNlRo70yoJk4Q+JGYHTQg0hKr43fItSS9pd7FiJOYrb+OTghE7VFIhKNdv4f7qbAz//pltnLH1NPV8A5Kxemd47ev2HC/Yrsj8GVa92N+rBSexRafdDBKHfNa6tHX682+1Q+uRsBfhnfmRt9QQWbujAm0vD2/j77FXH+OEz+I33l6ksK5Me3qk1LGpjUIBWbOPmVVgsAxE3v9uEOEaUrhhanYPvmLzhuhQr0kCkakUEHDUfCyDAljt+zOyuA8svy+K8P3qBLOWSDAzg/WcVDANSsWckS27D2JGr1FPHyAOT7rqLQWvcTmmMLv4vb3+VtJ36VtJF+Eb7OdlslXPgMmzmxZHB2ztBpr12ih1/Cq4pI0CC7bDcwl0nel42qfCf3uWkd2TjxfKC8e1AItLKnQ2oz1HApYrjVv0GFVntiUllVD/8Cr6IF0LtJaA9m2kadFZh3arusm/PIDruB8XirOkBLo9rVBE7gtoR5niWVcYeHNzdJBq8OC6H3xko96Bm/m8sc7cZ4nmyG/+wdg24V8Oc+MMu6zs4Cn0oS09OpYf7/qqJlgS8Fjdimsy/grx6t+sCWNcdDvh3a4xVT6Ao4dZOcmnV1f3I/pdpa8AHUkKFGq7D4yuOm5+bv5Crse3Nv7YJrTFsqMkju+FCK5lNhRyyjmZ8xqHfvPa/2wVbqhhxgWosuaTPabv+MkEVP9de/6HdtEk6EBCLg9D0SmS0iSck7nDfkJ3xmiV2dMFU3/XCOjCtTWAvKytOzFQ8AIa4yTmqLmFHwMbPQ3rRLPKx6aVP5lI1TyFkWRkVSJwzdJ8STZNRmk4FhYwNWaKMC9tv4KUn3UqYbYK7belLDBWUH4Cc54+E2YDNQPVzos+++2W7ysycOB+j6Nyj4KAs0clf4/Hrf1sKcCdj4MbIurcoI/aOwrmrnwuw1el3c2bDcI0a2J+BhL1g+jZdWyLStb0d2ISw+W6xN+kLtNqYofyahQq+CNdY8Bckqm5tKOGPIDqPEB5YeDt15YtbGJCGCdtQVyvTAgeJG0zpxWRQtt7YEE/Bq6ZyKDChigLWkoS96YpZVsodcSZ2W+BKNf7jE+3XQTtPj1+SCZ1PZq+ufpXsSiSbeGsv6qn2qZ96r+5gatCBy2Tgcj8c6PX7ZmRWETVoxlJ4UYovl1U3Uw95fn+5D3YokZD5afb8PQqs6A9+0UAbgpTZPMxP/ZrrfOsO3z3iJvkyIPrxS/Yr0uqoXlzR5TOyC899REk+1LCN4PZ0bpj1a50T6tPgNT54T03yM/BXKJB0/X9TGfyARrXP5VyN6G70o3akh0C1r4e1QptelZx8eAPzSDufom2SeGcziU3UZJooMoMgYy1QaRRX+H0OvcmssBckahqwDV27ZE04YUcchJkWsXVHRyyenHaaCJEwzSBr8RaTKez5OCXjqJdUJNhTliddosOQh0xHBmEmaVMWP5ji2AnAJ6fuDCRRD44jSd9xcU38Vs9do/GamtUu36cya+JJXvJ7S7ex6DU0GXpZ1rexU3QG4WgAhjeU0Bvy/FJ73lH4ENBDPznFhqAJGQqUryAJNyUL51E7KV3ZLOY7rLyx0M+sHvlA4a1Qz86S03HSjthNrLV1BMbJelPDLAIqWPkascScXtP2xipgx5xSOBZz2HPX+RZoLypcfiGDi1oQuzbghKI8ISv1+EYQ8A4O3yWSaH1j3H/+Za0hLYDP+0VFeHd4TbU9Nu86Uj25GkfVZ2dbYQzwicjVw8MbZ8RDL6sveh0eAxfL3+jOz/JvYY/MT83EJTF7eXZxp/FkITp5PTn8gazF0v824t9LrSF6CyGENiFvbjWllNgaYsMNIbEAfjUY4OHzaJCjIfK3Ep9O7MEvphKuzm62aX7UdDHjF7UVn9jhCAJM8OcXFU/ZPmcIs6NhB8fXXjlR3Cl3C1YKkXKlClSgTTnfDhKr9tkMH5bGxtugjDDS0V7DO5vRjs04nlKQ04nrI5whchfhbUWOI3LqbyLsJ8asTSBxGRBohLB1ajD6F7ykqTAqnk6Z/6Y2Omm4QtsLiRqc1o/uceZcdDlK4iMu3Het+xjccDLmrmCyrbBuICHPZBjetr9xvrXo78v+GFtxVVNHU7QUSYetVYwRcoGwvI7Fb3PlrCvuGq6Gbw5SWxMN0ZQMvtfiSWrl+/rZIEImisirD6ZVVQXxeJ1culRJIfYqOSy7HH2AaVNnVNTbb3mgbV2LMOeDlWgWqJerbgNmwVV8C/HXmIOFedHt/1GzFfeG3cm7ePcCU/LCSbZjG9++o53C7Z0EuKPuUgMZjBUnk5BzUEEosLuKRY0GlRyvx8faTvkxk9jVLNmm+4vc3lvgWHTHYlJG3UIZnuZ3UXvi3cCWyuRVTlG3Exat7NVgyqf7kGc2ZgZQy+ndQ2bnnABwUvxft/llS1JvGWl2O+Cv1vjQaGxrJPqvbgEojcG5stJL3WFH7oEazClcyDKE/8X9bRe9b/NK+ch//8Jo8RzNDAeFqCuOeETMX/6XUgAg+ZdUIoHZwXmuo3Qyu3R8gUuk+4izzxtvcS6txMaHom8MEjSeaKvayn1tagL0DQwFKISDKSr1y/asgquVI1jqYCPvajIVr+1JXknXgc981OHV9Srp0QYJwpO+vOuL7glwJSbDpI+C01KvoIlifKqwl1MCg6xnen8KZKpaiiu0GBl66nhTP1GsyYcfhKFILW8mwZheQ8UyAXlhNTG28nBwyoZ2J3YyYy3htnxa1dW4WZwxTkb4nzE229Ya2EhhezceDk0cWT5www88RitWJ/hoKPZ5q8wcxjqD5mYL4huYIQpwJo1NUbEKucBFxDHOH/2TKVW+s1ghNG6TO9UC4iGhOtlRELA1Ecgd549Zf2/8j5wlQpfiYEwizPz0BelNr8MQ1ot7laGdb01Fu4r1ZZ53tHOmneuAftgY99a+s4A7yqGm34SiasJRznsSfCBQrV+g+5jGvC49j0LGZMg/ZNwJ0U35jQbdJgyY6uF1sJWnNumMKWIJy3YJJEGYVRFp5vbP+HVthgXDVdTV3lDdfE4TVgXRV3nRlu9hrz9macfbA7fbpzOd6WtRB8o+RlP9LcNw+yyVnvi1g2oOB8Y1613Zx2qC3FmGlcsbZ2lLyT+iIvSsM6LaVIix7ER9syejXv59/Iv3ZQS7P/du6uGox2Rp/T3Y2apUkPjs0ocsGd4mjUd68rpqENDBz7ybyjbOR/E2K16gYQ5ToPDi6ugGR52bi2WxoHhK9ug+UPDybiH2ils8GSCBvs1BlEItArsWh6QoOEf0rgNAdSsMbx6M/FJtVHIX2rKA6fOzX2uFj8iIyurXs0WzsJtTPe2/KB/55PAt9ooP+ZzH3fC0bOWi0ZsZfDYQjvK8dW1vCTt3hur3AqL16wT3LdNIsqrh7qsY7lLLusxx9/SlqId/dAMxUD1eJk+Vn09AwWT1fPu0teiXi52/vbk2boeCrjV2HGPQmjOGu91pn5M7RZMNDjI6POKCQ7aDIKaNG5RCgsqfmcsN5coge+/BjwEGOUQMUjDU4GC4inYCIdKXksF1CfPmOcvZyCXsUVhYy5+x5G8XeAPLYdQfHt7COHrCcaWCbSyEsvh9UEqdv7O82F8vMRH/wUqbjVlB2BElQ3npuHT8iECtu5OHSby0VFo8DWqQLEejKUZiQrC6RmvsayUw1fgM2hNuMBgsk+v9tSgHXUDnCZlhdR+cyYsE8iwLAbjlTNGBwgy5iTNsEuFJVBvgYgxIUap0srtWSYATkjvuCBszFFMaRPwFoi6L3zQ6MObO1YeqaqyD8jTpsV1EcBtIWCrJc8o9+KrfmlRpxh5USGdQoTYzGR1OH6Rww+ZdIB0T+2XrdJ+SaJsl9ULtxuVzGreAGHPqzsFQBEy1n7SmLMzwz9bZADj6xnm2V/z4kU3zRwiI87TVDAnSUBycTT+FyD5+hJJoyhJ6UwqpM6wyfHnP8mmAy1CYch8/N3Epsndh3NzMwUQc3zqW6EItl0U1PPTeLtQiVztpmih4hWnRsUBb95ZQJhqa0PGxCEZcmc7M81zaxFCg8Z+CYe+XI+XbQDfybik+Vn1zGMRJRaVk2vvaBZtR0/NgdmCzlOo2qgWna3oN+w7dkcjqOEoHJXnexQcorEXyK+vfyxj8LZ2IojeW+508sETOQcXLCeMNi33W5ZM4aIG/0hHixI8VNJCM9RsH+dJXZYP4avhgSIerrzAPblxfze3tArwB2y16krDLTrG2ps95bbeodf5miMwV2Wd2Z3kOJJ89hd6CLsuRcUvspc/OBGeMNts+Qnt1MTrout4wZkxDK7NhVWJ63qUmqqMMvfPAsUC24PYsPJ42unZqd/sGRUv7lsAB3kbWlD3ZeUrtvKLyeWzUp/JaQvw7phPprZfMTITFj1+Z5DhSxxai1uERii5NliWVJ1fUFBHoo/NDlJz3ccgMpXan13Y6EIxlfE91ybFVmduNNV2NRQjAmO6vhQooReLkrq/FlgPnHKww3V6jwRu9dPNTF62wHTylaxyra0Ngm9OLkedeXBXYV3CMFduwNEtxRlji2gNLSbPYe1kgzAh+wmMurQWiAYsoj7dtpsosHEZO9ilzxxRBUOQ7myjofHDy1JTfkhxFnL7ZKZ+DLzp5c7Mm5tVhcOg4v0p473ztFMzo84sUMcn/+x6lC5MxQhTSRjxNGrpEYio4EOgd8Zyf2TYiJvF5fDBye06nbt25EGwif2D0d6aW0oDtUOogi+fjF1sv2yi6cgmqy3hx4oAXEGpDRBn9ynsTx5jprkLUr68vaeCqb/wz8O/WcUD5e9ju3+i25w05coKEKaQpyUJcPZYR6Wef3ArMun90IRGfu9EXXarZ2BwVSSaDlYLd0QdVgeaiS5CKC7eoUcW6OxuSxztpD9nP7h/+gnCVYIwDwDBBTDzP7UhYU5k/mbUTePo97D6K9jzn9S3OUAUD4qE1rClknsOEyef2RI+m0LrNTemq9O2P6ohJ6w+xBenrNINhcxhjU2WHXgLv9MGs7bV8I7/s/1OU/DaIedznS/jlXo6dP1D8esGDjRWK3e4rSXNwEAJjMr6zm1CDxSF+4OeoO/fbedcFCqhtH7MeH5EW7sgT7Kc1LVfbfZmJSq2gUhz4twDN0tzSr7GPNwFFwB6wPNIr9Bqjk1f9SXRBRUqxquHYpYr0L66y2WakMWEoLARFtpeTaVKqxstz+qFRKidvwvbYK4Rf1k+bLaG7Mde1Tav2ev9mANQRrVXwIchMVyftuKwq4tT9TmjYisrHKgSQvmdYwhfN+zxm8/PtaTC54N53Iysnmuj1zJc1Hj5+FGv1NTWcy4slCct6BHP9BlVpPd358FEfqKb7UMoU1+rI+D+/s7Lkl67FbP3I1axyTZ0RpqjYXw359bQGw0Kz2XndsSW0ej/ZaSEES9pv7I6G6ouXKovZtkr2kTjIqE2HuZemvIGQqOaxjL41K0ulzap6Suj9ANozF2fDtRp5S4/4sf+V5e86tgy+s1Q4kInIz3sjjg8Yv2kwGFP/562OmmV61aCDhWhD338JiP1UHa7kZOsKWwTauVGhilswjN49PFNbvl3i+5wbI5grii+hn1q1Ooi54A5tkyaHIK2UzzgRPFRavtQRToE9G/D2IHK11UG3z3QbOOQMXC6FlZh/51nY390pefWnqJMhjY8P9/RA6QsyhJyWqiPJ5Oxeuy57JkmCyuhMZLF6flIC2oLD9lTuzN4U3PBi5MSPC6PadSG1/MfHpLrpDDGoVyGUj5s2USKSiwzVdTnj+fthC5sHiL90RMLsGsJtndW7wOBGnmXL5Cvzc29S5uj19m/sXznIhweEOSI/QI+2sXYrMaUpiPA380zkyYHqV+gyNjZlMymavuqPp23MTlNSTRh5G+GwGnu0rWo82LKiKvlptpVi5ghhy7MccXKKiQGEiYKLx9+pPaV6smSYOyHq7gcGlfKArpSIs5A842lgDEUxaeXimrgRTmYvW5jucpX+RyuCP5qbLMIsqgx7jVFuGLjm6jIZg4dut5l1uApypWmDJfctcgK0nRbx9BOp1vnltZr+D63f35c0eN+7W7KoMfOAGsyEWiG5GqZRomh4oYS93/sf+qPq6u/FCVmWjhD4iDcRR8G0xHEJoxtpoUBHV8BuKdpEfJ8fRJ36/EuTAI0X7FWh6LmPUkFukY6PoOyNyrvvxKRng9RIJhWjytlWSEUXetsECAeTlWHxfWiGS75BYakDNb2qEEeyXQtl5I1fzciilUMLi/h0GDGckicDylCdaXy7pWBSbP5pzYKnXxlBUU0GJQTzdYLvIDwiD9EH7MKdpwFztdZdmPXtfXeLst3ZYMHOoEMR1wjIJ6yqMEH60z5bvmjmoa7muoxoXwvCL6+QVOVIErYl0huEVU9Kq6LiYD9bETfl2wwtoHn5EX1e5Ix2nBMX7zALr+zi54xZMl1VPY/y/szOVQIzkaqImQPj05ue7LHNoZ+S2Wr9WmOGbSC7rE5whhuQBzYsc8b7RNu/Ja75wbr+NSJ6QwD+OUK25xLaEG8Q1JWppSSFTWWj4P5n7bZKhs6BU6oN/v7tfGRX0hG/m9lE4ZhvLOs8L4KAGPsI4i+9PJ43GQzmNFIJ39F1nDlV8vt+iqOlVWc2bRJ8t4izYUMfHyLsj2aQJ4PbR9YH9/+ca8L3mFIz5mCgIXyH1JjS486+YSDfMtbDNKKSDozF2ZaZKELnYZCKlsbhVr6hWNYbgAQgr+NfiJgro6WQP6Rl4TppFm2ZJP9aavAKBY6cIqEufEandWMqQu4ouQ8QNJcjZHkSBmnzqdcWCqEPa2EhZr/Z8JvWAxGjmc+9YFckMRQP6nrnua+SOlOUIEzxzjp16sSwAqVKHdqDJXROyYnFnqX20N+w/lt00YrG6KaT0JqTSViwgd8rq6CFBVXW48CiwPfP2BmVB5rrWaZ9FIgrxlURmhqsdeqWs2iFJnX8mWokSF/urNHbAsp7UdNDQ5pWrvcdlhOSoSDJ6g7uGvLjedQJ+ACqfSrooZjSR0EEiLue9H9cAhZcLm6nhOjdDsfXCPaaFkUFiq2Bm44H9U0ANWQg0SiwoQF+mwyk73+GawPx64bWkXnrhbb57QI5Gs/MAQVbxJBGu0Rf1JIjxDjgH1uw3sPh2CAGe4++BAkPNNP8B4kfWLXedIAeG6bj9MJ0KoE8r4AOfipUWpZtCVNnFewjJkJU8AohhPu6APcj2Rc2P+fcM6nZo7P+U7VeUScDkP96VW4IyuZP3/HhBsQcL0fiBXcr66RJv1Islr7gJyxzgztVgHuYZ20lGFVp1O6LeQk/QOirAQGFCvXt3Ma3EZEJVure4PxKNTqzrb9WMkhof6IY3l1ixGQFBiEAOydrGLFKaiCHqP7EC4IhztdB/oOelTiUypOvDZUKjAmfnZNvOwbcVHL3fQhmwjgX7tWi6xmF761rg32p6yK7eVg2XqbZAQ0i/xj8Dics9bRhVYKZ7UnVuq7/J6FrDhwyQVHDDTGqXZ4cgY/+LzUF3F+Lt3zcobtBoABbqgciuKUYr6XXP1URT5mPUkvP1XjQyDUeCXs8xqPHDs2LNUMuPqxwFLmw4+glFkADDTHP2BeyMIaF5WNEIAVSiDH3mcNRwkP3G4tYUebktlr0WYeo5swVvjcnDf2V6DQa8ribledit5ZvY0wBt1ANsEyWZAfn2TDwxhME7T+DQQoy13vBJgGzuijCdtPOnRIH0kqdyL4FoPOS/aLkdpMGtpj1cgjOst0Z9CZ6XwtbpwP0Y7QP+T5EALb5vZXbsqYiQVE98bGUHEaBF2Xrvyn7FU9LnS2Gtckmf1a7crF2RYOTHQ+2KJqewBNcirCQWDE9ulnO2spXor/ATX5sAJjPQ3xz3LXB5uLCHhhf0QOVYpLqXpDz8S+aO2h0jsugH3Ztvh4HV3hdOhK/LYU9ollj8szx/Cgcoc2Q7caeq8FK6K0r3IFSaJ0kbe5JhtRas/zryUW+Ks+Dj8PVHJxNNrpSVcbw/Ol91lKzUb7W1SGuy+sWuM3QkyD74DoaryBF9UX8bHg9jiE1MTIWB4FHaMgCgSTBM78crxZEt6SV+JxCu0x0PJxTNUg2Agpv7vUJbra1tPGc1csrWuOId3WfrqU0kUOBovb6Z7UTiyWcIhU9XdNRkkrkVNwvk4+YFS+CtzjWWBkCFU2ErSX0dzH7w1oROgR3cN7IuRrrn3zG1qsEzV6jpSFOGxVlhqiaFsFohmH9xCjULpYGihxBe3JEsm0yfmlkwe99iuTo8lugWeZEu9+6Tb8Cg0z2+9Rd2y6K/VMbq9uzCfIvTWS/gNCL4hAgY174exSW8eGffvIkN0XdKo0dOkVGqinGVkUC3YxuHgGTZfhsPNeT3gKhbrorCOV7uz11jr7os690h929qZxmc0AUkjO921QXNhBSjJqCFiQ4RoBrbl5T1fEhYbdHmpK2uf0aYt8tc53ry1XvRV1VJR5A6HneZq42ynjXj1fkGKtl4DhasTSeZCCJIY6gZciy5Mju0gFYxSUifgolq7Sbtn+BhX0yLiCcJ8pOjTgj+tnT+ASEG1mvYkG6fI6JhIilbNmx8VY8yTEMXDArya2B9qrg6PXACsG9vyal+hqbuNiYD98wUYH4eUGFMzWqI1YBjIVPGly6VckzONMm1YmSiNKpYIsXj3uvpBeaXu3CMFLLcUOtVuLSxuuwN5vBF5oxrD1imVHsDgY076QgJu+PpqEM1O7xPJb8zIlwODknHQbycdy3RuANXdRMjqdsuvrNWQCRaGaAfJstlADVFRZCC+NrJEVpeUejs87LJOeX2oJMlkHqKBE2iKF17DCGzyEla6UfKkTzV5Ax4O0zRkAz0/wkLr12LcHngySLc81SHsV87zu4hxcOygMfKfSJMqh1iOSlURigpB+8FZXV6YW4IStr9j68oLTqozNm350="/>
  <p:tag name="MEKKOXMLTAGS" val="1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COLUMNS" val="3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iWcfk2RmY+GE6Q6T90sFUUcjL8kfAV6PVoSdURXX960ZMmHu3QTpEU2hrD+ylEWkT5tHWtuyifORIUDrDg5v0fVeX/xkuLP3ETFgBF9Ds1LXS2Rm0sCCkov8PMScU2L5TtQwqvxxrAocB4Aizt8nK5XyOjzAQfWftgPuItlucoakMBQ0rThWJpxYJoRi7JP1eb3nR7K5RNAtKv4N6ku4phdMocjGXnxV1li0GVL7s8TfrXlHswl+zto2BZhxZ91QeswlPkZxo6eQ3q86zdNyYU3ELyCmmbDIYMJot3z7Anoo3xvEMq7Zn8TG402ez/aYS9bryNloKGP35QVn0gMobhZO08lX1vi9LNaoYwXImkfEKkmrheUmWKbsVeDQfPlVt4MiYWmNbnpsaWLRDSsHZcho4mQRfr4IZ/4uH514pIEpJKpafgpqkkV9rIHeDRX8u22BL18Jc4ntc0cKSiThMvAay3XTKattLqBs8mxeSJ2PVEp6CR1WcOFLgK3WjlmArJFBSuzSYBOARUBG2MrQ07GySBgQ6SMxZc32x5x55jJ+npBhz7SXIGyp0HgzzJpmheKHtZmmkzAGFrrfZS/ZUiMHA6oupB0uyGVe6opzYhX4B0E4J9tFHS4E0a/eLyYkH0EghZj8dX+74oN5gkmaE3NwxcQHnbQO9pnVlD8jFHUTjt1+T8dx7iYJDxa3XzpvfIhiqyvPrdjB01ALpyZ9cBzkSl5ndG2fSJRNAETVW155A8aYStrkOSIclFoTLnmXYwNa0RQ1HjCPPVbVtXIArpDG/AhCwXdRKpAjnr9CrVny7Mr5E5CmUHvTSL23sasnWJJo3WxRFY5Xdef0APiIFkjCP2pvC3rV+BCj/IB0zYxXdsX0z2AKM/KGK7qrIFAfxnifFGib4onRXofRESqdJHI4xzTPw86gfX27D+vAJWiUH3vroZmayUjhPCZwDxCM+Uk93qACFuDlUdUU8ZUTQjnj4cAdGGHoFMIVGPuw3MUc4xhfhQWESsFx4U7yAz/TjSFw2UNi6GHIt7sB3jz14MoXLMI9lhPJFVCVV3Q9wS/FYHEd2Sh/65GTTTXTNzsIrhzgBr2kSK5SzwdYED/RdistpqZkZDyd6mrfBJmr7gdXM4GlzoXf1MNujcQxK/IkHNzIwEdY4vhK0tTj5vv/V5ItnHghSQOIQJQhTOJvIW9G2Z8WjVKo4DGujSv98DKimSpPmiuWCqaC86NT1RIFKkCFl/+Vq4v16O638qXANdDvED+f3a71e6coMG4K2j3M5u1AsnIbEequnnamQOonKpKy2mze9vm2vKBIjAL/c2jbYw4VVYiL7eBJUPzCs3x63qympHmUKCAWKXsl3gfLC4AFVCW3M9GJ9Uwbz2Egokd10T2XLrx6FP8Q0g16KGcpSxbqZz6XIqI8nI5vyVXJ8tArX1A2amoONar9l55YKNQ9eJxUTzZdp981f1S8oNe9pSiyzNpS1RiOVXdEDHqLdHDn8KNd6L1U98hD/cayi7k+M9/v5U3gAwmYtXsi3VOaq/LbM6eq1E4kILN0sQw2/6TL0cppZwD0Wqp5/WN9pGOHrdUiC4SDNWKG5wsLiBUVCtV9Bo5kc+VdX4PUZbl9oceY+az3TDWVfRgUUL4QzkLf7c6kDZJMn65QrHXVV3we1SkOFggOhXEBssMVmxrD53dld4qaUKJh8feuKfMaATqFdme/dGI5G7a8bY/uNljfb2wANJZtV5ZieBATCT7PvMgojVTGEj41akfuARfnC0pvmHki7CGVrmEDsJQwJYJJGnCB8eySEHewuJcXX2G+s2CnG+TtGwgyFDVrf4bzlN//yErDD8Dg4NxX6Vg30DvFnlifG1D1nsmR0r3jpmJx365rxv5cIuMpWEsfXPMfpMloLFPRcCbxa3OmoOm+1CHfs3opaXikiXL9K4w5Rl0J59ZkAf7VxBefyOWvY+77i63TNnTY0SeOxaLaoSagGHgoxvqS6qJSnoi62DDA7J7IDbDv/nhrkIPV++pHk7xGMg6OA6VBnJUxpAPGNVnPkT684dtRv27KM2cxsCDmXzKhGQQZDmzRzskioQ1++B/2Af83j1aG4NCBAGBlshjkRwGHlh8U/4IL3EPBc6fJfmL518DHolSd2I5Lxdwl7S1Fmehxk5l1ft5WWjOOq76lYcO/cIW8EcDmnyO6DvTb0MHq0Q5hKTJB0k5d9PPL6QWXm4EfI9kVJ7HRVF32FWl3JjUL23peX0iGeRp1TqbGzqerjZQ1FTUc9uJh2Tpzvgm8qsEZ8Eec9Z8mFty9ko67ejtjlUcCMTqSUBVmz8lbojpY/P2I2VquOHH/xXWvFEYhximk3tifXf7gwHHOwsnCtBL9qPtV1wZbOzu4+Weo9RLngMhwFd9ipKxJALFi0+5+PmFBhMER6pVbsFoz7LNJqgWBOHC4+2yD8qj7wZGOOSgXp90CtZB830f0kt7BssGDnwlNVFHL+kySmV6EmlLhS3DzCKnMDV7rH+rjb+xKQQY3ZFgXw3lkemx72ZPk9CaVYdQG3lxz75hmXRh48NymrrPw8EYz2z3ctlnKxt5611yAZDBZ5yEkCu66QymsWBer+xQSM4MSaxMMpFpQNuUhyGf8a+v5S63oJrMIjffgLfv8BNBUs1VjTNdZ9Q6S0GsXoPvwB3/tmj13aXw4WydultgF7o1P9Ue/Cs6fpMk7zbTMAwVFfow3+yMJro/w/b6+XH5MiMSQ+ijulK7Pv32mGT898+MvISZ9QyxJJ7ZMGO8pbe16EshoxF2GnWD1oN4AnUUtEDZbV+oZ+EBf46MKnWG0Ny1+0XkVncLf3vCLCI2fIYDI1fzJgod7YClVnqhPMntX3xKJH2PITL06cZfKbAKqn1QFgD/R2la6C/I494dUgPeoA6ihDWNsvBtZi8JPt6dhYmU+paWeplKDh5LbcNk/OspTRPDZYITDAZoqjwUtub4dGR/vaqOQ/LqVJcAPgdw6sAmCv8Xt8wI1fEuewJJ77GflBTzWh4Bre4AM8eoq5WcVlGNTuTCb0SX3DyYvOrDldzDWHp8ZbORbebs7rNCeipfsWLI9Ocn8J6vgHZLSa4uL2XFuhfaQcdu6+8MvaeeYCPhy1Y4a6Hp5HuX4AaP1KdIUpEEaXl5jrbnzQWsv1ErPxJhwKG0NHBo/UJAa42mlt+fPWzonQW3myt0YdpCgO2PzA10zPbWZlhFv1/wyrNnbeF9DO3a3c0+g7oJKpRZC6dOJ22MYc0Qtdtc3/YL9qP8Z5XSLydQ3f4is+t5WptN4XD9Eun6xLoyUF6HeolkuWxh4VUr6HPNJcHnFNbhCdVHnDY8SeGJePOs8P5+fjwjzXOXoY9tawZr/r3H/jQjfBzchqAX2CI9RjHQqyM9CdNf1Mxy773oKozLUXd67i+1ZJJnHA3MrSOyjpQJIrNtAa9GtOb8IWxkYfEK5qDzSGJ2hEJyDnM2dhXqyc91uQnQEIHiEBwa0yxDD1YsuXLTkhplwYZHng/9lDPlvx0a13kn2HWBH5vgs5VFmNFO/+2jaS9W4EX7A2nt2rxKUvEjnySdIGlj3lW9o/Rq/+a+iIobytajwEHQReL8M8hKhDSx4E4SwTYbMJY2cglyyUmSbvt4u/cZsEbT1DvIZ6+ixa/tMGaYQRrhQdypB+PUaOY0br0kzLI8tjMyo0wQyPQT1zZ4rj0GXBU1MfmkjGrAlEqki3S/DXb518CrRLCKCgub2bpBlpH9GseM692qcx9U0Ggz/L1WnZnUJBgTDVNtAlux5sRWz4eK+bU5zbOOUSEhVUCNFwfTLoKtIhyMsAtVZDTVXd3ahTi/B+AKX21/j4o5gMLSyD9pqRBMn1IIMvbvYHXmQ0QXJaB3RnHXNEVqVNQXwPYEi//LOACJCsltUqLGC4hvgmEeRT0GiWXS+9uQADcBrb7HalowpMd9aEL/hYUnrr9B2dEqVNLRsfCyrDHYSN1xTxx0IZ3Y9SGDMypLT7HlHUrIUwQWLX1JF6sWjG8s3wA4WTUkGhX0M4CUQ6IGTbSehXr4dJbhtcg3KZR7032hijHmpwhoJuEJYY1BAB4ZZG9e7I7/EJkNGTIWlcvDuWWwr9FS9VxKwkQNeiCgIlkVZRvenbJZs84BkURIdmspkgI1ViEoRV4mq3HeoF/7mHo2UDnYIwiDBzt9zMXNzU3UA+wHyLY3ruuq9GRYqAXNa1P+CDDsy95RsqlMN9V145aHboSAr0jT3FACpOVqh+Mj5aQQdDACxTvrzY4DLo/G68Ai7VlE2a7ifkXmDot7+BWBN0L7gzblrufAp11gqlJ9fGz7NYaCHATvHst0FNGtkKgZae0MINJhVUnkXfjeicEr7+Us2jzYcsLSsAPhFvLKob4BZZgk6DXKakpLu2dXsKw60BHuRIkmnbhKQvQC6UcXiFlJ4m4/vDqxtZoBMBsA1iVbMEPjA4cmBqyXHVPCR7LFhNNos+QUPDiVnsb8YVsCyom0/TetS3M/AZUBFXcWUCQ0//2mYd7R2POPYRrRCWKwehx+2G4XoaySGRLTNpZRCgao9VU/vCmj6SaWz+w4gpBVDxzG1zjj2X9Ik7Q3RR9Pp0lrpZF+oORROAziAzXoD0aPivv5suqUTX/Ds0a7CFEuKa54miM64l9S757QVc8QWzY5AP+STom+x4btaVtNjCsMAAhPWbhGSoiUKMiV9f6qQbmoLY3TbFOHqUC8h27CjX2uY42YD42m/1bWmPRmfkdKlDJDzdLkbr+HvZx2EfIX9gZ12nK1x6Jyk3oeKD5hiRxVUlSgrnVPaiLS7oAbi1UPwLbRA+PxJLUk1Yc7dFkEN0NQJrDdsJCEfjUhWSveRcEXzGEh0z3fWhljLMHSl8yUIMZGhbaLqjMvedd8AXPB5Htcj1AbcIw7hlgjaKvL2S/N06JiyqmOIbHDTC8Ac3BZdbcjBkOcBiS1W1+NWOJKYE+whY/vz9lO3EZsFpLzwxKlYqEe2zQIzgxg0iFfhPop2FYXwlgUN8U9cpkuzn22tCszX+QZCSrdR30oniZXsHYTwrIeYLsp+tI/u1yOtKhTJ4cIv3BaebNm42rirZKfC4L5a1ikSPTV0jgGN32hbdbcuqh9DQTs0QvLCLAsCJT/zy4V+dfL+u7CYYtzjgqoarWyPcBzsig4y8KTqBwKTRjo1ECZPyWnr4TUqbzadzJsoH7E/VH2vK+whL0uMmxv/+nlHbZkvfBEbruj7Oj++R20UMx8jAHH3e/1+v7YX36QcvkO1QL/9BKQMXSkMD3X3WtDoxQHj6vH7034YjrCn9EY8fvYNAx32RuZjscZXGPm5klqlnk1JUyrsAlCbiZcMlWTdJC31MMmJ2LIGWJReX/HbTlIDm/cvfBCqps8yrahzKUtJpRxufueX/WKjU+AT6Bcm84MrnCPtOb+RopJly8vjnh0AN4SJ3hDewaOm/+6Z2yo5pQxTqwoWIUZUZ9xBry9HU/zTz38RioBLfUAgY+0+K8KWsD5KS0bxKQZfCdF3Pe6FV/YY4KHxM4v03yMrsrow3E85ue2GQBqMI+mIwd5FKQU8ySaZ2x66uBfL+/2nX8nVilW1QUigaf5HeH9pW7OBgvJIibZBbb0JFxHgcjLAGVUt2vJaiwGB4V9UeXgDjCXId6o+Z+TeX9TdpIzztHdGYEWt698AdJ9UllE6Yj+lvHd6LZmocxJJQQDZXjUoMLBJQpn1BZ5cjqKiOqRXny3KTMPFo0FatEtXsROPqjTyYt3vCq020Ob7/fQSumQDHOH82zmPyyvGsj2V1lXz7I0bxyCPHR6zdNTD6be5UHjX87bdemWLoMT8RaM4l0SWwU7oplXX4lC3x+w66CyEZy8L+AuQEP9fiPsO4MqSq8mkbxZTCkpOrOC1z88wSaIAtDl/RtRACsIdW50/u4HHNJWdlMDf2nRpt6pOic5qGurQLExiwLW7GwyExuO7E0Ec4d4E9Y1Ovz/lWgJD9yM6SmeKjFMK2bwyb/c0EB2PvKyHDaDQPDiqZuk8pxRcHssRYgylLPOX6PPLZC9DmVa0A+Eklqw7VPGNy8oUKVet4fxya9x6qpDq07DOpbKlObjB3sycBsNGQE6YK7hfEbR+5ybS+qdWOfAIbs1MimIJg8sL74m+KROs+EH0pBBNG6pGdD/VAH0V4PxstLQHtesZhRzFH/fEasZdlhtBCeVSP87df7B+K7LxG9nn2QPvAHl+VHWK3BmEKlgC/f81puXc3adyB4ZeGtHTp6ctOEBSHt8ZiAOH4xxmo6kklIS3RyU1p+hfqJy8yZgddXaIISk5O4YCpiXHffGEqJnkw61UnmsvydYSiChA64IINQZawMpG5YZRq6TFUNWg9D8+HFLZxdF6Z5DnVsTgpNmgpl1GPf+rKsi8XEuYsVnslU+0Q90S7VzwerNIXwZtU/9jIB/NB47QQl19EXtmdhwL1Zp+YjOHUl7S/Dn243ID0cdlonKEYmP7R228ph1U6EVIizeNZwjzeCv87hfLhxNOlgsHYdXgcHdbC4TeWmEiljqm+WmDqO4iyCKiVNNMtQLnqfIrnUFOHczvWYqjyusEEkjMHpeR5CZTiNcooEk5KhPOwqidrJ28feXAPRiqYn5QUYL7eqWHoS26Cph/k/XzUyS/O1xxTeVK69nm05vxZWn4bLXmHrm7fLA0NXEyHxFvh7+KNhyA9IuppqzEhGNWNa3fgVy7DYQnPbb580NBY+A9ba8DeF+3/s5dCZiOG7aXRqWh/P4TCVcB/c+MT836LnCp7MdHxXBeLPiAAzFs0XE363TPJ3wmVNYdWXE8Jhnys1D4cHaWctjaNaLN/6rljcKzbiizSoYqhWQqUTq76ldd6yNcZrK3J2MYKBLB00js/w9MnqVnJG7DUFEQ0wopmEh2F41MUGEUkvZADCHl9NIbYfGa3zOFMeBKCoYAIA+jJlxBoIOLFKbQYYVHsZKZzaTpgZM5rsSD/oH8XDZMAOxx0KfXFRBY8xFRlkjpSEI7rCwGBb3x+Nm4VI/XYN0klD+3S8lZgKbOev2m8W2wVGHeLge9IYY/l6+gmxMgwdvzfVBp1hIAY3CNTRtDeeoVFCMIbVK2XOOfR+NIZvfXu0152vMi9BOCxrGwWwutpQWRTgJ30hy0xAQDiw+K2p4qr/vC2VKdjnna+k8osWzoEv34eza9C15Er7u0vcrAAbY8meodtyGGCDgFsJlF91Fi3pormxprab2lE2YqEPiS0wOs+RHGf8+RTw6aZqTtOHzi7T/T6YWheX+sJeKau8rTiSRBQaTa8uK8hWmgkzOt9yP7JTsng9EnpNw5R1/1EV/8ehuV64fgsY7r1QNWS2nN6gNQDbaALtPOV98uV5+XhCGYhX+VHOtB9l3WR+7qncFkayYg00oXRQlia2Hf4zCCcLNfG7859QTmBlla52SoEL3VxvsnOVR0K4tzxu7PWXtaJvF4Mn/mSoz2PMCoPvKj3J5ROOUy3l0cjISq+81GpfHNxWd7T0WKaCq8YmGt5aJhGh+onn8FojC7dQWqahyd6pl/Rs65gmMmOOFz7gs0XU3yOBFTwc9jwVElI1mSIuNMm0A/nnxWHmdOnGrCRQb9aIQXZe6YDGjou1Yv7HlIYw0COTfnfSmCZlUvwpu5ibB5yJMRmhRd9T8EWvfEEgiRT3SfjVGkNkktgs7+9M+xrEPu4ho69QfYAAlN3H8eNZEP5xuPpDDFw0Z3jRNfDyzmRL+4fkjDX78Iha8onM1zqCOWX/Y/3/9FUMdxEO5YZ3yLCZOrLl/bjcNBqo80JfBG7o+YGrIdoNMxucICFoWSDvrIKHmCWx3HCohxIrB3xwdnRUqXsJtml5qYYl7BNWibT3TMe0Loy3KSAu70ccULjaRhMqaMQVfe0DoSxKR5yQAeZ0XO/qaLICGq1oNoJ+PfuBRQ1nxDMZ8APfupHcEDebC68XWSz8M9jfBFtnVyYUwHGHVhBjZBFndoZZEbSkivgsBgP5ZfE5QsOOFLWXZe2w4QFbCqRcZiCcRWlcxzdlAKdWU6KHfd20MvomHyIT06c6XnCQdVWFoQLS3L8b1mPO06Qxg4JQfRCQwHXT2Sp4lpDjVEKJRwKm5dCHvf+KHyL/WLO8uCPNEtV1fujdLdAG0SwBwBLY4/CcntHYS7ZvqM7ROzVa5dQI8i+4b67Z0dtJzmNFdYCOkKGU3Kj5+O/oxmWL3pzzO/H8TVOHQcvhtIwHUYCBnvKxzsXsjKTmQOuMvy8d8xpbS9Sk3KOwnghn7GsRjtAR9Pv4P4ocdXJcN1jwtXf6FjUQsWiOQZe3/aGf5zs98dle64UYjwF56r5da8RG+HkM9rgnE1I3mG2Z8OQSIgSJXYbiVbAxZfPx7HrsdGYafUT+pekv0ThtrNJvJDWT19OcxoRUOxfq+9EKbrr7cU/FLyYDGm7Ofwb/nW90HLxgFxAQRCRitbujyS+L772w+G4iBlBw9wb8ERKv2Nsk8P/E72pwWdcPDiya+2iX+vcWMecOIfrW/vJWjMiOV3/8V3l+pQJ2tioTQyIfx5TdQmquT58nkQ0Mb/fqruYvIaYbwHYMuKbZVlhu2p4Xek7NYVIJrcsl7bQvjQOR1NP100Qmy86dUevc1NDqqQ02cxjsDsosLAW4IiNYmsOl7ntBEkV1Zg7nbwiAx4kRREef9/S8XWvVu9UXl8yEmXH7BS3sOlkdNyIy15qStYyCP0uT19LBE+8hGWZpvgpMtTXpvoo5ZBsSBSuE5FKms09X8gXCzHiGTI4aCvqS8zYCrjO8kwoopv/oVQGmofD6E0sMhaNmtYGsS1PQCEcejzWX+V9zOVqz37aVrCvVYmptOLiCDiDRy67rXPVaNpCGIOtiEiRE7+RELoXdJkJFIk7fEH6cMo/wCXm4g+Ah0dNqCNHkAAAR+UbbruI6qgS/9wmQo4PfpN2M4J3ThobYfVCBGXYS2ZqoUfCdNA5RxLZK4rBD7uQUHUkqW4813quazw9zGqJv7nO7XmA2/GEu7yuaxeHkcKoBZxALQqjdqOPJEoOmcpCz20kBg4Q8akaex/7FDAyurXVswUKM7qETvz4UWUxudpk6MP/CRrHgK4j1tDzjeGv0sDCZLLzgu4YTxvjB+t2eN/41cSy1OXphC1NNPdQQ03vCpETUzTAruBIHiMVz6STxU8VEOXpzNsA8KtMlqmPWxEX107Fpkl84JaQNZpbryVmFVBHTSUce/XX1+3qUPMjQQc0SJA0Ue8zgo6SJM6B57AhQP8EwmdLCH4dAblENvo86QMhS7Y35tRYpSsTRpie3tK4IIzNEnqxOYgOOkpbkgv+Ws/koAP3gLykGMbHNNRa+F4wm8j77Gq1i486wGpPRqBi8nGU35TIPhj2XFJmdf9a5PM/vTkNx1ejG4N1Tz9ZOgBsHAOGNo7eAjs+EjqnxEHrCcUrFgTI/qFmMImEfQZ/DluGKFeuMsfb/3CATw1brB6+nxwPsFmM0ulVGZuahE2pF66/MR5shEV6mlE9kzvn96Xs0fe5ZLZnHD0dPgWVmPgtDfRvGnqkitLS9uFNDuItXat5uloCEoWX9L/fe8ao3AG0FN4c/JMja18aWNd4O4Ub9guXxgFn7R4Y60bjxBvwNz8++0wsiBBQfW/IlBenFkZpxUH5TkxZ33c7BHzGz29g2+/fC+y2BoQyKhIG5X14wCmXnbZKFNgo6nFF8Xe2xK57iMpVSR4R3tGzdFXwGjiD1T+ff4/svh4u/a1rgdICMOTddqJymXYn6VcgoLattzdteTPl82gUVEGx0TQo+lcZPGT96Svw1xX7uQ92L0iAmFRnZQI2ePyDRqhlMy/DtdVjMTgBPV33WruB2aN67tN48o2bevYGL3b+j4UOkHCcmMKWTCDXqs+7sKP/XEaVDMFw+DdcDvyBM4Mtiv0AuGthDoahrt7N1l1TWDYaZ61KevDTcvfLODU8oUpoaU1RGrbXJJGo4Jo+0jI5jurPOzsTE+NC4ZJeXOwjJKn1NNV/ttNv9MvuN2zu7Iej835cXQWqTwD0HGdK4DMz06c2/8EPKLdOlOstN0Ka7yFvJ8QhF0mqh5pv3t3VLxiiHn+UtGI+xCScnM3KQKhp23luL/90X3XiyqCxgF0zJ/R+g/Fb3Yhb4WrB0aXFlQCnPL2yptTYXu45YLFRyZ/TQEjG9F+H5Mt2stoBG48F3mp8FB58vbZuz709KbsH7OtEmQonHlefQW7eerr4ZXNps/kXO4eS9SdJUtG0AZjC5X3jldt9Ny+jeiK/06n+dIMUcl8FWkFjzIyHRXeqdIYuyKCpYpWFIvtAbeLx+8IGeuVO42Xaxq3VToBtReGuQP2/0YZnqoMxbCmkR9euTXR7gAKUkGsy181sHZYBShREpdsyrJm9/5oVMPq8CGMHlDcca1cNOxP0R6cg5FUdrRi25vQMPI2VxRJ974kvVwVk2ku0hHuqy3+24C5UU0K77w1wrRkeRN2SktvN5jAeXvsz/C8pMfuco2wovyDZ7m+kTE7M0KdbLA8MTnmwgie2YYm+6Zl880t2Bv8mYyu283KZ5zAI7kBcABftLH9wjt/PZ+mJWE2EoDOu2/XBnvTjIbuWB59NKfn4kx0Drndpfo2rqN2z56rXaxyG+2/l4HAKmLyCQP3Y9cUxU3nkNPkTWjTpGsr1s9D5J3Qo3fm5yJ6neJqz/9+1C7+u4uZAxEM96tMpJR1KdjCtZlMEH/aTHfjXnajr1WLUPNYV//TwbWRGV9HAkK6DYqupgdH20ocb7P75XtfhFs/Via3ubHVZr66QVWd4Mdc8kuHODT4/jLqfcLDS5l47af5theMnyUvouUjdmhBtdul/r65GTrj+s3A8Rqy27XpohZ5xHnDaljkoVFDYoKhGm/1pOtDJkx+XWTTAL6zfV2HJwmJwRxIEFxBbT3BeUruO9JeKfJfi+O15hmmfFqfCIFeXGCa/l00VgHV0n2RWtIMsY6AhI3RgXbj71qZcrv1ALBpBtpFVQc4aLrtowKkIUCvAjmyued9V87vaEREv0jm7vyK1pUUPvC6VbLRJ55TdJb2/wTdqqDHFKE89U6afUTD/J9b60qagH6wDJTYf2LljL4gUWXssFtStSNJKvs1Nww2J3MKeFIgJdOgw2RexE9omcsoaTK/1MkPubKzRA0bt5IR0maAA244ny5AEB6hJ02+n0JxeP0+RtBvZ0JCIsdrmNwKc8u/jEtYlf0YplsOufbiZE3Bg2njQ0w9h0wnhwD33s/1MGW8eAcbq//3dcLTF5dNZ08TYIv1+u6LUSI7slTufCnX4AuYsRZTRFd2XhnMF7N6JohNZj0JtYz/JGzopFtRtXdr8q57h2YrEVP5bpqPPUP6fESUZu/Pjh4BZOJvFjlx7antGcqfMUqWxmjYX/AAYsMmMUh/Q5XCgBKF6h++F1Mo9lKVkTDsCeSRawYRIMS+QzCB6D3HKmbIwWjsSL9fDTUmaASFJGUfHxaqkH6UiP6mER8DoZ9oMES+DDtQ/ZzlXGpU+4LnwgimDZVpWWdqtstDuIS3BGB0mEHwnqa1nF4KGtK0gFffE+303+Cs1Y0ed9J69jTrV+/5ZNfujjEB7Vba3tYdtDAdd3GwPMPfBDDl+233o4kmGrXv+kFPW2brA1a8IyA5d+dBj1wuW7wD7oMSHpiVqpJIUcB3KQcEtM1fb3hrvAM+KbzL+fxnASu+As9Wq4lNjUF1eg6tFNaaZ+KCq+6wAdxAPym56S/Lr9PZNhi9Qwy985xtL9safYh2r5m/60sBcax9jmf06aRD7Xf2///dG0H9RR+J+rMNA7N6SweiWHCHA6P7va06Obev6ykpT9va5NOpcfqiV8wnl/+Kzi+0V1REIB5B/NE2qs5VBKXJa6X5t0qA4Exa0SuU2eWD5vfLe1MuxxKmuHN+Xc8TZg2fq3rAd9FJ3SiAJXbbi5VyrVff6vD1odbpj9vr8BYlybS2qOCgCJQq/ZHHTW46L85evpGvPMv0kJQThHcABfBz+8M3zKamQqNpzniP4kFMZ2lcHYNLvKo95pX+iccTFEA/fcz3iEJHYwByTXDu4O3sUBP3deF+faOxwrrJqRo18MR7qCwx8v1qUlYwgE/OOZbX9H5g6T1NEHaEiXi/avrc2yfylVffA5VVwtMReBlVAGAGw52Ljr8XfNyitVWCSbeFme2eb7yWLRVvxr8kFHneR5DV8Ccwb/1DFWDCZv9CtrZmkkBQDnfa5JAsfcDC1629q6NaH6d4swmhfhF06Gj0mgxrkuDetgOasAlmtlLJBpX22+1oRQ2BAyNjkX4eN/Qlcnwvq2J7NSyqxB+2Y79azx0C3tiJw/BQrc7Jz++6D7qkp1pFZIOOxFI7mQbfLayFCUcYGHzRPT/lu/GutOOcW39zl95TK3Z8jsTHqEtugygJ00UhP0QhsuIJf3inXsidpr7tF3mbYU5izmw3aXwoOZEkIeNz37vjzUiJ8xgMO6AOqrewnPspMOYFv7Ohfo07Q6wDH2rkZb9ULQVUU2oOcswDZUSvzjQ4NxUd3cwza0g4IOQEUj43wMAVzmmVhkVO0QE67lzehCCTSR+gG6B32yo+zFP6VnjNOiJsQXZVnqXF8wPKgMrhQZJtCyJuuwCj+UzwE0PoYi9oUXPS4tlrJAGdVDPHj3skVMs4BNGhdpNDDkeMq9virOZ8xChLr1HduVG6V4JnKAc1/byxeQfq6+hzCZUARRw+VREAqdffW9gyRtC/HsyVjYDMP6oez8MZ1ouAcZB6ejl3jyo3Fra0nNTaLBRYLQazW1OMuLm6HmQGVSJwOszTRw/5aRnASEFD+KdBgiGWiEy0AdsIqIuPhMednzHl9JJiBqThyaeRkg10JZl2hDzIbP6R3azhGs5G1rM4M+AO7CvyohJgLaRvycFbiyVW2PFLepfy9EIooDWfn8niCvRv+qik9d6CyP13YBerxUkKnMxQ87JnWOawAXlF5wm/yx9uSHUxYc3Jvoq1ZaVKgexvn5yL3j6nFLbzC4MiM0739kaWSPO43xh41QLviIclC8ypE0ZW4CIYT4Xxv8XEwZ5BdhqWeeHDPKx2sy6m6sMpdni60oricDFeEYQKNQuhgNM5NDRoupYL/3Dw5eKTqGMwM3hmC50d2k6ez3XcJk6X5vdRqiEYYm8k7D86Mvs5qUFHRZyU6UlLrMhROUdiH0EXaPuVxQm295Gpi92g47G5G3uKt2sTXKMSdtlkra+KPoHoyp7qDZqTj8VgvYeMnKscvHeiREvQ7m7+iFcwH8fUpS0O+jIT+CrMbHgOPnYQ/kNffaOFRCM+p5tnCSdukkQKfaylW74v5KtKgZZBzdgVYPc429n/dWOgKAsbLHl+QNwz2t8GDmaRCFuSuebRs2Hf6mczeU4hlsd9Ac8f+jaGEk0zltq5QCw7V/pVsDxQ6FhdHjbblrYHKq9/8S/O7z02G8m1+mzYAYRaPfGvGNM3d5fUqYMzE8ioqhU+36zC8Ik3pNnA4Hurdic25sakHtrLbcdJ69WidjasnvpIs5LZQ4F7V0frp0+mLFiExg49F7oezc7brF2M9Fen13l7fTVR9OVE6Tft5hJzCZ+NdEoMRpOvjKmGbvtbebHznGzHgE6OLT/qCADC3eBI/WAt/x9oskaCXiU4gtbMEitz31VAfj9/njyxqQWY9sXH6t6OXI3flKKZD0+zksww1wUW3ZfMnclns5V/vO6jG68GAWPNHuKpsO9nZSTdgW5Ackx7zyz0QdfDRjdbvRllR+jLqQWWIUCjfCtt0p80Wqsb3bPDnjmI8Nte+kDtAp4jGqE/0zMgzkk+CqsmDGGZ0IWfs6tr/CXp3LCUMktATZy1D7y4UtlKW/tPev1W0RF7hNO6YXLECMZGoaV0x5g33FRUPRYrlHtUQXD2eP2qNPCEy/xHKS98DWqx6zxGJeTixtKvQu6oSkcXkn/IjZx8i71dIUZgLGuSMKQD8knoUek20hDc9V5WG4YEx1T9bua2FxCLh8bOyuhmDyvSVHTpPt19TDGZxW9ma6WYmOdyaR8hO3HlredO527FT8uvqiZL9O94Ls0IsEHO69h239Mgs7F86UL8B+idRiU6Adt30Opq2gE4e6BEwd6I3EJcnxwWKuErOKAmNzWSxu4Cs4KEY9fYU2HbT7Q1q0dE8nbpyYd1d/Ughgb3+rRjsRulpTzLQCfDytDTx2tW5RvQhDVhC+FpUQSO5Tun9Ra4Hh6Vldb43rqzr8ijQdlPCPgcVvmoEvNEq+W1tcUnMZoGLlW6+EVUiSmIYUnFX5La8SoQSK1pCQ+PVxjAoxovSAgyfM4zeSXIBKO+6pUrLSKrs2BQxxV5i7p+g5BQWpdU1dsPL4X9+vLAZAIRyST5yXQpC+2kiuueIaYkiHLrgrC2dNhIRZb6rd2qipYXwjdl2s2sDc3PPcelKyYuoof7D2dcml8uwzlC1m8uE9WS1M9z/9wEhPUAdB9B19xiejoq2LB/Yj8RhRUninOSpDpSyJGZxVACFhwMbLuWYEG6wILPFVHC4kLH5YPwvYsF843ERDbeecHCqBIOkzpqZTN3fuDObpElG5PwzuV0t4+XzJ3X1u/TDUf50a3GxEsT4HxhiunOl7Y3yyJ00q+TaVvxK17whsKVe5rqzTAIAHXtylv7BnvT+aoXpRnytTF9h1muOqC7gGgpYRYsdACkBHNaepI/w1DcXIg8iswUdcJb9vNgTXo+LowlGU+Gfgjara4517lZc6WT75T4isgSlZ4iCIIdkPo6nY/jBajxjeUGf2dmbgZNxE3hMtJ1bUnMCngBS5u9RBY7qDyAW0WN0Dprb0dIiGjQzNE7xhkV1k1AHshvujROsEPYgcxCmZL0+eWmGtM1pBBoXsLH4eVfMLdOKoaLt1Hd4xdPUw+SgqSRSbJbR0dwCsPhzBnlHSPraQIJlef46vP3UliTV33TiZfcDlwmwg0B9gcPT5pXzis98OBxa0qOiZXceTM9lzeSF2m95910Nxw1xAbP1wLKNmsgdfWNySolVTQgtmoLRaryZRlN7+knPpZ8ItTPFAWKeBfRneitxhyt0g6A/803KK183Ruez+gjlhYXZ0RUila/e0Wrdrx9wwgm/yoF6nXcJLme/OxQEueJYKjz2ZzlQDcc/r2iUQI4r4JBVDpn7boXfc2d93WH0zsai9h+KWcT8FynzNoq9FzLf0BY/1mnWoT43e5Q10vJvOSl2ZaU/RzKhJzNUz+XiP/kdBP/4zBorYA8BBGcLQCpEmml24VoDwHuT+psw8NTw4uUGNQFwCBeMg90OCI5nPP/trIn4iJG64QvzndStBr2ZZ4Dy5sr8wTAnhI/4frPKA/qat8tdlTR8wPspexAumQZo/OrHOYSetYlOMyu7XTmGUsRfP1qgtFzDWQqO8RQx279JKR6dPug18r9WeFJbSLIzWmBR4BNlqO65d2mhzaajBlWXgPi3XBDVJtWUfj+K3mrUv1t3whuM2NVHPCaHP0yDR1e5xK8v8YtkNg9GLjAZnX7AP6URBWDAUPF/wYsmedFAOpDbfTdI3ZQi+mrCAatY7Y7x58Dq5+UF2Wq2f/COlDz+/7jt6HZiHfBELV/7yKmN1DoEhr0Y2qLqDGW5YWL7OIxxqL/2ykj+ZGLJsamTp5Cf1pUG/u9vq3EwFfcQayeDIVGdVs/DkvksxWG/ARmBZn5CjE1rY+N0V98tys2CYYCpoCB5A4Vbt+cKnkN1bwgYH1ZVMWV730FqeS3/swV6ui3A/pWuIiX8oYr83jYTafP/89HR7KBOYV2oU8+tCL0dSOj6pkSwDyLg0O3WGg1+e8wIMHidnKiBXcEKc2FsANW1AhKuHYCklTnWtO2xFaINIM5OsW2A1agob1fg9N5Qcg3y8SIUoz36Xhfm5ybTNWUFVbTrfTKsDHKpYaO0lUQ44deod3bWZeuEI+2VZiHlU3XPbSkyHRJkW8pViUTk2QVOJfCvRQmGRcZjAZF0eeXqnLL91DBvZlUfgCja3G21CgWApPQ6ZLVdu/WwzKZ3chLefAXo0SaAtZUlxDZ4fls0gTPoVp+qlnJ+SStOpk8q4Kw4NC/v0fKfiZQzH+d9V+o5nmvwQGKuAsRUyo0eFHFADxf+g3P3/61sTjLbY9Ti8RZ5r42k1NRhANDDFkJDlcwNvYfIWl5BT9fR1OVew8NjiA/4tr7TYC8ioJP7GgHC7j7NXr+iCqk5uMtXbmFggn3YtsRcsXufqnY3/Nk8lbmRpI6IiS4i88fF0ZKFhkgNQj80EMWxH44MoM8gnPCFMV0MS5s9UP/8PY3YppJsDK1IU5z0AYYR9oyXuQv/lMeex9WxWdb4m0UsVpQJLBIqbbQ0Bb3Kn6Gfm1pnl+blrBG+m8GRCVHNfkopuiQRIFSaYsGjzZ4PoUG5E/6Gw9l5HDIWWv2e+EL4KEYPNO/J+uQPgQFwy9n+gQJ00t1CL7J9Sx1Smw4bncXg8CU+zzaUqWS/faY5W/zTdYi28jVGMljPH+qANWn1NtASW68GFWKdPXletLHcBOwZfJPhYXiz8CqBjN71azT3lGPlyH97mQrwqedLHxgUgPizEBrNv2NvOQ3H3FpGk3O9prBXtf1VCC+pKFcdxgl//8AjdCL6UpTIKn5Dmrsnv3I751w+pmTTxAdcniDURHHL4zxFnOLVJhf6vrh9ozyEv+wgORe4a/WJeYnzC2LYRSCajSqhwwsbNbZWnmoa1ZLTMF2nuZ2OxzqYzzUer3cTKP/CZR9sQtC1F9GlFdA+v0GB88V9gB68E8NbTeGXgQrp7zzJmbFcpbeDBfBPjMa1yop4AnhW97Di/SlAdWacDLz9FIuIxtiDD6mP4ItREg/pr4aSfF/qhJ1JSeSyrNaUBhU+CEGej9zT7aDwSrWCylA7jkwxESx5Xdr2QTN9pbcbJ+bLtoi4Yb+uhYfvWjY8cZC54xdFr5huMFzdVnBOqDEcHZ5+0hkizVA1+kMkZp7rcGcwSfHyZ9xD31n0rT5VU8yXTW64aFH/p3RgX08eWzH5zylg86zAp/LxhsnwTcBwvcLBylRmTawHqFlZEQA2KxDUla/QY7phNL0bGr57qrBVtiEsV66oSk9VpnwICqCCY4he76GMA+3o58xMedM/xPJn4QapOfqQSom5ecKPvaJQiHYwTtPoKs6693HJ6jFw0RmqhnpbidhdsRCZCb8MBWLdJtRL92Q3ovNvcpD331IHoH65sxX9dLLrN+XPU+nst0lhggcCatiGgE9+tnQKwHC/NvohTaSGSDVRNZLp6BKt4Wzv28FPMJXY+Co6fSbQfu2MSTH/Em3h0YPA94YeGTbnYXYn5Pgob6RdOVnOX2RVPHzObP6UJV29w/riNayGmWW4hPioVKl9A/0zo+yVhEH55q6TXh0kDUa02XUJx/+rtjS1Rg7Jq+XwG8xH5lwz7P7u0Te6R+oyC1jWAV4vB2IHnwoYZORFJ+IxNePP4HNhYdLLOIeTESJAW4uoqNBtMyE07+ZwB8t74SuTcxlOEj6oD12YqLWojC9MOijX3Px3IvNClF/k3/ogHEDXBWMY9KLsZ9+xUxeF14FZ20xbqBEI3rTzqNzO3YRGHM2+PspdFSwgeZOzxpxdn9eYLB8RvGHEjT8Y10BA5szkEaKiYJPUAp3X3xHcef4QvX9yD4+YoA4+U9/jpwl/HV2GJZm6mJE/1TKpwmRWU18J2u7Sod3P4MyM+iuEWIqXZgHRnfU15LMRmAQzY5ETgTZkIOf6bGkgc+bCOLGtCnPFrOmDlLdvlr2/1z82XrAhEbc40VwZu/RcFi7IpzgLGcpsxpPAI9JZ4LUObTXB5i2tH/tlJ4D53PI7FGOmoynX/asZPF/Ogqv8BGeyst40a7vprUq3WcEIEXx6utFir+Emmek82Rlk9NNmwbp+zex97m73LR40nR8ksolRks6QKUSIl3rg07Ywu2a0y8cT2ql/z1zMttA4eFf9tYnDQTN+va32FgvZ32KyjXMqxVyuk+1z4c7F5j54C1OObbzeMtRXbMr0q+NcFTS1zretqTxF+eiOsQykJ2QvfnGIDMrJVTG0e86gfmj95cG+YO6BnJQCKtiZMJ4W0RL9MTEFxgXgrPmht3zp8uvA/TexrOhE3fbDTTMCaKJV07xJv++bekqer2g17GNWmnTp98VfcyNdp9Fvh8nxfQKf8rfolNFutrhicrxTYWFTLU4arfdyOmMd0FljR6HK5c8Py7QnHFirGAZuTOGlAiivbA0/MuptCoUvGlpnpYO3PeH5ep87wTgYU0RraiLByVEt0HA1wBoe/YXRyJJTirA22lZLCZz8OrMpe5Vi+2KtTJPJ4hfgbOOPBp40RYxQlJMuY2+LjksTm/MbYQGiNdyx9saPxUYK82ORn1iksVjy76vQiLf2WVKU6rBL0NbHD9RuSU4/NyCVHybjtSab+rAUH6lQoX/LEQjrBQpJ4nBBtHH8WxEruWVQd/LWoTVphnBU7OZ0dYIctkBBluQFycCK5/QwtP9ZsZxDnbTfiWt4zIRQYxU/yaO2+iI0Cgkuwu885wiL+JgReUkQu0JFl5hXJmmn7LhZG8tMcHAA+4WjevGP2R8ndWkBrKTDkeFNOy4EeGzWutPdJd3gafgAPKQudgNvNRr1/dJzGWhCwuAISTnsWf7E0lhCG8ovkW+Td+hWVmH+P0cfvMprXTb216qET7fUsE4Rl3Vg/NSL3igf/O/3rFqeFPBmXfZ1y8xFP3Ns1kp3kkxXiRNrqzpf/BUEVMfYLgBDqhkJzduOpdrwQ+nktEYU9WO4hx0dxvBte7/pxDxv9kO44EAXXs/+ef2L2/ZC3StrYksKEXBhGA3dDTC5SXIzCaiAxjpu1RVxWlDKGC7LEVQDK/KP43Zs6snCGZPd4pXevvoC22ZeQkI4+uMxpXVqLABs//T6nDEmvo0LG6yWZ8kSUPkIVo6VmnIahFLz33lbG/9uAJ1KMZyPQQLQglXZ6V6jhHMeCdIKY+KDx8PZquFrmOpkJjzxQ5bo2XtD7s+8RDq7DJJgY0Et/lULMzwJKGsHbeeqxVEV27V3OFdBZGER4ljytA2GmdEJuwiXTbeK1v2RsJxsFDdAuYXd1Evpghd/poOAL5llcUdvZmJK1W6TGG1eJ80pkGp4D+KOBWb0iZ/9Lwq8YwboGVuA/K5RJ2ThUQ4/1ifaOopqu0s14zq8Mf+JKjOwpq+vaAjNFGkrnPHCxAhR8U9Xf9hktaryae41bia+oV72wq7kaQdlpy0ufl7ZdVuJmN+k0YLyQAfXHl+p5+WaaqLtwHrFKr/+7iJAVhBBGS1QgHsvIY6SIrBZiHETw7754DPacKp+X5278RiwzkgxZ3Dbllt7Jozovo4cJnSbclxy30rpt1wJdSHOt3EudnhIZZADgGD6YX5D60rOczJCQ1kVS/Ex4JRmfolMn3MoPiM61CQc6jdg/Nkkc+WKXkzipYBMXW+uvH0ZAd9jJFk8KvcyueNStyZF9Kh9CtORS02IVZQrLQK3qzpAkaxpx3YrGpqgXEpNaNa7VfsE+wnIbgYGDW4Zn/W1iDIA7DxI/z8gO0qYIs3jB0PDoC8qw+OKcMj3nYEMOUHaK3PwK2WTvZyU1mDJlRRLx4lIfmzCMvhna8yYGcC/pKSpHi0cBqnbWMgjjfS+SmxrTTdI9XvMsGPvvdpP3XzRP3k6RX3pstGlvsO91z7QRDhQeBuqfoK2tJLQVe69sgznBvObnJFV5uLQoLDvfyF6uU6RHY3HziW+f1vLgFL1QRidfdJFd9YwjovQcQfdCS6KnOBwdvEWjWlv0NQPZibhWt4XC93h7Bw6Nr8UZBdCKea3oxh3ByCsDime2EWlRnDpl3rL6xy3gkk43Szde/5qaTLkUYRko5yBtSweW/sP/kx7nuphE9rv8273aNy+w+bBODbZlbYjurhenY/KCaM3tg6Skr4pb3fRMaH7gOLyjDSxCQxjCvEjWt6okNkVIyRSa1ndvyMKCqEgssxeaV27nxgPN5N3vuyOmJeCjQmzXxLUZVHrRRLyhHdm+wh+vbxQ3Y9ieyfdtUkO5n8X7akewmt4K0ETcSOdNcLfoLOQTG0F2S8z9dzfO7s98FfA7IsLio6LJeix2FLGiSIodPOyjWfYB1dhICwtLkHn2LA5QzshOCavU6upMEE5fvIc4x53qr9zDwZd9PiiIb6tq5F2gpjxVCGrEFNRmEfi4MXzUTgKMmu+6XbdCJ3aKKrmiXdfEgn8pNF1Ydf+5ZGSAca94EdCvwUNK0m9RWznZ6G7wytBnjqMw6vdKtHN/zEFRgbCK3WrlnGZ3IDTtd+wokQkgKKLooLyPyxnmxW3Qd/cXBPiJv4nlsM5NvZVO1AKuKwjJ6xeISzjM4nOzBD3n21jSR63uGilDIKF+C7OUbwlCxaxQRKS8jD+IBbXhkVs/Gqb+meA7RB/MOZZbuJtgOUJzJVZ2RIb9LMMRmYrWAaSm9d1lz8395sgiS40qVCagGj3GrEl27bQMdaSbjnzDOfgPsRCKtjdJqHk4C2E6wINyvrG5jxG5GvcrfyCgweOKSB1FyCjqIhiRiMYcJ9UUJ54r06HLCIRoHHphXesZg0pXsBbEFm9vLTjWGV/Wlj7711/tBbZIt8qLD9q6kYPE3ofJbcjKrUAQBtRI3EjXJjb4iq+A9hYMTpvmYYwlQ5gsfIgZ6671L48s49xyR1StNwS/hlIsqxw0HM4Kr/w76CxvSaekcpNLlCJrmm2aQtdtXku9nMVPWZaj39NKIrdeP0em1Gkkrki1yUsfWlQ050V6SEWff3V6CcKPGznrGZdJ4G+dn+NXdOjnqi40FoJGUM6xC4bZLNX8ckf0AxFOHcpmI/Ro9n4LvT75pPsI9WDaaBbH92ph7kxbB8EWB1v4e4tZgyHT8wHAN1REH7nhnS/XAKuPrPwBzCtQMUwKUO++J/dOo7XiC0pH1ztZR1MpRiz115OJW/c6tBe6WFt2NtKeZinF4Tb3TUEb9TKItJUldDI20VUexjxudXU2Mh32Yr+iGTKV78YcU8qWpcVdSEVue/2dydOgoUiEM833KvlDBIFf95mtNVZ6jn3dudqeWGB1iMJJWMlTgljFwv3nq+CjY8qQA9bxgFOsoVlBVNnp4nX3zraVhlC8SmB48DdY0vcWKLWxSvQdSoBKUWYAUrGSR/A8ybsAj67PFVLKK5pgXfooFzQa4S/HXJpY4JYkqPa8mVaTJBZzjsP7gNzzvfFuQoCRIspDHCq/jJQEOk7iL/IBEAkGoFaIiKVnQu1+ukWMRXGU97iauSNup5HMIE2V+a36hbsy+0nLH05N1IqDErudvyyO2z9pNdyp/DvMTPwF3wLz2drTtI/eTVV2JjLLJNhdsjFzq0V3qIyMAbzXkqXe6WxK36IBtbFFGkEFpQx2nwqNRhOaVnfGneNs9Lz4ulN+uRwRIzRCZ7U4hGTBotTfZtbbedyyQ8ecIBJXXMVL/ln2IAkAtGaVAgls3HMJtqaLVewzfaQWeWWZ2U1gItzRuinBEe65+YiBAZi9FRMT7LIqRl6U9fC0zlzfE9OykIZApZsxccJ2iHts/MOuUYE/e6meC2T2AtWMk6JRW9LoF7dv/D6LKinwi0gtugD+h2ZiwIUslwcMHM3qi0CB2oeompQ5JYhLc3EzYrQSZev8BfQg4bwPsEIcP5xmTbBu2FzmIiK7holscCnOBJ2mKBFThxsmMgarOePQOIschuAK/Zx761hu6zVELq/aj0nMwkfFyx8PPwpMpJIpyxB8+8JSJnVmN9rnKiFGqV6SXa6pbg/OEvm9p5h5vmxhnu+S/4JNmI+A04GeZukScwo3w32n2SrkB4wuDL0/kLAU258vbj00HP9sSdbUQODe82mYSXHuI9bsbrp3JgHpjZvLwh4BulEgnHOSsqGkG1s4e407nmSkG0NmcVAIlPESEczA157YFZhu9nq82T2JNYbWICbbO2KcGbFg4wh0CioLhRNppc+UbpaSWVlYX7M68jd6aQ8Pn8zMx7zfx14sF24ClzF5WKSJbXILUUgIC2HDSck3H+mP4aKunYq4Sn4ycRLssGAlq6Vd1jcKE9DA9TIuPiaC61kz3O9s/tETMSZRI7ZDyZXTSqGDKFMlOe/pmt9tnmQ638wWCdgvtVWrjTJIcIPIINBUhG0+znYOKL9liXWCpJh9/ulN4UzKX34U/1/ueWO189wvJP1b96spFpnAoUrPwJSj251Oui6O2iWheX6gv4Y/CgJdHDJ8+W1tO853Bnk28uUc8A6Kae/26jZGAtNpXmTKlY4G+X7tI89WOXu9iYrgZ2PU7Mkt+MkqoXdL01krXUS2BmGahLcEFFpRM9OMHKsGipFJbyifbG+ypZrBCIWciMzh8FQoM9h8T7JlLqkZdTlxoThkU17eGCahmIRfF9yCQZivgfkrBKCs2sMimzrtxMPtsWI/S66WARCJh7O1rYv9cWMa2WJt+cvn/J6PlSKinEMxwiHcmRMhA7eeZuVOPbEfqqQDfMlreIPzECxuREtRyU68HLplferp8Oqq61zSmoI6Z8OnuNpTZyGopuu7cmj+d1Sb+2Gf3/9IgNrIoZXV2kvydTsb8Y+J2zG8kjnwSjgfvB+3jnCl7PltdFGDEfT/J65FmHgNH03xJtyX6ecCuVVGb6CmjpE4ibdVlLvH0uuKoX2oEsNaNQ1OkWAnmX+fw2kQl2ujj0BNpD7YgHCyZ45BKLwv0WIgkY758wIvylmzq8ErhSfUKhu55OrtJ6PZKGSbcijS4yT6FGcvYmflqJZvF2g5Sx88f1lK60bK8Nyyf46v1gSpAcpEFPxwu20gcOq1kE/khT8fqRTLPlsfFW7qxXTbR5NQ5wcl3ZRNx8rTw3h1oKSuqN2WIfykVtMoNsnY/2dQ+rF/dNVSZo4mTZFcoNcvW0hOyEMbKAdhSFH+Yfso4qIYO5CqrhWjKVy9NqIK+42M8PV37s3Z7jxhxwlp+l13+G5N+zQFUgV1JAfREdPGAaE3R2qYGAkzO28tHfQWmI+cn6s41I1lhcfBkNBv2eG1jBBPTSgD5dTK6jWTMwRMfx72n3FYOLs24Ny2PMtrTl9BXh7oJPRoLO+5ch4F1Sh6z4Bf6XhQcr41H7M1ZZCtjknWf4Ffpy/61+50IHGWfb3S1cWzKLXW07SBRw9z6o3qD5cVlKOgajdHW0k2OBHa1hPqRXHrEMu6ZZdlooM/69hZmE8HLo88vDl0f0qBCjsjGnwvj03DiTrCdRyz0xC+Mvzp0zgUQ9rhL5RxSqODEDhHC4u39X12AL2u2ZS7ZidaxnJjLpRuxEi5WHr9k0Q+Z14IGiNfN0/yUPlynkeSy2OK0mb7dCjGQyjc/J6E8HrW1MUNDalRFKZrcDBOYDsry9xdluopVYUt0wNykD4I4DS6xf8ierdobcJ+ZBRt0bdKHOzIQRDw1hr1NUyjDuhmpcfuqe6PFMNL98G41x+ZY1MQCXnTiILQ5kHhwt3T8G3DjmyklwbO2pyt5iHwds4hfTfsUFB1AMfQT89WwDpJPhQATYtNVI0fiT5tfrhEIoYGcJtnxEemDEwtzIc2O8y7ah4lcPqBLzt6ecJHs5ojd3RHN6hvLRizepyoSMjWSLy77x0QLdZ1vxP0hIb0Ohc9KaMlfL/1QkNWwZE1j65Tq78XTgAu79KvYIVYHF+2tVJ2O4GgxmNJEnEojNIPM9aqiC5ILwZS7f2PgU7xett/oKqmGCSGLeGB0meDHx8WjmFRHMBYFHkdr9jUJMo124TipZl3Hd+rqfhoWI5EOjgf+vVmicEtYu9oladlkMs95OcD5co03I2Vqouzv5sqDBsUcKlhLbGpOugsp53vdBqbF+f/plk7ead9A9Kdzza9CCHf92/wN04gn9Nmdr7jbxVTMnJGHJxbqSdC3sSt7d1nA4y+/dMlz1WsZXiLmeoqX8nkWL9nhD3CMHWoSNKRq9OcR+E5TFxbzF3WNDyKd5VkYlC0gX0k7tuatmMT6PqyNBHU11wWFkp46rzRhlvaLNgI7rLxVvvaUJ7R3uexm6jeL8kRTQXsaG1pSmGVupuLbZtv7iRPhOkeT+zKdq05xOR2P2ClQPvHH90yKWSaK4Fd7GLjk9Fl8m36DnBWvJLhb8b9BQlHIl6CJdTxMTZ4G3IUPsnpQPG+0JAK9V2HcKasKzHjBqYuv9FADfC184ir2y3FUYHxVJopFHZAUSh5cODjF9MnuJUQYw5GdttETFu/Do7xVD2xOU1sLFg2dUTpk9zBhqzWE5wzjWP7F6UTowc/Sol5B9Dk80Vlgs3dbHH+cLvWeFk+/lXe4RF9j268mhC7Nf8Jp6xU7ZWKZPDdhJNOEoyhpurMPk9oGeU/WfjqZhsd2Djs2r56rNMU34gyJf6FiUH+SKYw7WQriBoyIgBnWjqcoUg8wm7Vm0E3JcKQGXBtJVCP09hQo9LcHgxHIBPiZEZzzAp3V7vKElgsw8L9FirguItd0sql6o43OB3ilD9dnrXGZvGS5+OHmNNW0EZwZV7+4q7CW5T2u6cuHX1bWn7iwZ/HgTZmc3Bms92I96RHstzGHKEA3+Rdp/QUZL7vxg60LLSqTn+/7thOSSYbd7ozR8Bq2RUGuMVaD5GffRao3OS1/o1HXcMiVmEC24kfq6QP7kbNa5C37xErFMpNhNYYl1H1R3h2EGJ/++p6GaAANzL14cWPe47vdlGvB2a0JQ0aKGKZomys+8Pa/2EpyCBxCrCQNPcPD2CZLH/WeQ1SzMCZGSi2Xd33HK3x/wXhgnXGo69smhBUzsTrmGwleihI2D/Vd82bWEmYH+8UqO11g7cbV7ws38F1KjaCFDCp8ue8ui0/OCXd1uhD7SlfhhQV/gDfO7NRYGEiqUY1WfOuBEp4ZjePOamlOfqVPP5vlhkhUYt7mIAVsWfcKlZYcaAzgCGVwj2Z5k1Q6Y0Re3RXS3uopg/hyJycWEUZeTp9e6U3k9/ZSybPyB5XwBGZop63CEy5IM43NElwdLBh4RZpHIUcsS349ftp9jzFq5NV1mdYeTvl2VFEBtm/2kUCaJwwRFVrWmb4ZOoTKeO+SROfEqyDdGRwwH2DizQFoq+oEYlaRuvmpDpyMQf08WEym3E5MIYdSDuNpgYbmn+j0xLWAYcVDtPWW+yzIUkTjHML4gwJ0ddglTD4qNewQfkenEfgYlT09SivkEXh4i1kQuoj3W3n1vDZYaBxUSao4q0U17ZPmKrW0jHJfD0EJdcs/8Z3cPJXncgXSucdHvlWexAOWum0m1pDKE2SYrPdTJN0qT6zy5IEr8coIjRBB65axLB4Tf1WK4NUicDQtU+hzLOOV7VjB86GjRvEfhjn+4EgZau7WQFMDyJpVhmAFAz6xb4vSGmewkoxFomhnTxiaV7N5vew1LZ5fMJdEHrLl/Lz14E9TILb9anjSRDxZRmEeO8qVDHPnDilRlXl6LKuL/WCKMzw1sdxQjdh6zzO1S2JKlCKuSRtF45Ci1UuS62AxAH6Yj2f7s2QaT3NC16roIhAAP7qpRyXLvJpKeYR7POhKQL9b/ZR3vw3xujHiH6t6+k7df3NugLOTpbu7Un8vB/RcQPPV/bq41KyKD007+FABJ2PpAwuXcJNoVUq3b0dyqsNDU6W8cVNLiSkKSFt1Hh8zR+BZfFIPHeiqkx7OoWCvpHoKz7HzKRxnJBPzII2OyIRCNem3LsFTDcFvdaxMH7AETISHAHL1kOqzasCBc8JYViPRAo6j+cqZl8h/PBsOD9t5mdccU4UXy0th+N4jcqf4vaahl3FVwnLapfUF4iYd1HGzjOcXZCElXcLz1Wl1QFgG3CDVzyRcVSSrsYwfPWyP+GH6r7gxY6ltBGEcS4rZmmyXdr2Bf5CI/ccCBW9numyjUOsow5IuO9Hmq3PaRDvksKYYxQs7cPlPPDLnu/aDIDs/HjK15cMj1ijRQcO72Jc16ytpp3bDF/ZUaQp9w6G5pHzgLYjsA/PgXHWPf4oqUOBog9Luk9sGN3yMbH8yKAzmCp3rT0rE93F/Ymi/WzpWW6rPMRrxFnnfkQT1NMTczKmtVt+2HtdULflhJYov3nn26R7/KFQJsDjv5tKNY4LPk/6JXSfaVD43agZGHe9y59Bgyu/THYjKTCcNYnPT2dN2U8mFPECU5Ww/fFfA3gw3Ll0hVTLMKisNdh1I3oBZ2okqv0/taAc+Cw5FsfQSccIHmvwey22DIQOkv4RI2B2r4vC5vUREkDk8Iq3mcZLRqAMiC/rSOgFsCU/cAMdXLN2mz5UdpfSEM1548Uu2cJ37n6rF6f/J5AbKstNEFtAVbPVf3Go7mbTPZHZHI18O3Xpxw2s7pC4cmdpfJbXnaDFF+qDnNh765YCWvH/xPW9G77srg8Tze0gQmYwedgE+MSXJ5ZaVsEEvLDzluW2TbVt8PI99WyOkHhiJSY/bN/tI0A8eJsmlMhbAYZkFOMfisdik7Gp4itUo6qTQzMJTsouJaW1csNrzKVODvZF8f6d+0yVfz/a3l/tdbPUEft0JvCcy4ouHHWAPjPtKvAkIXlB2aQwA8S51DJ8yHGovn5uWpxqfwAqv8GXWE1K3gQFoJKTVtz5NjYusWYGM0Mu82xL5tNk8U7nUyhud6FNNn9z0/v1oJGRHVw/zEtIKugwNAbNVRuyEQaM+og3gGPGYzChu9MrL9NEu2b57vdJVDwXOADyv/QjdwPeRH/jwwyFu4A00f+615uxIP/bkd/2wQLLLq+hSgsoz6XAuzlJzAQ4DkFlB3ajo05QfLwhQJ3drhekX2CFhZO6ZPO2ERxYMruyjKLUDGb00e19ilU+dvWXSbu/3XBBGvxDquDYUeWcuiQzABGuYL5u0E7S5SYM2Sw2C5BM1io8EO7vYmCyyM08DqxujIT5AAD0lMG1RcS8MFruYi2eUjkUqkzDf7S3E9zcATe9HF5+7Nx81S2UmMj0KGcVWJWr3QcJPr+HCjZQCqc1nFOCnPFFqr2au5tMllWINznIKySPYNdykvnV/Jf6YkrLpYEZ8suHR+//8g6WmPbdWyRkzmanWWWhHuNFsQ0JDMwBT5WRsijcGkisSNhdIIy38i6xAIpI/6W96/urefm/25wMvcdG5xjjXzFn//v8SSg/HT33MhAsk7QsjvTFM4XAlyUJ427XvS5dUUgCLEGSFBgfep1M7ENBw8r9rgLcOSYg4GnakwCahQg9g7tDmpgVkb8dhNHR618nWh8ubLqmtdew1XEUB4O85PKYeYbvtaIHow7+CFtXL+wX0/XXv4EvJ4OilP8rN1YTOcaAQtiGjyWevz+YFFXNiKF+zd5tFu9i5/wZdyx8u42eTcOqfV9f9XzBntBNQlT3M3Dx5qpep2Sp57GhsgSHX2xnWJ15mLEMtqWzYBglpu5lwDGBDf3RrLMAGxWqOwMXcMGs+nTcdpF61mCmVNOfxKnA+pMXy+v3qSjcgDW2REjjlFlRv727Ef3juVUKW86194FdP5og+yaLgIKc8GINGt6juZeTWKejBH7Gp201tx1+Nx0nFZpzFABM7a/Qj72DrB7tFm1Y0Q60Cix3Rnt91LB4vS2rPSChFmI2qsBWvBFhZ/6OFKNOlJqqOFSsKpkkzFb416w6o3M3KZFAB4EwpJ57Frohy+d/GTdpK5AxC0PP9/tQaPKEPiLin0qLkf/eTrk59oP6yVZtrDCnijwBnQNQ6MdXe2LNQNWfyXnH67poBPrOnAxN1azxwueBAmDyK7y9vH6EI3+RBUcD8p0hHsUYRa86hRscDWUbmiSxJBblVOVwwAkJYVJy8Gv8VoJ6jYs5SaO/UVuu30cCNNJXgtQyRnq0905UZ3da98j4qwbDmy8sEBZgmYYYhPRzIlWlWFgeKKXtBWrSzRq01JxkDFstQRewdEQLi6hW9UvFCgqqLDy/bVD1Px+KRisj+N01/HpVsgsW/MERLhA2ZFrBerXFrWveHVwqlRjiEKqKyw25xqChfmgNLxjyjZNiFiU+BuuruRfWgiRvLIJxop2doqlOnBIAh8z3IoXfEwi7+0tVG4O6ZYkfAwHDwjJlzPPqJ/d64N39Dacy1Y3ScHxMfcSe9mhbdE1od/V0uHFJhRcJwEAc2/Xmpb+zFe1yICd48HBjZmElltR/QQAy3rhH3OcT7R5KEpYrkoRJ0tu4jTzhmkG4wvbHHrYjkdLK41swSbaDT7G+gcE8L0jlIuSMZClc2UrtXcalsRcqLm4zX4KN2tBToVGo7HaORfHG1Zm5Fl/6eTMuCSOXxpKg/oOGnltHhzEQeBV8toUhuDkMkQj3hzwiuyMY6Ew5Gs+YJ8pmPOgwy3ZrzkO7iJrlgMwbdmZ1tvpn/QsgTBcvS53OBYOSYNA6cdXbU1j9PkMI/oDCCyXncKadOswDzIHjiqhDJv25S6ifIzf+B+h88ibctF8yc847jTY2b8tWzJTvbCwMvjZN4u4lUPW26D2zzXm15h+wyiGK2inctHp4bjULYbcy751I78eJidEEyewepeBB8OClqMmT0zvEu8RpecUBftz0DFbTWMpEOlMoK6ZCIuPIe2dlj5gh4DSPGlwCVRbFZivC+/egGr4ZSbKYxKjXq34xem1UFRvACWA6/PEGuC3aAqv/OrDuxv2tRyOby4BKvq35ZeBi5WlpDA4IFlseBs0YCX/dP3Zy2d7lA9VQQCzJN7lrJ6f860Ay0nHTfR/3s2cDPr5KEzgFWZAPcS0vXn9sofd1QiClUeqHW81BXjQ+jMXmVfnv3UqhU3qpKtpQFZTYWG/Lf2A0nk39kXX6O6jN1tUna8QuliWPiEOVTtzqItQB8DP0SH8qZhLHE5GA13FLCIadl1kHRnGynY6NWE+i4zX2WgsvcBR4iXqAEBEplettp+IC71v6tcYnjIJ1u+Sonse8z/Ywb29nj8YZw+0MFIqy92M5DJXXRfhDJbzANxZDvGzcNcb5lAccqclywjz59RvJXKB3dH6DPWlLs9oTWxGXKQdqUtvHKV23QPOQ/4tZ7U/lcLVH8S2zHUyfg/SAvVfFadkDKaQup6ZxcYQqmQdRmmrpxO5wzVuQ1gxpWAz9R69pNqYlj6iVAkhtyCOGN+WsUamxnovBNVooAN1Or/tRDu7emo+Iiro/cqOpdlDtAlrDJHSiIiKuTDlWfEMV/sj8QVpmkj+lTnQ1B437pqQK+JR32WcB1/50/3UR/FBOLnztgtT3C9MD2s0hWxiTmGEwaElqNWeCHcfOwCYdmdhTtyDyXenI+tJGF8DPQfkQOJiHwKFwVZTwH8MvwzTud78a1EQf0IybsFbTEd2gwTbWEie0Rs6k31qDYRBh9ibIe4IA+TnFDpl2Z4wztzIMnSJ78plQZkK5dUJF0ZcRwuczGb6ud+T+Yz1ctzZOEL3YwEKZOX2T9ct/k4ZeRnC224t6gjSFJuCDDKAfkBYVIkxzxEpAVQhpTbaf93AM2ZuG//MSeJkfABh6ViypYn6KVdQf92A/rBZ2dUTSDGg5Gt9mHdp7inhcnxNB43QmgelcsUrRW33CnoMaFvOS2DMuMZYg/CNhsZqTEOCoSDEvvBQuVnNXMai8cSJLPvzHvAc90jJul3iInFJBaIOIqwhTAReL5V0N93czv+UTHr4bBp664kQA7dkHGBr5tL/Vy/nO/Y9roi4qFY+VAJKMhO4/5zxmdSOdJeSZwnMxHgiQEgqMZN2tNLYCWVAaRjwxO+Edf0FwNjHuYvVAIEy7zwN/kbKX8CtwqpFVcqO43590NtYBm0SopwS42tZE8qleztSC4tow2z5M9lUCqH2ze7kGykXaOfr/TkOesMlpEl4ZpX8bATNgZzFIRyV+sFKvVtK/6r2lfV75SLVwnxVzQDwcXoksv63JSmOTce8SFKecgZuwULbbU2gbV9LIVyVKD0V9KyDmLUxNJNIKzsL/z69Mjvyhbty4Hh1ZG52/O3BBngQjafICOgA/thm2FizHnD+103GsJqaxYm1D6WFdiHfLDe5SddAZm+I/pb1h/nyvJc1YpFCulFtTLzp4WlVL1bBhFDfqa1dhUbS5Q322xfaSDO93XTMD451Cmku4OpahpWFDsDBm7ajlvE0TYVZaJ168dbGsVzLjbpk5FkQoxs9AvX37tVp1Nm52Re0Tv5IbNcnloe3JRjcNFUco0oiMkmazfqjM1suxIqE6qmGL+wznf/rO0x7hOJS6mXSvyDoIPz2GTUrEsstQ4jeIJckT/W0NwJSzBQR9V4mDZlPSFio3KJTcxWiUtP9exez1g31PIBWvnaDd71zlDGvdp0vvY2a599d9MdlSxiSDky8AEfrcG6EKlcsttNq4O4FTVnavP191jshddsm6LiNJdUuoYHNLFFfpT6+1lW0WIaFMrV1FO1l6WrUBfOYy2jt4/uWiaEJuC0tBLoMY7nKBAXYOkBMxon5uD5METefFOBa8jI/vuX1/AOMKQ/tyQAs5ZwwdUNkvKsJz9kEjNs2S+hveLuKfGgbjFZx95aVcoDzd6fVhIRc2ts9M0kQ3QD5y37I5oxj5gam2rGA9pqB09TbkEkBHCOZzwm8w8NYxiQOnutV6vcp5zIp/mdNkLrOAoyxFzU8cYZS64/UcMfU84qk8aLsXOmkvCHc4n9GvuKDhkxBniYfnU/it7cjq6cWGsak/qEOxee4rpmyiMNCqtJUzf3Ul8o0RWF5W1e57dMgaPyFwNGrmEn69BUXLBC2ZpEa+0/GHgb7Aj9cmekbZSAVs3+0wupjhmeYyPRZ6REm14Naj71oB6hChmDwCjuK+xF4bhxXl5TsWwgUOChUTGigr8lKTuMNZm2rZeN/BaHzESJP9N5xM9NlvOmzbEEWtQjC3FA+Wqj6+6MRFlkuH1/Bf5xDk04orRMEjveVHN2EN80m9Sti8lWvf1FwiKtXwpvLYVuEPLvqg3teeSDzxIcyfB8YY95InaGNHXpDPWnoeemw+rmvl2YAARsHLO1JO3c9hKMVphjxTa8JJZX9pgPdEKWBC0IREM6PJVudy1+e5ATBCc5J83Odajsf9yHs+sS8RLzTlnNVEe/T8z00D821m1rYwdbXEJ3VL4X145psDczIeWiTspTkhUltLecCTA2g4ExvvAbF7kgr4+PN28N3s8TS7a5dkqxUJD0Cjodyy2Qj1psBS4CxOQsipjkYLhK8QGcJk95y+fBBWTJwXII4htJ+wm4KlJ2WSQVfEc8uPjMN/pFT0jp98HOMiijWXEN4IPmY+AfRzrY9lPtyGk3ok9b4GTtI4ZTeJSCLKFQs0j4IYoF5xKI2o0b1MN6N0yNuKTOnD2FWUwV+TW41PCjLU1nTDVZXq+RtchVCbkFV2s+1ywcbAyZsRkpu36KMZEa/FzzGUU4R1V2fpsToC4UNDzIlSPieiTn5wx4BMH9l0k1nOdsFG+aH7qv7z4ijXA+7+Ply736/YKyAr5CFj9JU+31pGT1ggwdc0hgFmS9ZRxXi2V+HUUtRlBImkVrX5z9YqT1UgyFIig2vDJRZStR/953nz2h8izjknjfn3Cy0a2vrnAgA9AZA4RXs+gHYaxUYQn2LppLJYJWyxq7nbTS9ONV1socXX6cQjXTwafPVnDSgK6j6gkeNiaKcuwIdWquEue3nvstOW55mjO480/agMAMzEPJeVLTTGFPVW1BhMzOfEpWckSgpi6huUHmBHli876yG76EK4kvc2Gni2vcbbG6RLgEokmfw5QG5oeAjZdXds6QmodNJRZOISL6T8lNYymziiloIKFlpRbI5mYu7FAETHaXbi2n/Ni56lDbavuEESFPzqdbNwOJWT6tSJJfjh/q/HaBaAVYqK+HoL3OYPlrTKuVN3jyWLZLwHiuwKfGcCIeWzvHqMJBgNP/p8O3Wa8qyEdWp8PinpvE0OjOuAZdCW8HH4nqYUPROmVw7T3gLpo0ulUVamm3XLDQkbguPljvcUDvRODBF+h6GMAP4LZZb9YoncT7rtu4XdP7EouHCU1KPVCNpN5O3fDR1+8Gv15z/Hk935W6ElE3+ywkDvSnHzyf6hKjyLrcqfENNal1PvTS4tvB+PBSXM48TByjN6ozS6Y0Js1nwP9mr/JvHoDqBqsUKN1uzVjS+DMjRs6oUT5Io4X9ltmOrhACrXXYqT4/9s88/bGqIHNEzAuU2WZZU935Uzje4wOAAJi4CLwu+tT0Z9rCdHPMPlE7DcVQxyk7kTcbnCxALijbdEQVPnzWbsCJszkGwHF3HhmMTEIkl9gyMkEK/2MVV6uWFRH+9k2ljhNY0ngc2/IcmjCqUSfhYG2CB4TjEhZV5rfMkziORhCAGKmbUKikJdeYS4+LsPq8PCQtlz3QLU4EHkZpqPa25SkxX1hIc2pGQBWmMG1ANmkBfW9wKuj1VTPY57IbK8mrqst13jw2UUAqAjILevPQnVHVXmhG3lJ5vPAs54ZfROfC7wuUsA1SuwlFgxBoAyjz7KnyrATYTbPaWEtcSre0v3IMMBTJq3b4Ac0DxaibIIdy0kZ4UStYXzs+TLs1pqw+UAYwFkegnJ9tsUvEuNyH659yMx37bF92REjwI3U8twT2JR9ZohVU3bU91fGeYzjKDcSjO5ZHXGCoUwPAfHoI54x4tS2ragLuuwu88akx3zxAGhzAh0Xx6KdTmzwIxh1c/LU9B+fkeP/hOkNCqxA0SZQGRXtgraLy5HTmd0KaHNN9vPka6IAonr7tRXkv6H6NdHydRu3MrLRyKStPCByoLGUEWV40ObnsrGloJqJ8omsJtDF1Bg49Sfjc+eOx4WSsQM8LH2hSLytTiFzj+OhubFI1mJiVGaLIk6Ua//mg+D67F5mDwIO0zuvFzyfG5DXl38TRVgOxpt6F2Q9KjA+5x12VoECG/Bs8ijoc6umyhmnDVSCcTc3HDPb+dYJaXOvsuhKKZOWGH5ILGfBZbVi2uoF5nIQagRDhbWQbm815P/bJ0UApQEtoPjVH1GWGcfojOI2GC9ycQeMPGhjzi9R3ha4gGuS7sHcHkr+3h2y+a0yOYBmK4gJ5nZpGXj9BPWXdnNiaXz5x93S2FKDeSgmFw6dUcBU5A397XSfmt50MCeRyOJsw0dbCeD7HoCT/zNXx2Qha2Z8WK5NwUblr1BHzbp4s6BN168zC2b9EdWBhwRRJkCuNXzdovnUgD+zk89EsxTF33I1jPJoS8D6ic0K4ZiwBrS5qHRg698pYQu2WrnUUN8abggmY1vBPK7ipK7bMQFion/IC62IfoP3YdFTD8SGWZa3xHGhfC9fOJNJRH/KrdctXQsHO6Zl7PwgfXsvKThA3GlapWDZq8WEakr2weA3S1FDik69XRypODYCPDqE032qU9KZ352bpoK4E+o5uRF+e4wniJ853MkHikTN4u9TaNVh45wOXcLB4P7OhEQGP+BJQsHWJ39RytXY96JP+4ESqCeLYJXOKwM9OzaDGkCKOq7QYlj7nVKV8o6ootRLMWZv6gyW2c3iOvob9YqbDriWpkOZmuuSG1SdfnUkUGCDWPKeSiSjE1Sprtb+XC0uII4/LhFTkLmef4WLultZO5dY0zjskOfDIV1LfgCClU3aqFR5tJx/uDvFB0By+KqYIFZkCe4IFExXyo94W3tNlyO1hqup64n3doNUFu+8H6B/E5gNrLDyV08sLwHRZXsiJthaWSN8RXzSF8XTMk/0E45dASGf6f2R7zoMIykocVQZTa/kBuD4Ug0BSYFcg6+R7vmAYW7o0VbwdRWEZ2yXN3XRZASonqFHEMS/pv8QBp/SO6ah4vGbiq4yM4oX5grqhtzJ+5UPsnjb+RBBXbfGKLjxmaSRCVCyxDY0PiiVs4Dyqlp0s3JCp6gF5GjfgrX8g7wJUiEpopYNbQcv2rNzYp1aPkaXVSUk+SDSdBXX3wqEYms712CsdrFs8xJL6eJ/M434jgHYRN8pVMMTmRdDCrACkBb/IrUeGnX/z7s37V1zBErVbVQb6uhVme30RshTceqdnhZZQw/oBwD7+9bnBIzrW+KtP/KGP+zTFffm92++DYXSNmQ4oYlO3KiIgpj/klNmRWufsxnDwRA+JOU290TKRFYSfOU8NPEwhCCUt4L8bRVZGtiVJwpM1uC6OwMm2UO9/s14cpy7uCdIfkAcN88iQ+/xsCJxSScSbtc1dg1bYlUElwpyfyNMAj0LmOAh8oKVwQcbNRM33QJAcszD01Efn1qqqZnSJtcEiX8MTb8tSk0K9n05Duxua7LbEteyFAG30w34Pnt4vmb+RXEgevTVME670kgnjAv1UzxYoyMCeVIx9WN8oSayZPwVBDYU2vkpI2LoLgNlhBbumuSonV2PI4ZErDyJWRx+C5ukFG7f7qeu6UcgVK4krlXCH1qx1pm65KL5P+zHf8JEfdQwkpjtPSy6SsqK9S8owIWbTS7mUehKqFsL61Ul4Iu8XcrnbVohAW2rHQeDCxV/TymdFiIlXczD8RfbpbNFO03xQNVbXJW3TVDVpygEtXUyfe2KyvcsmlEPxK9vVUkUoAxpDyifXIq1YByjtvEcaAS3fpwb2/mpjJlIlShKMNRlF9fdch4chMSZlhHT5Fd7I+ONOkkEZgod7XgemNXQtCIatFr7f4vVyHdnazKODRlsGYeAcHaJ5BCxIr/Sr3aZg0oGaE36tDd6N8FoTSdlwYc3HNsg6DMGrDs1EQ/faBdNLi2JJtp2xeIo0nndSPF7wzFtuTvrMcvehuzq5EJpwthiqkVAI3uHuQqG05J4ahlDIxhX4z/seuL3FuHS5yA50ujfRg0zaAH4p4Kxhrcm1mJoGEL01q5ym1nqAR5trXJoKYO5XKseonMcZ4zFcRCDyyHD3MHG0X3/ihg//LnwDt3EsnUoauwJp3OEJweh+yZSdaciUo783nLuYS65HE0Id8ui561haZK+z4ivXqAJaSw2Pkyh3m4h3CRTkPCIVzT2sZsVZBZoqKd0I/x2E/PGkF8Sd2i6nJjyT2FyInHIL94cbXlcyPA6p0fBNi1Q+VKvliUWYmKXv6LU99UgakNT5KEvLwtKzxz9ylRvo1U/kL3xrPA1csn/BKLEHeELKufJ8hyX5nHigTJ3h0Z4Q8XTEFw5A+Ek4Jo9jK6RAjOVj5kfFCw6Q5f1zBQNkjO/dx279qz5TdAaWXAZzp44hgRFHNA5c5fdBxNVbJZubU9FmzPCC3n0Ch7HUVGuKWOQWtKoMuk/3sr4tRh4E19AdINUy9GWoYpVXY7orzKRSfFa25FrqIrj/lhynnQsU7gA+G3lFwSZovvQZTJ8DpDFbbdwXssj67tWLbaWjfEGP+4hmFMvgkQ4uBtQVzTBuU0SHDy/xkWOylnhR6Mi5pazuOTAdCmiqgtTilb+1qUhloLsEznIZcMjID2OoWa34wwwpxVPz3wm2vwmRNNI10ha6m8Y1C9wUtWg9doI6s79nrUuMThob/xPjd9NRFvPwtjfyyZoRp+8kIfw4624w8Kxdk1k0XUyhTv8RBZYhahs8/B2QGS5I9Zqk74YKo+hiqZXaqEUcfKLV0jOgkeb68qktQ0rqwZOumZc6mGI8S9b6iOxLlc/4u//PPO3N8XgcyRqH3PEWS24PKngXOUIgdv6RIj9pB2uggH54zwx6e4vGFS30fllpgc/w6fW5m0pWrlDluH0V7dpaCWwJ/GZGs93YUE2uqkB3G+W6cusGdFSpt9NWuEsQxrHtRrpLSQ27u8J6UDNJDNqZqW2aXg4fVh6b1qVy960W15rQ4Dh6/OxJSJGmOh2RCIoWZAfHU7ybKmWalOqQF4mFPr8YKP1hbXnuKaT/MSAUb9Q0u0e7lQ+XVKKn8KqNBtQlqVDuXu4IsPcczmrLsdDBj+sE7wh18QpBqlfuIzC//W7mBcZ6hM098m9D24smLowbugXZU+pNa8J38F6zSyMITiOsMgDgNoDglTz+/GKSziFVMzI8H+NmkXCcfYgKT4MBQ3+thjyvv7TdRkH2KFRdHzVTP7x7ZwgLsJKJVufUS1u0qmcbCy5GSsmjXcsFVCaMmuaczjSZNLzySwLjOOzENvYunenSxBknabIjr/J2kCqOZFmhw/BTvEiEYo+Zm4nQDIorJNENzSWehxYQzC5O7D7EFB9PX89RXNlZ5HKZ6LkI1xzc7H+cDotVHo6/4e0mDS/js1W+iBZLjZu/DWg/eu6uf962AnRzvlF3GDxuN18eV8A6Dwk8KnJLQREI5f0GrB6cLZMRIFQoAw5E8UXlbE3dIC+xaFZE9h0sZIMDuf0TIW5cW4ehbrR3jMrXhipFPIiuMAbcWf4EKvXlU/HkvGd4oow5YbmUNL8fOt5vXL6Aebkf9ugIMi2nxcdGCqKMOZSEzukJcFA/CNvEPkrk60reF9SGRKBNTWU+NYtY3XfSGTMRu/cWFgnd1vZe5ueO/2yLZ9Em0TvXEpajVZ37zWpDQgqzUX0FNthd1/bfUFqby/lOh8OiqZ77G0cwlt7OWCB8T0YBx7PbPJ992lLtv+y7Y3faWpYHa5wuWv/6RDVbo9MkEGTh7LqaejX6Q5uhQOotupsVGCtmoFUm/Clqm/yjd4dyO+7gyY85yQYMkg4F9EuEiKZS6LNj8lbBJ1JkZGqcN4kBxgxbQvG/UvIpInbaZgQ4aYKv0B2jD3VuVft23v6f5lzgXxPvxyoKuztOoHu0evbQDYf+QsYVI9bdeZ8p2cd/JH8/MTttwiWSBjqeR6tO3mSfyvJZvlbQaIugy7OkxId9ItwRawuo1bJpfNwEb6wHW9VRREcJGSmRa2b8u2prEdCHRkyRU006TNcR3q9OpEi02O48xqrALmbgDeD18cbsgNAwHZF1pZ676w0pkIbVgDMP379KVsF7F4uh2S4zRYFFmGcvj/zD1Dwo3GygD1oDlS2XBt6qKF4jD7urmlpPqE6JFRxaG5tFHeJgFsSXML/KY0oAguup7aO//It24iQ06LvqIdVx1oaVufMPn+3i/JyjpRawuv93SYBJmS5PBfjh+tdfd4jaXlU/j2fD1RkzOu4gI2NMs1LhhSugd0P1Y/Fu2OZBCs3cEFv2MDYdyBb8MQTAaKzci00Ci45GxPOR5K83YcTnVBnuRbU3HVRUaZDgBe2Ifl4ludAJYI8oc6lNaN5/cnxs9VVvW2fauuLSBvZFVVCd/4HDptXLjQmrtBVpzQ2yfVo8v7UEBDBRYYaG+B7xpnGm9RxI3lXsIwI1EK6b3iI5+szNtL2lElnNcjrzT7gWHtzkvmCrdtgYEIZXXKJ/bf09AC4SGpqr06TAXLmn/MEF58honTqqglhaQv/TYvUVS88qXNlsnIx7Nm1owIgVEANN9nKxOHgDP83vbIVkcUudwzZ7aTDi9sn00aIxD+Brlvqr2NUGg5WJw8PohvLJ6Cqjus65UhOY1WWizTW+CRCe+Z+J0FT6RxozbqI0xYqWLD+6gAcIkP6zJbgn7lHLAqgePpW9hQaPrHhfsz0CG/OWx/TjqS9gK3hdtzaL+BkFSpy2DM/D4FOmSq7KajURyhKQPSMIdck4B2a/46byIQ0Ct20QcV4pp5rhcOJqkYoMiaha3s4OM0pRQhRrgiTv/cFm4q/U5yLQ4wnthkF1HgQNvkZncPabQ6A8xTs9Xdd4EIuteol4zuy6Wbri2NTCGRaRmh9k1mKvbKQBizNcAfCOve3RMSvjzVsANy30V2MMkiURqrJaTuoCKFGBV5fL+E6ScFRBwRFw+x1BHLrPrk5YEaW49WHXK4yVL5RPHpA9UG7uVa9IlySq5a1wrTfDheWhAlzMtWBGpJp0OR9Un1juEo0ObENQrDPgyIZAVQvDubEWv7dA/ywzPceUtZv4aQIPyJVAgXUhy4Da0aYel63bDQFyBVIpLih1DyLMhektJv8h6inBXaKaip8emT46KZAuqcGX/3Il9wRjb01sUn9ZdA+dE5uF3wB/1Ycy9H3c7DdPDh8MOgrboPuemH7yZWJ07LkSkwW0mBiJU1lVVqf54r/jtg88JeV1Uxx+hLyk93yQLN4FSFVpQY1IKXWYmB+pnU++wM1TNrXzejR9C5FxR8sfIE2QuzUiQALXWBNBNpxM2cqxv0ZTheoibHDuY2iHSNuitZzJDWw2tuxlFH+PPjqt0qxKa45L5YtUqo1KPZy7nQ8iwxoHe/u07y8jZneF1GPx9oywlwF69j53wNqd15jQhEJI6LrnW4O2FkmGQ2LW1lqnzgzMxJt6RljrdbHt/GkYFNKaGqthBHpxrd1nOTpgafIej2QJ1rRXYlql0FI0eMNzIVDpvInUMTRs9Xmf2nDl7fBkM6OsL2JjvL6kKlJMqF/X1DzMUl4W9fY7BCWnpGhiNfjPSwJr1VM4ZjGzuHg78PxYj9tAclk4dmfHOEbEhj57qDRQKTj7qiCfQZNb7V9MuAFV1yA6kAnF9pAHSZs9piJ9GCCvQcx2O25uVz//QzKyS/HUIlmCaMHPOS3Y7t6UUkE4lUEAyx2xN+RB0lHh/n56crRoF0D5Exm9MSX+/8fU8UU0lqXjVQXR5EAIIt1XZ9jMfsfxpmjlciNv7RfCjAXzxxhcVJUbMHoB8g9DwLOwnAUbUIqmQfWuGDmu/epxF+Fs3DPBcHBd9buuwShwCebzeXUUJSY2HmqhWv+IOqLIFqiMelsqkSvaqDg7bk4RGLIjKefb/DX3AhWqq8AUfNO718qw8ZLxLc2M6/ChgdYvdM7LT2wfGAmfpMm5RvPMbTBDbSD320xEIV7bIhzvcH/RJZyo9dRKxjcSgfx2FeBH7qSPc0dDFYy3a38XBgzgna8OcyKs+WO254S/X1j2yXBWbPsDFwgG68IinN3mK2RRQ9U9+rBFlhAzMPNWFIxD/4F6ILmQeWVHVMtebMmas8uQgAmg8hde5dHsimQ6eGqMBxfbQv1R0reAwJTYywjCkDX9buRhDdtJUzKMqfZnFIuhwnsaxPT02hRS9llpWTE5f5BXfPwHMzO4oALLFkXDrrRxyQijKp7vYaS7WeHA7UY5y1HA3LVSb5KWf7+Da0g3FLc+qemi7ud64i7KOI+Z1tQPPZcT8+RmMYXLt8STyq5AUt7bYEP6u2FwJql63VH+Hma3z796hHp9xSm5A8m6ShQGeAzLB/FlL8KnmHc5Of197J4NppGVvzRQfi5wxq+J2XC/gEudyrLnIK/8MpqFYCqK7LnWOv/wPCpJDtwaVxCiv5knsC2RqMI3cc05E/BKzRKfCe1Pxb80G0aRW7zfeQM48zjBEjPve/q7XwOFgQuXHMLph5gQU9PBq+ontC920J0jFzh4+bDSZOL1fR0AsHmvI+Pjbdxv2TLffT0791Mm2uMx23sDWPCKPnlJA1qRzj218Gtd99OYoRdYVnOIJM8TqCjnmVqgvhfJjwp8XboUPEnfrIG5c394GgyicMzbxwbeDP/QuRFVwqLnXHfTY7krQRY/3OpSuAavyY/WlrR3bVfrnqyWQAN0xEWyfBDI6HnA9eUXA6WXhfF1sg/2iklMJWiZl5EPbnLzpGEYLBb8j4bICp04PhJKMjk0+IY2nd1TInG5QMKVv0uDHPVY7I6a+G3q8Uqhv0A8vcT0DXJc+pueoaNrihQKUv4GKMLGAbOpgwswInYcfY4f8ld/ITi9QouSMJDYeb0F0lRyQNT7TOMVW/x9eDVlqlhD6rnLUvqBolprggWjh8jfR514S56iulzcylOd9Y7AUXyr6HossqyUjN4/Ere7b0weENH/VZ+DhjbRZLuUNc+djpZ6te3vBuw/cyCXjeSuUbk2qE8wIb/03+92F91rR+SM72axbN38G1MdyV8SJPkD4mOzq3eW8hsaQwyl51usm7H2zb4l1Bh0kg6CDWCEhR2nkkPkmuihSIzEk+WEVXLwyj17YJzDhaTIayuTFhMuvHwAtQHV7UYgdvhczKSZPiJhUUvR5PS/FKHrrqo5RgF/mIDC50kTOYLIU7zywMEkAYabGJ6/Q7J8ap0UDmrsy7wXYxGiJYlvMrQXa5UkRFv0Ycexy1RC+SQ9YstaLVD5lxTmSel2ZeRhRHOvbGZcPfftW55PTaj5Kll9MSnxwi5UHVQ78qEX3osxnZtEPf3jXeDGo0p+Noh8xQio+PN36CGYFz+fHEKCcQ+K9PUZ1XyG4oXtCEwQmLgqJnR1fahCuJ3IyM6fiv+fFNNuEi9/P7FuajTK1KMhLZepvpiSMKX5VQny1fqqxdzBKh1TJ1Xiimfna0P+cKQvObjv4JwAio0AEoFO/SOOlnoeP3/LFaw7V1DJ/j9z7xGG4jAt/KNk9t/Ib8QISKP17Tgru37IS0EnEmjL5H848KWAFKgD/3jtv7gBIOIpBlAy8kqnDaiGm2HZlY9x+GRs+QibrGya3UlNF9qZT/UfRC0l2ymEI7lWn2uCU00qzSm9wvhobVGoHzEa93T9H58NemqcvRDPYlLIiO9KWvzA9G3QAwbW1hF3zjfmrplFyYRLYktDIZUYQrVM2l3A9S6DaGUH3lWQIVtXK85+MHG5YudZaOAFxnMa880UW13Hg1W35E3KQjNEnybfcq9Y/fuPwIW/SqCi50fek/B/07JYlJYngyLWQ319VyvAfafCkBPacJZhzmuldX+VWi8z+S/QXqV6OeZYWZuKZ/zRr07eBAHezNKoTR50OIBhlobmGVp+re8gnJLrdX2UcENNvlWzDvc5NMEiAG7pYMpFgCDfTsyynVLx20P9907zIeYncs8N8chKFAcZm5K8sj6scGwHa9UZQx2hp5LpyrHpg2+cLNNtdd/5bIgVoX71Q7hJ/7SSFi/P4wzS47dw6Hp4sSAVKlAmyUktMbsURTqbYblE6v8Nvzb7QgiN0bkqwc+LEAk+AxgdzvoyvSJUzYyJJvlPofpaaA9eBIXls26DW3h2HtQCYxZeTPgagpP41zAuJeHC8FSgz/2iRQXX4Dy+YgnAMLlerxfLDsHtzGfrqh1gQWok5cYwY3vqmMZo7OA5223l+2eqeA+s1pTO+F7lqDZv9ZA9PhHhAPUxIo8CMhl84ZEXseiOMtqoWPoFI+Io1DExsMM2/oZk0dHTfVYJmlVfHRhkOjGOz5pKwAk6KD/r/Y+f7gKANodGRb7I/SKTUmiu3ReIn3C7D5gq2hOhz9eXhWqSg8p19Lb6/2CpEsF80fnRdysTkcHZrj6CHQLMGmN6hYQTL7TFtdjDJHfCo5AfpS+EzL/GjwMotdrcVvurraznOgbUgLrNyYakdMx/LP6V1sTm/n/dlvJdAzYhKuAEot+8Hzy9i64c2F+gGAwQarKQ6HF3W7Ika9z9HyrJB+lTSrcd7IqGdQSK3ZbK2PozdyvYDXTS8gSeghJOg9gqx70GYuQRBOyPO+LZwzAGwjBHG+PrbDpDT6C/uWcoEyrqiNdC3/uhijuLYV+8I6v3qgv4iy2fczSD/aFX4SqhQJKL2c83gekyyw9MbkXuxJ4jH+Z8naJ8rwZfH29ipt63b00T6pfb7YZwvAddpzleDBIt/efWqe5E12Fy3qFKOPVsy6jb591f+q4iXWJQ6bePTzIF87/dz8r5FQXz09xC/mdaJASCLKRGC+ETy3J/Ti/y+4GHL1/6D4uIjmlXVJ6k2uDUXZd6sM7zOpMnuO9xAl2r2NDnxCxvO4lq85DdQ1Dau8z2pPk4itqqVUX+5NWMFdOgSt5gVnUEZ8DDGHPXUY0POG9rG5iyZnBwPwJ/2IaL+xfIIQSe1WNiY8eoEBo3d65TU7CQ+w/j2F9yrZMBbpybbLatWt48JBBjFHX5ZXCX+eXYP0+TtwXlIJNKSWnNtpwlR0Lz3mU/GK44jgAkp/eeaVCPrTuhFdxUjT1U/trvzBWmlQ4EK+KLpwHTXUEZ0T87l+KTvSmLgDO2rh529roHVAa8RyWLTIpqri19XUtak1+yPkQEAnHEzMW9SbHqAZUtZys+M2NKfEeZbunBMC5y6h3v/FxnNEsX6XsN59jNFl4J/i0c2NJ3KL1Ou+KdIBxTZ7OuslHzKPWtyN9pAePzKh9nDjChtOZI0fYmhIcOQUYADptUZW/HioI15rtmo8RLoNWJCkAywUDN6QEBRahH4Xq32q8ZzFX0jzQtY0pe+agi25KMnqbFigLu9YRaLcU5uO+PFSM29mQx1ZX8QfFgSAMZmvdL0DtlcFOw2Y0OzSAWRgBkm5rDkmeO3RtFCTNnfRp2GaNfeuZ62GIJm4wzaHwrXFnfa7vpGNOMCc3kt1oZ7AwAMA/PrBkGu4eaImeUjcJTeunU0x1HdbhAvLMOkQBVlUOafPE8vKFZwfzf6Zbt5FgSkNyNpFOcGZ9/HczL1yW9OfmIITAXz6IUE7VQ6miwPnezzRVYrE1Pr8lwkf0F3FDmltG1N3nR2kCOBOBygzTnSvxo6Y8nt2h1g12M0mS3ftHnv+zZ65slxkcuhJ8dksIm4327P4y7JR32m/RH95xZwS1txMk8TcjZQoBcP7XyeBd93WSOnPLhQzJPx3tlFeTAhJX7eYpjYfUDusE5HGN2aMQGhG0K6LaxtuETaHkpDFNcmcCpNACw7QKiQcEkC5YS66Dnsh7PpUeQcyLhD3A5Ty5Ak9ta+3p+gROsNhgA/w/7eTix2OJZvFhmmae+Mnd5Mdt3UsdGj8Xo0014eFfNsq7cugnm8gO0ndbYgfgTIQ0SLc+UbWjcC3vn10oJLNHNHet/28yqj1BQFG2KUh0KiqRbreQkltZdqTy6fEi9QNH4iCyebOmA+460JmKjko1E4a/kOI9bt/07Kta6IAiHSyF9xvNy2QS5gEQIuq7emQMSgjLP06v8OSU3vvuTLRdomr0Wz+8rdj9vBfwjKr9LLCuavO3cQCnkuK/EWP1v8VoR+IpUnZvZfyVaJeMZFmSPE4kYePzgf7IIripkUy3qslYUQFyqzHPkF66XAUUNShAq114KkBCfuxnXYE4nhZm2mXHcVSi1InNP0t01Wb5LA2EupUeHM+bKuR/PonUX7q9W4GYkI3bh70kemv9B7j2hi2QUVSQppMmamOAUfN3W3eGPT5jvCtcvzZ+4pw2u+loGk4OhGjjzU0TFJV0y0aWcQnQ0UwJ2iuY6YVxhsQKskhXFs6iMBTC3nBza5oyquBZkxBpPyWWH8x8y+JTbafrpvcHh9lRxnSC2m27IRKAFAwBZ1zRasoo/CsCZ2By+PUE/vScGYPSzB/Ki7R5GAvlukqqD5bWugXh5AuM59Yh0CcdkLlirzhj2uRZmFwSznl2ubF2/qVLDjojkY44QLXrPyi+G4EvvH9E2uiKO3Cohk/6M2SEp4oI1eCnNNSJGoyXAZPoctfQawFFYYPRm060iKEacm9gkmrAX4onKMP8KGyI6sr/Ot1+DzdAoKc6rKU0APm24ZNAzOn94cZji7sQI6U80ayENxtb3nN3eS3LYy4DcQFKVbjRfZIrl7HzxGQqgi3dJFU8ePLHWgl4uLlahXoNW37gGbKDwJqdPC1kWWUPk4/Prong6m0hZvoB8JFQnl7QXaaDFoSx6Xcna5dZgzTr6IMtrcFthsu2P+D5O8+4cucrqq3m5DiM1No70Tpy1NwVxU8HAA7SE8QKy7I01ieuAUaCcIlk8aURL2rTZEr8PKONFozhe7mt4InqdK7sYP38deTHfNktQO8bvgqtBqUvnXPrxzcXcPsG0zX/Hb0RskQLR+YrjXCDFA+YvSBC1ACFz07T/+PiqHp6gSNStMSXmVUL2nv7yce/3B4r4FdExWAULGWPaUtjcMinS/KyQHwvnUUrAQyq2UuA8oLPDq1+dMdrSMsMmicnq22Ktf9JNh5J86sefyNRktsjZNO2BAhI4h/pzGXvaGCo0SID7Q2jBUGXxJ4d5l7bT5QZDIStHp/fYuhuF6q7qpCWvKJ4XvXlx/xgPep2zj9aGmdBpn7nkwLhZ2UuHviwsGJxhmKf4GJ0+76aWwZF5/hBmGAEVoKNhUu5dwAcese0cwdb2AKDOL4JEMs8TZPWlYmrlqiu90ShixAG4k2wnHg6PO2zps1fqNleebanlY61ICU+frJvn4Ij+iaJNK2BFeHbz+Y4OQQZus4gYiWDvk7v1T7xslerXmjhx6MIodZCWbEcdNaKc2V9pbnb7NORR8tvc7Ie/6SKrXujxhaSk9d47jJKoyGC/kiwUP6icVQGQ8Km7gjAbajRDPgbdEi1n7SnXu9XAu+AmvJc7rjktumR2JZd92JIpE3eEdtZXlAw9XQgQKwBhcUBE4npvVZC9lAHl6pjhNhI01zyr11W3qiNX8CDFMHgLtP5PuvQv8tMTHVT6RzIqiS4qE/GRTq+lfgev5B+SncL+ZxPZkLQu8gtpvVhL3/nHiOZZAHG31Sc9UupdG0ix5MY8zSAe720aNP3oHUoltznxZjeZjAbC9a/heafth5ABRJbaQPG1IhlfDSG1sMbvT/XUsFy5F7GV5k/H4C+/RcXi1x1uqAHO0dWJ/2WOjO44yUM1cc0cMHItH7/wrKiTdhiTrGWPzDnPTuZFOtvCM7jQBre8p3G89yFBTjihbYVVyTZLsv4Tk54f3Y6QDO1X/grx9PNz84msuc8r5qAlZmzJw1wWgQBqQuru9SLHP0N/5pbNbp3Hql5mFEYuaolnnEC0cl56BB2v08W3/vF9tOE404RXOs5zqxuWqn+XZB4/1MpopbUl3zH3UgVVQhng2Whz5Y67nIlpk5Pg4wMzXIwfSGqAWZG3n2uEBFnYs1EPQIZzU47xhoauKn18NJ61EYapWvUOY+FKchq8lx3B9ntYB3px8fdTfbnY+6PxDMWCYqQwlHyt3E0C28PvrPW+Uf5ZjBwSgRFZwh27BHUA52UGwkEeh0n1xjHTLALNM0txLDwsLCWK/U5JeSPqZRhWHtZWy+6RwqzqlaxJ6ivRGqeXqMxCShVP8bcBsH7HdjehfdvYcM4Ps/xZgmLRAT/MNoBk50nu4n+M5oEc+kKO8Nz1UDqOMebjciqDSOZrpYkXoPmEw25oV16SxnpPOwYFb1BKWHKw9gv7K4tGE7Rto732k1OnPxzhvdwJThs2uKItJUg+RNUqEEaeXMfFJP4UpD6RY4IVXAaLNt0XP/fzWXEehBQyUzNHN7IvtpSh19J1Smgk39y8FxAevs5OtSFO17E2QhofrxF8c3IUdxdB4Ow0om9GkUz6u7231lWZuF1b86fh0e/3y+tJM8lOCyHY987qSQDwgdG6MWBoZ/K9RkmnKFtDyJLiyIUWKAik/DHbOwfJuEYHUevasXpY/GPoGe0DldVv9H2T45WrpAsHI7oJ+YSayqvnC+0Pqh2CQnPok2SZWgyIdGWkLNH6FxkxbbTwwM6HKe+48Vb6gXnxX8DZgmKqO6ZobZKEQKF8SQGfW57j/zeRkbYP3kbHOZyTx1EqksQqeJwuZbMDhpHfbGyNH2kzIqaiDFylRiLo2gkrqwQ/O+0nFC/5CZjgDl5ZTTq404DxBU7iISBVJ+6sQjF2ZSi6mrM8xanwoeDjRvGOOu/eS56VefxfuHKUkWvoQum4Ft+vmPRaxmsZEfF1ecNZiECQ2v1K8urAw2uDgtKK6AAik+JgyU8IctcpLl3TZLmZsDTQV0gdFMlAhqRf5rq9MjlfFjlj4S3nxyTMfrtKna6fs7pHWUFng05DjBaxeqeuZHG275JvOz0JB9E14lC5Xe0itZXf9G44QtayzNger/00DzUntUNYmle/zAPFF+jBrm66Ax59C2H7J4OuYPbu/X7tTArEJOjD7tFPR+sUtVwWC9Z5GVhGPOYLR2T2buqxP3DgJaTMAcAuVY4dUQetXuVCSKmn9PmSSv+O+XBHMO/i3R6tai2VfIvNVUHeZR+2N99VnYM1ClHkSvVa8kqjMH6KlnDOwTFMtUDiGU5YVV7KmMHEmf3cwEW81LluhbsKb1parHraOmnFSZbrmvm9UJP99edE0Pgqke58p8ARo6AVIp/1T2eBBBTwJSdNa/uEdEMcHKX/H9CqgozR+hSgmFqn7g73VZJjWNbB3NkClQQ+3yyHLgldG8TlP4e6X0J0uxKoNYjQX2IEh80nxndwssKZwrCGti+MTF37WnYVHpUPx1+GJ/9TCJeum8sBLZUoPAvKjtV7p11EiBWaqsWb6723OycLqhSQ+KUh0diQQ6uy/NfayfbEMnk6MJzp2gYmuQoj2PS3gw1suWrc+zRgUVxW3ozfDi8goSdDKKtFLC5l52DlnfbdZBB9/r7zLqMRhqfb1Vq9nUI1yHW26d/AEoIBR0pGlHND09CG57lhRkZyKne0dJt4KBbSNvQoLMdJgpnDaELbFnDaC/ba/hZBlC8aOSAnzVKGGKUg78VisSXGIrRVtN1wuE81ilqd+VYU++j/Hm1E6JniW6g9BzjFd7uvUYkQOJzszTzkl8rKkPeYLdkuGa5SncwkZnaTc/QS8mIHbFoVmdjL21fCpo2MT/PWNpNg1hEfszZbiu+8t7NIZwPZXoSv9WsV6Hh7tdlclOUtPdx/+C9gpVxg6iY6ZN75YS87PApUOz97WrEYSlBgPFr/suCYZn+OuyTwqXIiBCJQ3Dd7HbHezTbDJml/rv7DWE6D3/OAmU0BxnaV0FmaQ1bCr80LNxGB8PRkjObKONqoezXqIH/4O+a0/RW5d4NymVsEv/LHKYJY6ip4dg4CZyVfAQnej3yIj5lFOdRcRjZtpIFV8FcIMYyzUwJrvU+780nUKl+9EC7g3WG6BtQVh9gDC13EruMIJJbKCspkMriTuox/uivxPLDR6vnqfAz7UXPMgb1d9LDEKyCV1QuTpw+msxCTUGMDSuxbS19XN+Dp5rKL72C/RuePSRHxJ1W83Rs2oYAqcz7GYKU52JAMPKVcs/Pxovkvb/dGSR4VwDXdMx6WvfXNrpYOsMAeduFKVzOYhIr74dVPw4mazwgXd1eJpVYPOPkElVFEDBxZ3BozkIftnsXJOuJiP4VKD9xGm28lBGggBWbO8V8UY82PR9d5gU1Ix8irL9aKpyQRC6pWRXMtB1MFPKlJtkFZM95xlOOiv9LzKNyUiylfFy24dsSe3eEPZ8iKwrufyhyf9cJQ53AMe/zV7LxCeYjn0ggxHN+1d9YjA5cZgbamz1N4PmmXIvb3yxVsf8gscHNOmFB70SvYD4CpnWXHSbYFNV7Vvt59WFIkFX7SesGbNJx4BvbywFg9mPMul/8t+ojRe1CBY0ao612XvsxQrcs8VEMkr+jXODnb5eXFhpUZhZfwK5l7kPKK64h74zAswGYWPg8FcftVNNcHKNq8QhzoUKP/FW5W0EH8zLBoGH1OEIc1B+BgFWFmugdqryIDQ+D3HtV4Tb/uRWqW/dIn79xi9pHACatGlzrFSzvRvP+DHaAcu9YMthaFKzTBHdPoC8VwqSEWuVX/1h55IKHJnZ+WRvEJfzrF758+1OD1aBFiML5jEZHfW+/n2uGsbA1XT9DkOOccXfrr3a1xuaYj1uGhdXmKESwZlixaovkGwPaaeLiVZ3XrTNWXDuvXO6eJjBBIfK/m9NEL4RVx3YavSWkxvUjZ1bp6vm9QNBZSOP9CARjmPvgR7VNp9MRFFEfh3vxyf0EI64+zwprBk57wSODFvPN1N23RrG+BDxT9YslYBGyl4mK/C6pDVe67+3BUCNq9I/r0EgKIWj7O0UkkZkyn05A2eGSjofjMPDlIm34jmTuOAS3LQMmMWce0JUQRY1KxPVNYC8F9LVkteJFMT5TMU1rK2lT7hLPiCb5OvwhwtrmUyulfWuhsKUBkdx/YLPYZGZKhRu5bOcqATxJFa56/8HI5YOndC+OfN2sNVZMeOXwoToDvsBN6IsesO/g8QVvjuLF3wLGScFuLsP8WSpuwlLcar1a4dX4Q/WmL0HImqUipxHbC9hEBIIFBokgmnIzR1BH2W/nnwBf1G3q0v/lmpato5BYJ9cbYBSgebwbwBcUpGwF8eNq1Gnh2s/8J6jiUo3ubF6W85arQ5yW4s9BfFXVjAqh4WRyidvKXEgBQFItTm/+F/mpGF2905HDrqKJh3RncagJ6Tbbo9q2PEqqLW/Pb5PWzDb4egjKZ8ZMf+Uukrwo5uI76TXuREvlfoVo4D4w2u1aE6nTyeqaTvIJBbuzo11k9sKBxqxPZeQyNCKNrpyeb5J8GyUqpcYsoUqKu/EMANPKzmRDF8pZMg34pW2TKu88AAnJhhEGAmruP9i01zfSTOjXnqjniGlbV36cekqfpSLn+nZWaOHIso3lU7S65/F2xaMaRs5IvXAvWLgqBXv6ztXDBqiQXzWj8q/RABQzbgVA3hUZfzRG2UOucyEY9Jwjx1D5RbqLJoJKcYfxOz3dcTsWGMduq/DRcJNXPMbWXkXAGhGs8kROsd1c1rKuCOPZ3E7OV+5I0Lku0frdWrMTsCz1Uc0WrU6Rr8zKSe5aynuBKCdzn9MxOljSTAKy74DmKTZJr/xiY64j6YVZVVYGdbPfxP38ZyrAiAOVITMOeRJF+hnUUgu5mmOM/cHdoSZEdQRK5he2GKRHmDvgeB8uVUT66cQNU0kUfvukc62uBy9miusj+GzFYi/OPPznebC7NA1sIHV/pOvUSMCtyYQ6Dmql1oLgVx1ehAG8nisA=="/>
  <p:tag name="MEKKOXMLTAGS" val="1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1"/>
  <p:tag name="BTFPLAYOUTENABLED" val="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BTFPLAYOUTENABLED" val="1"/>
  <p:tag name="MEKKOXML1" val="4HooU0THZk28POP9trq+pbTvvzd/gcV8t56cq85kb3NDTsUhojRA0EsgEHHMH7oYP1SYpn09ysXVivguJdhTvfyVMsBLTGvcX7WPTor/CmWiWcfk2RmY+GE6Q6T90sFUr0lg9IPP9y8umrse/9AoLT5R0GKq+XM9pr/aTyOTf0wptcuHbHxeyqBm9svU01qeeEM1v0hpSHUgirOnAK/wusZqSFrEd0VGZNwglwcoUtdsxjAINgPj5e6KtV9P05XUB+6W39OQ5mTDih1N442J5f9DromPfjhZ1IWWThgWHYFgkt4bBCIf0Swgs2ijVYkNl2GZX1RFVxCyvPerFOenWg2Oc2lK+JzQLikfr/RwFYzISiBYeoSTUd4IuE8gzmh3ton2lRrL0iQopsY2C6U8GdG6NXahf/3/2rUhv1q05aqX8/pFTS0cEX5sV7FRm783uEA73m1jLxt5FItx8pO8OchjEGS9GTZcLGQzFQMq7oPGIcjENu6ztowJW9n4146esFUdrX1OqTzyVwwXgURKcOsPho7HJBloQ/y59I7wrgkI7PlNs/uLAK04LxqWmJdH5EZsTxLm/A0GdA+8YmwLZD/RqkCzXEAN5KA4yjgohCZRbyrAIBemTOw47qAlzcRC8dGo8bvpf2BDfbtkArjqVpdxmZP+K/5EPn+67ePBuKX6iKqYX/6EO6g2Fu+gBQh0Sy4L3VsxWWhyVdMFRfXWePQxPmGa/+Jzll90EJgHcPC7dE6JFFBtID4MA3Bz+C0pRictm1MLYhIHO3r9dZzWR+3JjfdU5zcCWfr51S2jD05fbDm7aip0dUqiwGeRlxdcS3lh+Js622XbNiqUnRvz5ojYl91KgdAlFQ3YtwUVzhRzLGvjT5Yj2OXoyFYGIvOekagfsFV7ByezK53vQdwf+7hx/M+iEJDtKkgWR5VdgRwiSq1UwtT3HXwin6OUg6TK3NrwjwsvYQ/KPDKnBoBLotMwQc3JzcTeUBZ79x/V8dLc3gEDEVhYQzIFkIOoAlbXZ+c0mOkHAabjFHbjNj6AaDefv9KbHILL5WfVLsMSQcjWdqgZzH78RnBMEDMwb4YVZIuHEmw23yZGk4XkyaH9DkyGqPHcXFeGFpQC/DFwNqYKUGZ5XRkUGKf9ZoulsIxskchakCtsxMLKNddcgk5aR3LmvR5OmU1Rll74+uH7xBIds/BRIil8UPTurlFbjGI0PJahuoir6NNMLCChNn95o+78aqiEhjKzMk9y4kNqatLfkjKesNkx1OjKYytzwU8LXJNcc79jXOr5Zu/eL1+v9XSfwivsBEsJtMMOVLajzkC4iVu3dOPDBkXDEX+mvNTniYmLVd993hZ/SUQxDOaSdwG2qlQaX9SNSDX0FGXu7kAKUalmAT53hH1FdFhl9HxBqG+SL61ThkQNUUlIuD0AXDPLByuOqb9WJXvcLqqd4OwfHHGjRJeSR8itcrKsXLZKth58zuFbuKcaLWWNbOa6bvpTMBol8M+lFKb/QrDfmyQ7pKLCa8TUL8WW8huIPO/EJh3MiRhs7pJfKO3+O1S3TvaH6euEv+VbmBFE7KgD6OfvgaweomDQl+ioq3wnh85ywmfeDp8s8ZvWqFA45YM62ZpvyhaXbAZiFdXDau23vCFnEPdg+KJeNCSFNDYp8D7zhcmN5PLeskTn5ZA0OXTUHtNA1KaBOh0wXATl/4tCCGSJeGGEkwYElZPj6uxoJYoxMEsHPjrWiFV4sjooIXq9M3oVh1Z4cnwXfq3GfWRKFU3SSJxeZrjVXWGbRzhYZ+QsxzWmH+VJDAgCWYzDAtZsTGwYlyHCIM4Gt8gyD+b4Es5vW+IUkbKF6QNnbeWm6VDwEeC1/9ReAfgc2a2fRkE3CPWNmRDOdj/QXeO5j6j+lU8R7bGVEbmPoof4sEiowpmfb1pVjQ1Gs1XWJkOVA96CYkb7gA38+gMk3KTTXl/tzkrmyn+wHLuZOBZW+RgKW5a65XtY/yOawzJcWPey/JVLKnlFkeyZaDtpp/UU+Y6h4JNG3iPQWzU0C5z1qAIHH2ZAfyhIQ8IFwo4EfbrszUKvxOvtVOobUdXluRT8WSH8o4QSHWIldhM5UBMuHd6RQvJc06IHLpS8T8jJ0goj5FyeTPs9nEBIvBNuLhxsNSoA7qBo57IfbK1m6Hl1ht/JjbTgE7k2vnqfTwjWT48cSrtikywxe7rjPtab0Q+BLST5crjjiYw42cTKYCOGZInB79iGlWx5f5isfD/1iteBQTtpzqMFgHxaiOIfHnuntNEz43HmiWUnNm0PsR+jI6Iedhggo9K3t/eEWjOTXjTpGn76IUIgVxUOL8Eax+IIuMyoCAPhKWo7gpVdV72rvxLR5PpLemrGnexERFH2ObeJdkn53xYjEMybipbBSFSujU//NRNNBoeInpPwscNt49LGvVAUR4t3zA3P5sVxypHZbpyZIUTpO/NCneVqxUXHWG3Y/AaBIZ9Hr0WV7NUI0A3r7ELahpihm9lqKg4bYqhDSSSCTfje96iVEjgClppZKl8R4PVfTGv/B52UL2nzq/USbtWj+wuG285JTaBntphUnPnwSfxgQGhHPW8JY+NZnDcV/AMHucgt8L517lVQc+G4L0AgQOLV26Dlvs53RANFucNySRMJk5huMpFK6EAfIxdGPAa4gokf0o72T8kUDg54BhXN6f1ztQJ+j/5IBgaCXYOEYYxZu9hpoAT3ztatDiZNj0hr9UknjnaPgMC63lLk63sHq8mnlZHfW7iEELwWP+DFp0u7VPipEdi7d4SFYdviRZiH6s7XBCo73+CyrzE72uaSMEsyZdwlNz2cBd7TJ7hND6vgdGjIRECF802FVqlN8Ca/M6zKHrJjDhso9gzm/hP+XFhEGdl/xYCx16UB00+NX322xMyIoknrSstleYHR0bZm6y6wO6JMAStFlGbUScCyTL2cGCasatChX3mNzGpUV12ApY4oem2Pyqg4q1Qjm3ujo3IxBuodQC/CrwAqy0JrpIwCmVRPpje63sbe4XD8vJQPKe8YmtE2f1LVuzFxEB12LA5ic3somAALtirnytpy3vPRf8oPImC4i9Mtar+ZdqMG/bRJVnexPht44X4AE7JYvNCp9SHlbfIt9KqA2xa5nHxkOskvqUPQcG23YeTI2zg+W77y6ZMecXxfgYU+MvB7oPMJsVI1e2g/VudqlvqFL5zxPsv5GTpc3nfWbVHSrhrbXBWqXForoOpU6npOxG1KPZ/fw7JiUbIcchUtpxeXaImUmj9NNvO5wtt1S7GfYjL96dwFiB7+3zP8LtbefFnADOMUFhab6QITV32qk9vXyB0JD/YcSUwz9LywvZADvSHWRwxmBciKxLYcvIQex+Ux4eUtee7nQDDgx5NM1QyfgPT7QdRn5qvAE+zDBjjGto2TMWpI9XUJb1cAp2Cidqy1u7SsSgoDhcZYOvZrxG8DnVQXKdFgn5LIKDLOyPO14GjLcqoWSjyi8P8AT1hOrE4CYoIF0DlvTHdVEz61fStwqR+2Bmp+OGvwXLEhz5Mtay+6uG3mAXoLnLbRVvN57aBJCwvfNOBiDRvS9zvN5thvU+kp2Agj0pPXok9ZuJrtsfKDT8QeinOKCsur8ym6iE/j2fhGRBm67H4UcS4dmXBeDxd0eMbDAqyWy8kN9/CSnV1GAqseqXTXA/lpQyq2XI3HkBbwN6+J04OQ/RT+RCIidhGvIdBJJH2H2YcwKOJ4HolMpHabA3erw97i88CM2qo8HBNyoy3OrHp1dhJEp7Wre7JOKR6WoIv8el8yeoT/WOS3UAfasaP7ihyX6fKRv9YC6ftx46iG+cyhKTnDNrASytsyNz1YdfDCf1ClIjTmvQjrxKi6lg9MnQilUjDsVz9RAGa4vDe0y+coSglAy25DeJ5SG0qrZklOAYO0b1By80mZ8HXTkQmX7VvHWK5nhMEHhSliDVyMLm9fKs8No8tcpF+w5EPfpzzbFAlF1KAy1EQnuum+vvs63LvuhRLiEtaHpEdD8Xfx1VFDPHI9xQYKZzD0hGvD5PNj0dSGV31MSUK+psFU31Hen3m6elhyc2TCTx4eirhIWAI4CYhADBcieSgKA3vkjQKECnPlEvtcWD0VRGfmbtqu2W6IEHSlRTawL763y9JWkfr8JuSBmgHJg/ODPtg63g5Ha+UEXtNbOblgp8FgNSedJOXGLNkw+Zb9gYVuC185mZKCt/xvtDCVnVdCrcoVzXA8q6Og3idBXwYHJnfzyCRLVPv7NpV8cf/eXCKwARQRPYTOftgxjqZy+v8Rq35snJ14r6sSOuhrQgKBleuJjZjxmMvl7+aGDYYJqqSLN8N4uEiPyN0o7Z8l93IzJWPfAphXgUbgQRG6oXvJkLk3qWI6Iv7zvZIm1P9TY8wslOZfe6iA3Ipt9E+IWmrSfA4q71cQEOuUPQkC+FHz9KicPJv+dY8S1AK4tuTIMxsRUZJt1WY2EWMYhQkhXFb3mOSrpA/CKphRZXKJCqtV5PzTvBdz5/qRdf5MRxWTQ5qnNXQch8xBWrH+ztWDKqNh92eJgNUEvlQLuDF9+qj0xFT2nns8+3XrDvAqOHRgww0pQx3LrH91pPs0S0c5uRrsWmjpttPvfg5rgYpCJlnen7A4KFz5rv10E36h6WgwS1d72zVRWwNPFPDBW6rJn/a2BnKXUD/zfFazEEr+kku9WxInv4kmE0bVZLVPmZxrnsTGH7YutjaYv9XzDNNPsxw+k2MfKJH38imnYuWOX8F3zcXoHyDiiVmNEUnpi2sbt3I/jjyN2dh6wnscrKSG8SdCnoWRBR63SgOrmmGEvjC2msuByymGJp/k2LN7ztl1gJRWzwOmBcOB5Sb65BM605bY0o1W7xDr8hvzFdq76DDg1kp/l7ciXBuBlesmcE2UkCGBYT5Z0sW3qMzwtC2Gn5LIU8/6xbkTtaHEdLCvG9G5ocp1RQKqqODjJGiSLSQRwd6NZKRnb3BaJPqqwPz7qyyVlsEaC7WGIsXvfZYyvPhTSucxyKPWYs5tUoWLfKO7M2KBei1MiwPdSLkVCiswVDlhtUoRjfciDZS5HGjH8WSK8gE90Wlo0fsc6cZ3QLm6cQUd9MoUSUShxtcDAZLpGFw4zdjf6lZbQISGbP+GgJnvn5X+7rb+fAMec6ZUmvsTscDijnKF5vChagsuG2hF6F+SW0u+PAvj/XqRqpC0Zye4DKTW7ampyEmNbAz4Jejwtl7OW9MGjlKlvBy4B5fAP1MwguSrFEktR2p6NH4uBfcYVY6L5EDbexPIk7a4lPuvYQMT1xi10v49TtCURMWcxsJ+LskLZFjoiPVNjMdnBp1jpQB1j/2OopVMsVh/QVBCgazwLDIkKXFtpu+0thWAybekXYQq4wy+jTM0BQ7wuYNTuPbz7UmgQ5QfH53WEdGsANl4KkXa97Lg6mDH6uRT9GqgCPS8Nszt/l2qa3PhcgHfGIp7LMdfMJ3nSB1vAdjaAG0+lCwhEQtsfVD/JI8zr0v95swUVIz2wXHioA99yOeyp9bESByt1DZgo3bNxllHjfYHQHdWB6aSYB+CigYSey2Z6NorSRt9XgokJCGE7f9AjWoo9RLYE0WUU27w14hNbfY3+d4qy909nVTu9uiwL1O49vi1E43ag3pDHI0fPanb9IUSP/HybEsGsb9jl40W/oBQs/wzhYx8PEkvlZPBTrpd4opAXTuQjlGVtnRmH/TDJaUhZ80+2hwZPz1yfJJaZ0EXNxO22OKMpygIDMcEWmn4t1gn0vvSYN+n+Hqni6Vk2bS9WOeDRQnHEl61iReLdmhDtIbj6vYJZaFg+dECWRuuSdKTW7x1yyIu5q36x4yPQbTpWDfuUDrI0hcKwRBDCy9kAGP1ov6YDOVDLYlMYmjYNKOSsYeHckQwnxzPI4RzLIGxN0voVRGpfLKdWK77xR9ldaezw7j9EqWdtqWjrao1lUFX3Skwkx6W9ZaEX2Irggw1ZESGF6uyFKkuzi5Sx2LL+WWRiLDutQcZX1SUz0OBbAdXjrsVoRSDVOA1EkmYGAeXZaU0iOqbiqV13b7SZu0hzi78i4j18apy5ExjH4wUjMFhAnWYPSVzcdUulxto/M+X19ehibb2xN13vbv5dNi9x67H7xGZx3Q8Lf0R1zUTwbZ+fENgS8Lv4iSXGR+vkkiu0g2mTPbCBWKUXAW0MzP+LLYncFACuLq/HiX3zAnUsqRfHbqg8Gkqei3ZYuQ0f4G+yZUp0Ck9WrNJg/90ptbxPbheA+Uyaxro+0fddW8/2cQh+aloGMXGFKlhHKIiZ5jKCunsdixz1UvfZduu04bAyMpM4QuLqmj7ugw5VDqgqMUdwjG4pT7UKgBiKr8qlG8aosAjQK1w4XgBBom116v60Op+wU2fyb7WCP9fXbCP/e39o8rgHMZORD1qwqaBkWAzeFb74QHkD3G+GRIbwZDTlfvaHpNXPkIqlft1FfXXLpeBKeYa/DA+yBMHBtzFWGRUg0wMGuOqVgLBjrkne2/rlu5KqzXsuVxEqsJQHikROtpSPxDDgiyOB2HdnL3A1ChhJWOgNWGj/Mx2Sv0VarN2kssUuiLyrW6yuzA1zEzmoR0jXLBWfPwleGjs4Bia/hMMuuow41D5QiLM+U4EgWFdCk8c2Wz7LP6OqhZi6VNBUjVM0FvUQvh3TJaaiXaQqOrwJBl4HrQJ8wTDQax1Wp3W03QruYCzzSJn/Sblztgbn85mmmyHFgjlxByZgPa8xv9CSftaTXQRp3i8hPhnskJjQtbeGQFY0+LwIo/B8XrnjTjjprEZshBXa0QTH/3UGpMJRVNmZnxkBdLsgAJeyTVFikEEwqNBN/Mqf1RG12b++Jb9omp+/V4zR+0siGK7/qp7dLaGrdUC3W/aJ4tSQtMEhJ5QkCTwKeD3Ho6C5DnKJQL0AowJR5BBn+XvMlVR56tUCuVdffp0/SAn10eNJVGOpu3uhJtkUceV3JPKzI1a8suG9Tl+YNLjQ4go0fIGyi6Gl+10CpngGn1eg2WI40nWz2ba6GJB8niL9JbqMKXTbB8FE5wdxcsoJ+KxVbYRzyA0xkEXjh5doBfsAbp0fNhYzPqTJSBfnmgC3RAdXnNQraw4nQlf0g23P13aKQ+9+0KKLT8OCpF+7Jnn9l0HNd8efm+wHdTWM9EFoIFwT3eYzRR50xlwhou75f1oYNQiA4SI9P4IyuTKka5Gh013uThP7jAOOiNBGXyzU83xiMpSiB/0uEMNkSuUpOJ/u17e3c5gHPvTzh757c6ceSQWftxdeVhfmhvNt07XKc8cSg5yG7VbuvvZPK/hn0M+loVnOhtUykDScXA9PgABSVrz1cktd168c1drYYhozi4MUA5F9UcTvCvYg2M+c6/Y5/uJdeOAfiBxPiFjNewzWRtZO4NW77++M7iF/ILVMSNAfnJEcSmvSNxVEsKLIsYwAL+WuRXG5xoAigcpipm66ehczlo9YOgXV3nRUv+NlruAq9q57k0ogUzkRu1ndGlt+SfJdUjB7rW9eS+XoeOKdetQeBfIzsGIrTFpbRtr4eDm/JsvyvVaSCT9Hg5MEZGYDzLfu00cvuDZISb+F9ku+xTySLnNZKy/2fLDlMa9YmY2t/W63imxJxt27VVyNeeoc22gMygdNVcjSkWXVFe8nzOoTOMQJjrjuFSqCzHmlGX0AjYyM5FA7GK244bqoUoLcDbqdrm4xP/EYA883Lfvgd42DDBMtsgJjnxK34oSniSiafkIy0UItSjY/fIuIoE1/IravicSBCxJk+boNsMWYoVn5DjtLjhVrg0I9/imeS3ymFkygrMzJbUcyFStnPG3kYVQ5/8icQ9Qtwn3v3ujZQFX5NoAII6LcfftVyPtbLOxl9MrSOiB9XRuyckjkF2DZff6aRc7SCDhZPnyciyZllZHwV7djR+LguQRyu2ldtqCx1quXxHUH13MU2VO5NtMYm5TLCNFZhnGFxBdDJSMsP7qYoilhT5SKcLCFUJNn3DP/OzDU3hfg7pn8Cl5ZW04rySoWbsKmUSKDQ1BRIGLxtQuXo2RU2WPJN3yTqoBXzH40E89NPKqzg2K9l1WB/2SPgJ5vlawAhFp9PkxpFZbM1/0kyUDVUb55LPxm0rD7ILJOTwiGzqP2H3bsG91OdpUIADSuBsxxCXunRxxg5fajsZpYKpPriK+QTojwQO46W6QcDBhxqGYKAPwRiQTiCusRnBM6qqZlww5V7Qh4O6VdZKYBBkIzgUeHG4YHK6+uEPRHUrg+cIHB2Qk/a/UyYNPuh1KhtChdX344jWN/3r3rnqUo4OKQbXN1IVzenz1p3i8HoRG6/j2FW1XJphwxe/Rjr0SHdURl2NKOWdxFwJBtjnPXs1GiVMvcShwkoL8/l0GujUYsdu+2JN6Cs3EDgphvV5/tcZHpm28ibk0lE/DKBy3y1ieBYVb/WaFgapoxSvMW0W8DvR+z0Uz92ylxuGe3Nlb2w0GmHiIUGrGgozqIRI1lb6XB8qCKeFaJdhEWc9ChQ+5fWRth24gS+QqabqAhp2N4j1BIHsXNwM/pXCYSO33d0mIVo1/A2eOyCD8bRj7ivv+tUwZNrRgjuyFFr3H6ARmKPyshFDsjAYMaNHmuIJufLgsz0S+FphsxwqlgI42HygBsFMD6j2tJLWsj1FYnJqjb3jrs38fYWSDcVx3KLuqTC58Rd9Wo/AIySDoRfL6xS6NKLBBNdIFEfUXpAQp7+d3gvI766faeYp2mrbiDt98tEOvt5UC6xirAGt9DNc/RLNKb3yRHcl6meC9kaj1YL0ie3d3bDxaCOYEkb3cTW4Gzcml4TXQFCF/T1qr4bA/+rDT+Up39Cqh/MkSwKYeWRpITYKFYIhOpnEKEc//0+QCeQb90SmM2cOhjkwvHMCUng1hf8v5RmRa8ORO39f1BHDRq2DUZisuLUhskWLuUp6mXWr9h6N4vHfQP62xjZ6SnumwEgIsSE88XAKwvwuJOFmrhH+QL0PsYSgnrwNk5Ug9/OSH8roUR8n5n677gX3QU0P3FNOEJJcnL4SKm23tSTf0WImt0r+8CYZffzj6b204fiMhKc2v1+3Ln1ogCCqeib+P6FIuB+VaGLjc+YCfxKNm5pY0qasKEX9J2mjuNFYYQasZ2NgMZvGSZIliQNinktEDXVVYBLZyEZBXhaGvW+1w8QHxpCBu3u9WExC5CNG1TDDfwwj1kaAWyFvrW+QCRp9ZW4qTm/kcOPYHdffw2TBleb0L33BUD9zFoWDM/qlJy//L885KIkVFtXTSnYOyy9P/Zq5S1gdf9BIeEPLuXcJnMMlAKoUJo0TA4tXrwSXy42AjZFaVBRbBZ+dr2X+epgzpSYSc0smoemod5w0G5owZWIqvBMWN3D6oHuEJVa301oOb33BkI+PkQKzl0HZEUcdSkcZcd2hFI9sHFBBCpgqA7FFwmRTnAgBYVbrN/VLvOSrfuENxn+SAcI65tzXUUjQCIjsSIly8TR587qmh/JFNO4s5MgunjVzPtKWxaBenFV5FXsecJvgWXrDTxEo3KLmMIXIR2Y6y99qRWlEx2ypkEiM2aBRhhv7+Y2bKW4ofR+BUCHvVLysOKxxvXJFU3gXquoteLjyaDWdj1L29FkmjvMK0z1Kf6CMHnQXl8CRKp9kZ8WUY8myDS08Lsi8QumQENDECDVc8SSgi8NNei8qaG0NHrk0hMNAKYHZK00jS9XQG/07EO09p8heqvghp9ETXumujV+lA5/0L+alp9CvXKdCJ/+aGDgzV83i1rKuAFl61GO2bsbZQn5G3smVHyI8pZueE3ASArpfMjTgTShZxbZVpfnWbXmUfCgzKuSvLtGWdS6gSoPicIg+nWhDfi3dCDdsu3v9yMCwfnhdPkow7W3AH1D9NG97bgQvUVSSL4l6cwAF5nYXdMq81IF+o1oLqDoyxz0rCUyqFwjeIdBzyz+oD9Nk5iRu9FdIIB90LTyJuGKIyEIVIHSkOdvlLQBVdBvl+hQU362rbnPvpyZGn/HnnMtF0CHIUMnGZYORBxbxoJD7JwlsuPXgfofqIOXwYnTPduK5VRTRD9ojTGHnekskUNAMufSVZltZoZgV3SfG4IYa3VHjZhtZYjZ/DPeBLcI1ka4pdJ5/ABAaC+v9RR3mHsOLFFqYe3z6wYPfQdjvnoaneATaA++Wr+PCOpdsTTyJFI/ao/CAepwLfZJc4dJvc3Q5OA8Prb3GS4ejLR2aZZqNC19aK+gSvpIFmU+Fnl3x7/Qwi+Vl27bE1C8rQYIymL8KbLSI2Jsz8O/DQC7dufus+Q9/HgkEKh3htpyYw5lB1bqCLK3CWvDrdewxDetEQniPjkzngJ+s6N/O2dZT3LsdXN1w541YhW16kL4D7PHOUVwGfl+J4S3dWyufPEXE8wF8yFQ2yOOLXcIfLXFrmFuyXtfkQYrg3XEY8bv/cAYmInrohM8vPR3B7mYQllFN+kZed2MKM4nIHU4CH1+lW856f29ae5JM1SS/gvNILFQI8prbHFsM6r1i02NNFgauimlkl6WD5W+vquepfqq2xv/l9yygrPeZ5ojv5mSxgjFjR4E2LwnxWaMLArtdgi8kAWaXTcPaMqVflft1ab9s/VejxpydAj+ds+ldSoeJS3dOEnC0ldy5N0HwMfKLdQC3+JVzSbGBeQ/WtW1yPdecJO/oDpDRAmlGmxPdqVyB+Y8KAiP2pSntYpVeY5e4wRVr1InHwtN+/QgjZO/ldHHE+je6Sfdpe9XAcSyO6MtaJtPZX6c3CGY/OqrIg08mzLDCSv3rAJVzZELYx1xzuLH7h3W6AnXRSHE9gv7v9JRERNLSDN4MopmZOk2UU1mO7PoQBIbkR7KoDq/07ispM7rBpb5P4jurTv0cNnWt1RBi19B7ll4F8H5GkuDOpKCO7JrUkpfxgvOucUj2sgBiXMBpZ5k6Ye/k4Td4ChFBNHtdIDKNepn4faqEk8CkowJMRWkGaSbaE8a1adEyhBwURvDZzVcd91wxDjGXstN0G22eveAqbTWG5gdw+wgLE5EWUl/ch4qGiR6Tbpu2RYJ5ZkPAiry3h0YFMTzDLqa47vmMtXCy8YARdJXauO3aPL3VK+oQGywsKS0ByhvhZIxNADTo+JSvntTOcDjp2vcph+Hah3vQZxV2B/2u5XIU5v9hON21dlby5OgVkia1iqxZnAG0bpdQKYkzyBfDGxIvYnCGnH4mCQyjaRrde1XhflP6stsgF5vEAyukyq7hf2EakjXOG28Uzjv1Fv7kBA2TJbcWUa/xk6LOJSfKqPjvo42O1a5h/m6ZNzQjEDNLSCgDilgKQiWKbWm0ubKgeDkwsMVoJnluwicVGYsykvsHOzEikgHUhsACH6JKQ11RI7M9v36yMyRFNx6DOG6TOP1wvu3u/wzI6Z979vbPz6zBIAYbrcnqsNDpBJykdBsB5aTg9IPGwc9ZC/M9Ckh60AjANWfolQZ2i3oWfi0aZuLVt/fkLxb+gub2uVzyIkXnEo/bnmsMV+Q7fMIGKEPm9T0wT+amZ1hCPaLyO56/Eqz/w8rgW4YiT0Kcx54aCPV+uXSv9BfdIbjZestR57Vy0rKzBInZYTBFOseaFXIe04kv4av6ANd7zGPRej9GQmY6DQTh2N/2wyBAov1FqpscJuQA30F1kofdAcFL8Z4x7tHdaLPeG54ehRzoGopDgSxWLuT7H2eZ0SWj2D+SI1hI8m4cu6Wu+67Pe3f7lIC9R/SN1YDGbA7En1C4HyzK2ks3uLnLrICTH7HwrwWgMWBpVJ7IDiC2D4ErENNMnez0qRCOXYYuO/6iwZp3dr3Wez9EmSVi2uqEQR6WzPk11EaEwc4MszKE4ykFuqm1gqWUF+812W2sU3k50YoLGOQJzzaTP5Rwhwicq6MDMbOPCDYE/VU4YNXmUjVEwN9nfqMVe8ThmQ4vxcHmqt0VZYlXqFidhhg72Wm2vd/io6TbKEiBg4QLLxDr6ac81w3mfxgWDzC88vAcyntYHEhOL5mT8Ix272z2v8HIwHydS8iGca5UblbIw5CUdqGyP55Mpj8k1Z22Ces1Dlemdepf4KtQQ7Mhg0CgGQ6ayhJ1gei4d+jBcvrS+nBCriKjuCksQCLzmGloO7DiCO2RHv0JQLzhrOdEeAjiykzTI/BQBHlWTQXaV3EskyvR8QPbQS+5ASdzaBvXn24w804SQW68kdUt8RH748KylelINpaW3NJjuJcLNwMuQvTMfejMO3ASebOSYs57Qp7ssmiP+K50PKj7ZX5bnQFF4IRDAYF/a0FuTr1pLAW51Jcm6vpKiqRCNPNZ3Gb3MLyI5jrzBWbnTJ39qcA8bZ02YjWwimuHfrn26jpYfXy+u7W72py4z4P0DDnN/MgPiW/x+n38jH8iLl8HK0S3jYFumlHDwFqgB166OhNOLVlI0cuHSI89MmJ5Qi2LIz5TPBGQq9NGSKRSnwIVcLmPPcWlHLMSf+/Tbn8so1FUHlD+gf+99C++sOg7jXckfJPgM+sHI2rswCAElwRfKPxkmenbjaen3twjsYTSVndUrHTrQwl5In6TMDzpwg+Wn3/JDZw4hcjpn6K+B4l1Lcj/3+xTsZyK1Dh2adzeglRnXBetArgUkBVCg2inbFey1oDhUKlefgh/ojpaHy0VaOalzeR1FnKhC9+EeWXQYUmmpa/Sm0owkOwwCuqAGT1eGIgZmRMAgKgmZUAzZgoiUNix5iBEhdGbGfhchCnoKMQ5C3sjrDet3CYaxvLzsDBzMcCD7BznsxTE7U+w2CeHZgttH1olePmrRwqx3OoUr+93SFPA4vIFjonwo8g8BKPhubzXvy8ZQ4YosLwWTTkP4YBXrE54aO6S0qyyLwIhQn3IXF9wYEwC4gUQjJ7eofgYV+KLYGijibBsP8ZHDD1+mO18sz3KYVukZYkhYb4Ldm9fk/TBQ8vVz08JIoAthsadGLjRCH7tCh1nlO3hZpjD8XLORDbdirqH8hgwPnXcMpgzG/gWpn49wCCr4/w4tnD9ahbiXngm42m/PubgGk4RtjJSG8YCOIuDgS0X3x/gDiO/rnod3n+JDdmPPJk+aD6cM4Vh5wyjUn5ik3FukuKBTVTS4pHQgDnmMjkgjWOBAJLDdsjfLdnEnCZVSJzqxAAOq7/J4VIldjnP/5QicT3h2+S7y3xhDy8H8Y0Ibk68ADXbTO2SksZw0shqZ3t7lr/zAKvauks+95qUwI9ElbAgW72JEpt5/X0DX9taT+52Yn7ckKSjp1i+jG8yeuW/UvNEiCDgJp8nMUbQnjxx0XXvigWc6kJw7rfXiykvMmZkY8MTtCQQqlvWQk1AclL43b9sf9rEWIyZOSq/jQMLb3CPsfTGEm9wAtBedGDNM62yAmToCm+kANCwycFOq8KBnsJAaZOWRTWdgfxmZflWaIhb7fo3oPgBt/kh/2gsUAK4pMxFexyKsaTRlPTyXLEwhSy86XkLb1ZjfB+rVXcxpdey5cVt9zqij8ysjYQIVMZu/xKRoiDdRD8wp79d8xmjET8/R5DofPQK43wh1sblgMpd7VB0epa+rBgK1L3KosUidRtxzvrp8EXU7R1Gs9kgVKjeiLVEeTf1zeJH0MZejPtMFGVc8sUlD1fxLcShKj4n7EjUpkycp6C2EZE7oN9Va3U/UFge4ZPmjgnLzpeJU+E/mBhekDX7OIotV8xreG3qZorMk5ed94L+gQBM2/EVluMGG1r+AV97HHSUAEK8F7A3iah+BKuOC//0d1/poAtEuh9GGSEbbvGVaJcZ5I9GBkFM0ThwlaDavZ1PirBg6iuNVpLRjzm27nF4q0rUG9xttKbXwyok3wlne+aCS+/deuyl9gVLI/kBFNDC7t79U0GK6n1h7TrDXYZXf1dfkDu5d3sEzwOP/vCqBVbCqdacR7eELlbARDMK49ZCMl4KTDOZzigv2ylBCWQ7kDwxRTw1j7Q/xKfGNm/SpAcG6YtjgHC5lLHA+g2gJZ3dx5klYUyPY+q5tvXA2+S5kvdemetOCGmeYLFoL8hc+XKFa1dIeuj7FJH+uoqeVNsgMo5LeuEOvPIOHmaKB6G2MljM5Mjzhhs0CwZFBzoby0EQOGe2w0BGk2CynNQe7cPb84uYUlkm/ttx292Whxe+LT+eClEzywlYoTFwnNXhZVh6LaXH9HXsk2Wtq4nY3ejUzCgr2DEy28ZP6fLCdS/XHtgm4pRyrrFnHcdWvZaa1zCdooqcsgMMbcKRp3DyTQm5zZGI8YojpVT7DNuINvSvHddEpI3mMfr1o9Xwx70Ssx3B2FiCS0GyhpEZ3KRdvEM59M4YqiOnko697PFJaf4its4X6HqtdtV7FgVvCtQzZF/al07kAX8B8rCbIdqg4qUqPMTXt7xM8VKHMwufVRp7YkNeH8PjXQmWdUQClMzAJmMb9jm6KagaWgIYH4xLYhH6UiH7hJpIrYnRreLLtV/g3kuXL6dkTgLyT2vCzXJPa1M6CWDEK4va4R+8xuv4lMKMPGoSyiDlfRqVkMo3mA4EYTWhUUR5kCln1j2+s5mSUR+a/Gy/Z1oOmJhK/vq/85alpj1L4nH58e5PylWBaFnf32Hl7btu5yJ6uLVNwEW+KGd5Pdyhzz2ydmkBvJsgDDrxOVfHQY7FEiBBNqzWo2o6sIU5A0SnB3vzStZQvrNQv5JLYiSXX1bBgpxxdw0lJUl3lPXanr7gJo3XCRDEA5ObFU8RgZt3HnVv9ctwFtQdDxQbE0DCdzo8rzY9FyunMHBoilyIoX3rRw2DbWapERw7xw3XO5poGvQE6utnTCsCHsJM/jNOsFelpB4EbuKDbG4R/FKme0I628OzWTjI15AbXk3sKyz00cfgzB3E6JkiZboPt78j6nXuOzz5yE5JkNmQlq8Lf5VLn5VIAyGTItHcq+3nGZjIk0sj35ACXwe4CUE5od6ahPCjSUN4j7KZO0LxYKApanGaWI87BQs61YHjibWig3K3uvlHPicgSRcXY1gqzm2Q4aVCtVlNRc0eWB1ChHlUHgZiZA/66GvUL68X5szvJNulCYkgHUeKG/p1HpWyhWeDdJiIGjrh6JeMsS1tmXwNg072p59RPHVFAlvFp0P4fc8IlEDJZ29psi3oobX2YimER42NrhHhbaP9xBaLvv+/AxbApatwhgIFf2Y31TqNn5PrB9PKe3B9Q0VJH4EWkAfOnOsuPLCNsMC6y6JPubZriwaeNc3Ht6IHsAhRJqcZbWOtk+UuBFIpH0Al1xm82QWnZKDDSZMz+w6QC7Zx8XKjAxDSBWUzavs+4q/rLfqyzsjqrid1BVTu9U8Xlywl1w7oJY91R0V4i+ePsYFe+d1VXb263Cx2DrrXv/fFWAwQJzCu5BGwCyBRIdTu3j4gOs5kCbWvBtx0vglsTYzUa01eMnCqZU8lL8pBDYuRp8ZSS8uBynGtuvHZW5ZvYYo+V2vxz+Ikw+2dTuGVVw8AzyETa/YvRHQhpxSOnMqEEB4qiJcbjJGqTz+6T6ZxlaLb23f927dxG7KuxRKCAYhf2/klEWPpoe5xmpGEZDwU3dDxjEojl1Yu6PNwxbuFmbWQhtEPutdqirm3p3ZGgt5xNaXnGovDg7UbaIRa7o0KunNW5R4twkNR1P7PU6HIVzS5YgPOmAq7hzh852XuMaDV02cnXtPUaieCD6i1WI/WtKEgnWKiUefaXzNASXn9/RKUZQ19SZFGA7oYpJ7XQzFeOJ5JJnce7NOF3lD5VaAMpm1+yyaeBCSmMKbL5wiU/5wHyXBfuSSfUEVdY/9E/wqKFhRCPGeGQJRBxvKDExLYcghkqwyjaGVMbK0CyM7865/MBuPoqptZ/vno6Zee5u6IfesvHlkkPuGw1RNioC8AjbKOhbVAwJncSm4ecN8xOO+6vJVNpmU/HI0au8YNDD0546hnyXQf9KwmNMlL5VyLQcZkJBAclexM8UYAywvUeFIxJBsvONDOTqPKaKRebVYjsGfS3pLtFXRG0+8FlbBkyUtRBy+MIq0SieS0OXuo/3FdcB5j10O+4m3vy0mxtnYzhGgNN6KC085yYa78yD3DYZ2Oz2Weo3NV4b4AOfM5bXDtWbbK8BzEo3cfuS0Nf/zXcstR/9yJIya9P+RhjWUzBMrVYoi/0T7w2WPIUYmX1V0dgj/mLfwoxrPZamF/OzNw0bzl3uTKHOCjrs3eB5HEJSAJ6rtAw0wq4Ys/rSVkWyavrTq0O+jeAiHCNf9XTbLKvfBXLPP6l0HdL/bL/lj9A8jZvlr1TS2we2ft+wg5gou1CNV/B+lFR/Gei9lADvm0GAQMlETnFS9OR29K20qqg1kXjV4Cag/u61B/FXaxNQ87o724xDjx0wsImUAP/L/gmPBZLq2fKzJ9NbrW26C1+0ywMdHjo2jPqysL4G45AOgnRjSR7yeo3Jcn71JYFtTIx+Mvxzhf1Kvmb5r9cDbXHqWy+pLxy9GhbVA5L6+jHuUxV4rwC0EyoG0Tgz21+svAo6XjoAuNVAYKh+dtvDbxy4p/ulgx3iOhgPYlq84qjcr64MsY9aKts5YDtF+mv2XFgQD/bFmWeAs0r8zqS+pPLH+SP5bhscudSPHhdjDRGopui70V568afy6FkJs9beZEQnAYRTgxdpG/ToXWcPCWdl+ryhvdjPw7NjGJYEkuMbSNPfJi1B7/B6ZLA4PqSR4gYYwbm52dU++GBkMn1KLHKXP99WIibSB9q+QJ1+RN5qInDFq+LIkiPGo8HVPNL1mdEBeA0t5e/B4purMAXBxlYa99evGEXDXJUTMr/iMKqNMxrZaZwD8XbIzNkTAgHuzP4DKQAEyO05KGySpalyV1gAC77CajHYq267Nn8E931pdXm1GQxRYj62auCWoVdX+DdrlYvbB9iWQrTSfonpRwktsxBgqCcZNvV3VcuIp1I3XXcs6WWRT2zUocM61D7cciQYICzRmQWOd9ibwYzEvK3oM2aDB/9FVQr1c3ld1rv0aR+Y7Jv1V0JJsoTYgCw1++xNBL6g3VISwTU3iU3aPLaSYLAQg0bk0x/MvIZOZNopeUSyztrJUdV7kyeuXl6amYX7YrfxQ0xPNDLJVZAg/eI4o0dC67x7KC6aZjj/qsZJekJ6Onxmg3O6KkzqEXWYJ8/MQddNQfVOEsr3jUOz8w+3wTGFVaXwQtcGG8YYbEf1e+b5xMpJ2fwCb7wFLncVSHWAUMd4tGtUOJKQjqfAUwNBlkbkcFFDEvQOG2S4w0G1NNG9bz74xRKqRVkNIMFzkmqLPbgWs5WEfq5FihF9ILM/PeDLkVbKt8SUUDgLzIzeCrJdmZFCdadLSCwwi0/3Q+DBB451k43OQuaWo3rZzEn5S0fp002apfLC0GtFj+EEfNSV8rOwlfVy0/SAWNclL4URdBpkvwow5orkT0RwCWSqj1JG8xUvqd5cQ09vDBvgnkBxK3x5JgCjqJSc+7zS+qjseMyOAAMNdKEcbExxHN2ZYKbGxxh68UBgWmp8VsNyQWzfEFVkkdO3TSFS0v9cL2XBcWBCjydsoBJ3v6hYSeWYT/xowGEZN4+hZxmxVfaVsM3D/oNRJgLUR53+PUb1hVRvwQB9GUajKSYfakIVWrxZGD2LhJe8iL+6Kgw6HnKlRIDdCQv0QlUgaH+bZ41UadtCL5KL2lLjBHfLWld7D89Fe2n6hmEwFOHxXZMHoTopBnhuq7eKuo/DuMHhdok6csPg9WsyCU3iIqXCfCh8qo667fkMnK8MJJDo6qlVDQgJjxSRM/gj6nO1u6k2vSu/DZJGRmkq1+ru/cneUoI5rv+vviUiRV1+ztY7KyNhncezIwhFAYgtqwF1RU5HnvTnFWJ6Aw8PHBkgzsmIxEiuChVZAQcTnmzMuO7sLYvGdII9rhk6ugS4rfUJ6CGLWuXl45zzmfK8mZHbsNV1uH6BbnfneEWxGfuFSzjc9onXPOIQUrtY+hG0A2nGnzcuny+/XZQFzMUBMQu3oC7xtjYA5oODa+OK0HUQISfhVU5VGygwmvGeySkF6qI1/E/xmT3HsxkKdrzH6DwWunM72yS5mcjJKGobGTj4IqPLtqGzLYBY7Qz++1/eab8R8O2W/D0JADpdP5OFI5/g7s4IefbFl1zmpkAR3citC3Iperm6HRawr1SulmbaYoTskDLHd11C4tyVowhVOWIIaxqyrFa2tnIRbI2ZmMdFyuLB1gcs/7bcD+bTqYdV+Cx/IwzKZ1ty97eyH63en9ysjx6QflYtA2gbvXzheSX2Hf56oyQEUyo0G652Bf80aZveDPRyMITfByRZ6dlxrjdJHyDYxqW19jOzlEDy9dIokJj5oggwQIe2S8u0THyze3DvemA1rHVRX3iQi7b4f3/NITA9to3wnDg3pUBwr/IzxBgmB4BCpiT9iCYCzfJU89EU3WmgUAOeDqUhWlqdkljbePye0PnDHCjVFb4c8V+UYz15QdKxABOCN0Un5P2+Rulxm0OYC1cnNtQw/AxSFymVpeKFnGK1sumnQBQh7sY3aXHh3GbC6h5zYDNUE0Nb+qSF9lzsrYNCP8LPJiJVtVbCPKYV3gjmjmCo/gQ4lgxaieEfUnGVoTERveBaWPwsGeu4YRhDSIOwnlB3rvCfuxPc3xuff8HWfORLUjK56UMlUkFKVAGBbhOUwwRB+j0BwVvUcBxQvfK7vEWDsrhewoJ9YIL4de/A+DrsFOoltg8UBgxSuUL5PzIqgDGPbDDNjKW1F0h6ewXElyvhyfhf8GWeM7kxUssvWZxbaVCJYc1/XVhN0ILgCAdRcAF+iJgQAfBOJpWG6vwMLktKVt/rMJ7iAQZMpGive8py5NiOb/jXsUel5kMtT3fsw5C8yn64fLgh9oATXofV/dh5hAomhoyNZfvYNxA0XFXIp0EAe/q6hpILhVQfxvhG8CTRwaYxWnJLTr75ZNj7o17HPQnmqH50xB3+2NgGVkIBRYNBp4MTNStQaMocddCyR+Hn7I7P5Jo3BgfLSpSxtjEI1/AQPY9OEdbEu+wburIkczLIazNuMUjfFpb2LpV8GgW8Uz+2YWuSbvVaWmH8VmQWS5tXogKMDwyHfCpb6oFGs53o4Yg4KPGGg0ZHp4qW8pMCNlF0UuMcwyMcz1MyQnoRG3cJEw4v0CJvaY+dKgplrUmZe4DTuvFlTWR71WKM9IhW43FZo+XgBP+eRiDBEgBQ3T4lkTjbsljI/qrCDM6BnEkq33BsYb23Bq+pm8s/3r3uJ+CKttN9fYEHZsNHMQgzrD7JC5oirLzkPhaJs5v4uhQzd5gte7vBi/Pit3kbynmmACilmiq8eU0W3jcrLiGwW9ccOdVw+iiYoIu3CfxryECigXV5M00jSTvGAUdsjLhw3q6b4ZJT/OnapESGobD/ZfrNEG/gpOAc6YYBE/IlzQEpqfHOmq3PoYEzNx5OcQUuP1tPAmJDaaFzi1TS93vH42j8W0okLjjULoT0gEvixA+I4k1NMRvaoJCwbPV1kCTSfxm7+X7uLOF2cjy4g1C7v+z1E1x6Cbx4tcRGDpvSGagjvrCr7kOxQ6yDoqLNbMUaGhOdgKlZwcXaAjO7O31G9a7sK9frLC4xtJ9c2J1A2ZpXZJSvhZgVKnBt+Cbbbpx8JXnEOhrCTkeBm6d9oAMl1ed4EjTcsv429aPvI6+Qwrskybd8blJq1rN26NJ39/O54/REbYuR0+Knej6ApwllSkKAZwzzKppkVL10Mh5HbNT4VWzir7QxXJhc7q+MkASPc+QpoK7cTgOnTmvQ+pnBKG+aj8f8zgfFyNdgafNsLIxGUe9HsYlW7rOtL8w5hpWvzKp2Jq/nnxsaFMnxS9MKcME5HINVDdhVX6xHENFp7BUSlYA0ucNZ1SdEcSURwHzN4ZDo+TZrPXSbshwNnDPJiUEGLMpMTXwQqVTcCOxE3+scrJlIyYX8aY+CqZ/7o22ww4MrfyhD6CodfnMxLgBvHcXgumCES6ot89jc5kCcy9mlf7N1lf4YZ4dmviIrZi4VK5yOn59juDW+DHi4zNkw00Os0oxIcS21luGUPSweGFNCoPGGsE6yTxcFlOdMIjSB7IUTGmQuBmhDudhwOohfGaExRm528mW8c6bZkRmq+FJ6tbAKBAGuxT9Ru9G2HcOAm8Nk7jnfT0aM9ZywBFhlCt3OtZjveQjdRVfJRRELg8o5SBRaLImlNvm/2WCvb+852hvxFOdV5KEwQ4pffzrAG3GbWcgdtevFY6nKkR+CGCms1nO671wCU44CelypC6qEV/dQQ/ZowfayE0jE2kROcQaUEsaicLksYnnCn4PI3/OE0Hbb8B0NR1LDtdCVzX2CKQCNuPZJc1jKkOF15dCbEf8uPnRC5lw6Atck6yjbvr4n2e6VWJRyjt+idogZvTeQJjx+NZUIq8VUVgHIW25b0le/9Glc7d9ltyMiJXdf8wnxhJePPKCK7nqB/4XFeYOVKbYtozM5YU0SRbPKWuvsXu3IC78qyXin6bVftgH/7yKahAd8hfb5u/Xbw6RbJtk7qNH1mVwDp0mSfEm1NcqUOwLbWNg23ZP7NScztdjyQuH0OyTDcKsx212fEW+NBU+gAHxrZ7Qkux+yPc4+1lBrNv2TZLmoIsKQvmo2VTegDdIvJWLKj1EFJyhjRR0mM8a0XQr1U+RIAdyJ06mj09YyUmrNgI6DeZC+6LBvzLGvZNYBskBbR2CSG+Mk6O/uqqAyf1u4ZKpai14l2bsxU3CuErts0qAnUvGtMi7LX5QgShdLs/IdxnW6+czpQ+7OlXNNWam+NfVPkmHIvvmKBmSaJ9eMkc64cfY9+td8Mel5PiQzw/waHeMcwp41BYwsEI/H1Ao5gw7soeEpQ/lKbs2HypdsklB5qw63EWZw2m9IrKqbyLJxExlTx3BuBAteOG256nLWb7lJm9vFf6QaNSTsHmWhDZ72J+CCbb/D2tLqL4l2eQfimQVKbiq2f5Z/xPCUd6tgZJmucIDhRFNoRgT/JnNNFqjI095ZUrvGzIxSKAIxH58Nh+oBQpTSYeE+mtEkx9kvtLV0cy+iQjFasJ3VN4gOpOxAXFCTlbJPyXqW5ytOylvUNcQrhQDHmX+owXvagFX2a52EDgbAFflCuq7KtomsQeyfKFERDRF7clOXoiuI8WQxV/0JZ5X/a3gsRU+b9tZ+10nZtLxYBNBNcOzCVomRG4FwMmL8Pq/SGlCMSkCHgsEXBlS2yXtbzuPhnPByBaBqzvc5adcGIVFQ6ePMvKzQClMk1FnfKdrpsoLftOZR19wQgvHImJnGyg6lwSOs+8bHGckFzl7ri+fh/DlE7PdzLiKhHW3pMx69ljBwsdCWGlS4BfsfJCAPwmWBcSaMKLQIitzACbaUjy1bP5L6wOH4FTjRhSOLFObi4C2uiaDgA0iBsw4bEpL/z7S0CoeK2q0KENTjkjKxSJys/3u9jC5Ttyg5TuLQ8ksX+pEfL5Iv5wGDUxXJLOdVWVjqTNFofXm6dNp0eE7Jxn5oH+zqeR2UUe7ahSQO5tGty/tk7wZscZmYz736jqTDfcHSpOAf/ftUeOXmUwM0gL+oyKpfsRB7S/m6+6hRpdb8JH+vBl8m9rqCuA1SFlIAiANy8SqBbQ4FAFKM3zEHqI9P9wkqVUtW1rA6xT03D6D3aTebm71Aa+fwHiLn+GT39MaA3yaS8awUrsBFLhUd/I6EVm/5hTJKSPkUCxo5b902L3ro8dYWWgF4Jx+kkOStXM5wuaI5IAv1rKfN61TDSQPftLCixgtGzeuRmE7Db0sXSHJxQ/47X5Cp2Z26PEJyhlb6XsBDkKaIkAy0cUOq7B7OPEs2d4jyjLQYbOZUDqMmEXrXKuRPz0cpp8B0KqJ0jD4GzAUIZ9pBWZdRsNXnShqqYoSa99hLUjvGBbJH8SQrJon9ifkslK+HiXpNitpntJ9d0k1PhTgaTKswOElL2ot6qqXMBEl+4Vkq0rm0wmObN76sJOjVBLP5SXK5L/ss+hM9e4nmh1DDE6E4wEOFl6+wN5fhlWOFSaAiiSJjHDEdydEqSFGrV54RmFDJwmU8LINURxwQ3kzt7mMeDIoKOWssh6tbn0R3nZF0h74vYvA6gGM4Kt7r62Fg5u68mdXFGxgNIRm7aHjzc7P/7r+dQmLj3hSvCSkCFLe+WYQFTfKazjXvXC/O1qbJlwuecV2hfwbZ2Z+A/ck3LsuqjQCNVDzuVNJGYEsDbJF4t/aZ6ePPakq1OjGbUvP/xm8sbooOEcDao2UQ284js33N9vmjALtYbwHx7SMv+nsKK3Hj4qsjMn6bU4w0GDR9AwZwzrbhbdJuIEwX0q1aVTYRhMIanNEN9IMPpCwuM/ZGC7xBfZ5XAuWiFOY8KCESNsGS7/Ad4YU3Gasf58xzYNo9w592vHBZkRUtVhRdFbDvlEOQEK+vm9W2u0cfe5z5ticZjtHmmRX5+Y2L6+Luyz1KdFsboaKc47DGAYgsqYk3uuQ9SsMLSEfU9fKtS2sY4MciEKjfNFF+gAfp268vRTJuyWtTTucaCMs4qCZ8z9b4LLKdE6uKyO945QgztMIS08IW+Gdx0W9u2Bo/TpJwIfn1Blrr12/NBxoLCOyAZ7VJ/rE33q3IacxIsro8QfwPoRzhMF04ULYJsX1qJLgjfGS27wag+T8BbUz75/3QSVnaAYiUFjtXHF+ZwRzOq064MyGCzB5aqNoc9XbxODjh1yJg8cOnndEaN3Gkne32Mk0WXDm9D9T2LLsckBVuG9LT7y/ruCoLEhbRiStBAc7VuQgXGMLiIkS3weCLpB39R3xQ37f58EN877+ehrhZtfmdwXEC154JN+Mti3DjyAY88hOJ68qW4MTl81QGBV/OHSOSCtolU1O5sNKD7u6oxUjlSfO2LCaMG/pbvUkORzJ9MbaI+YwRhg6OXvwDYqekLOfCAFUlBIeKIIwnCRY6+4dthps2h/rjQM+sEJtfFUof/vU7X0BUXNhoPE1QJKTAo5g9rrG2VtQJexyx2Ncru17Noj2dzkFLqnq7BvWFXkYJNOnwTdzqgqV94ZocC7P2gdl+Q8clI/Irq5b3KbcIip8vj5//e0FqJV8Wuonpn1RfjugawCXd2klNt14q86ADKAxLakCoJC4YJ2R6IRHLLYYz0MH4aC5V4/sz4gCqkUkcP5uPAu6pdifWP+baL5pZN+NzLn4D1tuDx0/gAcZdohJKsw8L6RiTeoxhaXzfDwoiIBVm64NXnIo+/XaWs3kA7QxBWEZbMVi6VXbEt9NUYuhKsQitq1ZWcy4spKs7VS9oUPNRAkzYpwqTn7DyoYjthQ/JJcich8re/f6klLtuRoXxyBhadFWpOxf/BxJq9lkVhEiiuX5zGHskjSppFBw/wVioSCSwEbOCkiH5Q+7ef75bybEattloXRLrNWRN/z7vdxiP3sGir+Jl17ynLEYjBLbqF++e+r/jEiqm2Zs4O1V88hNRVaB57q2D/U7+QdN3COu/yBs7uzRjIH6zW1pqlmQtc/fpbZsKj7nUK4pzdNyJ+BMpZDzM7Mz3cXI17Y7ntX4K1NJ5iV3P/HhnLJd1zorzkwy/p2ptEkKEJZxgWUHm53yTtyN8++Opbi53PsOWgd+4RdhLZNFW/jqisSkAYr9fmBnMRWOq65po2DwIlHq3giQ7AhB/mdG/ZMmdIj8LHrO+swW2cxcujLZkZ/UG2KrfgdG1PNJ8qwrc31iMUfuecv1UQa/MxNaxDu6k6b3k+LMjeg7vHmmD/vcxIM+P82+IuxMzeJKe2DJRAB7jBG7VGc0IKuRfEHy5y81ulR43lkqI9JyKtQ7TSSQp0u9OUkrnQokqdHbxoHC/onoutlgfzaFT7b3+y1hbnFockYiF8osOd75bwXShUxXzMeb1cRZP/f4fP1SFX4PHEDqLQgULUVMnCJgLUo+nZ1AudFZeDTJ4wr/BRabXfgL4tzs7zlO6BMb/jhFJamcT+/feL9CKH9eVN60MIIyHFMGK7YNSCTp4rPpXq+fXcIGn0x9uodT7bnc8r74QbyHlVdS5mPs7XGqToMTGEsxtCftxfCTTCdIAboG0SjvvMfh25JJSYsbMN0Ifc29rb/gYavoZp5reBk+6WrrGZHVPOl7G1UZ2h7VMp5WKAXQzC/rW3tVcTkhOBqyiRBj0SZsqe1sbcQ1xQOLA5emTV620Ee30/zR/4b4DLniXU3OleT/Gsy/FODwY+7NdVdxGJcW72781zZ4JC7XVveY10GXWl7enS5D6VmvRPdomzrV+1xwGBQ4ABKwvcN1MRt+xUiUG46dUEOIkkux7zlie4S4gPo2T28M5AxMmkO8YGTkAFN8O3nyFwVqTuzhbtjkOAuSO4eTF1UxUdo+veZOUk5pDik2NBdhYUhhkrSGMT34bgtj2TEk6wSC3T7WJBXmwW/mpxjfeKC1ad7npmDvz2J/soRzp7LSjBQkSqOA2rLSjOEoL2PRrXLFqkutM8K+rR7bOME57Wt85KPE3ht7w42+jO0W1Jj+Kk3K8ayGO8xf52CwpYoV48bv8aUllLyxOsYyRMNPfV0MCYky5jrnLGpNmUvTy+TV4F7WqRvebKA6LuaQAgCF1tQi++eoPubcUfdS8cagPMK5NTePwIcLG9O1RNZSHXM6vUIngdJJ2cchTxOXSsZ301siUOz198JleZVJax6Hccs1WHeEhYLbLfzahalv1NSXNTNROjz9bZq1zjSuemhGRMHdZNBBKoPCqV6FmuyGTOFXQPjX0nrhjrZt+QcEhBym/4stjhfjKkXtxYoywaoMvMlf6oIxVO49541arg6kiFeH7QORlMYiFd/qDBnOcGIkAm1Wn5B6xfDMhY/5c5OaushafRMUV2+jH9bqhXtmlK2uYByTK/8g2HqIsgl+qN5eApPPePjBqqRsj+h/iIgU9b/esXaW4NicZMRz5Uomgemnt2R4OhVX7LmdAWHUEx8l5vqiFt4nlR6wjcGGTYdiQncLhyAnxpbSoShj3QeDZAvYhT6i0ApJwatJUNnX8/2zZdUVCvvKhA9rLgZzCcmqAW53D0cbJXL3KuU866v0gyf+wXcaonR5oFqPif6qrHkgak6vplpXYndepukJNoaocw2f5tVchDe3lqtNY5lNeoGSyJrkEglQQQKt2TCOJ4BWZ8N/nUNx9+K3X1c/5v3OOqgLgSRwJmmw0oH5xraE+yw3K+eG5gn6aikzykP+ARb/i0Gn5uTWLMT5Zf/oQhBsTM37JiHe86VoC/bG0RpKAkcCBLzvJiqAHA7Ze/OW4tT3FrZXp0UsXk/5/limsLiTeoG+HqHzXqovxBf7Y9W2xYXJWY6ZjjTygEDjqj9N6vlGDFspQlBDO0DqJWbmgjUk08GVBc2uM3mrAWMvXHslhWswVMRzEQg7CaQ8slaO+ukIaKRKKCRFG6DylRy2F1P6QVo0Qp4bXK+dcStjg+6tDuSQpAA7bQPbuUZJpeoFT2GnI7VSPzyj/XmDxYODkRk5dpVdlAVADKkKDMHKptKJNETksgOFXSZQq7R2m8FFfJ8Grk4Ljr5Tb2s8iF8iQN0H0iTouctbkg44jcQZCZ7LPD1EjLupofQ/isgds2KyPhz79vRs+yc0KyeGI5EttT7ETnQEdheijubd3VfujdaXqOMMXg6KO1D5mhU5ZQoDBnX7AqOOj3JThTjn4kSFrYeyuYC7/39dT98aQdSEb2drO9uSYRR+DWF4ZVPiExtna0pQXTuwYxLGj7Hvi4EjMrpdZ3yYWHYGp0WVIgZHnw4fP8ZnLj1PHkuZPxKojlfNQYy/QJraUQW20V7UesWQyGpVgk622+eLcZ40XKo5Hro0j4nhAqgOgOfR6hI6Kq5HyDyVTTFmQiRPSg1cGBbEQ0HHT9bull2vr4c7TcreyZqQ0xpltSYmOnkZ943nr4bai51s2mSs82waFDWNhjxiDbccnjIRAe4pDBcpyFZWSM8Dr20GTfi7m1ga74WZzgaZ9jK13/kdm2D/e587c55wG8UEVWBRyw/IElTNaZ6ZFnzDbaaTYkND0NWpYmNaxc55iMYn4dOTLUtuKUFFr8B+Vx6uAKc4ikvY9ncR+8/hK7hrE0pCl/WAQCH19qGptm0bF4h3bzjDhrpv03+d4X+5nsbdbwJYYAy9IfXMZZR/ZoIZqVd2vR//Bu6hik1yk+O7snKRne42ZvWLD7vC54Ep/kxU+WOW3g8Q45OO0u0niWoQ7bExnDeLasrHfOj+1E0kaI150aRdMhBBQXIEMtygpYSj+q1Ppu15UhtdX8JbGuU1CWydvvK5H8k/litV8ZUuuSmhCeojWMdoJ5VaYT1N8hklM61CK3sRQV7KNY01rE1x7N3hQ5JRCFGXVdcxBhPomBGhwTGVDPG2lU/AqXHw1Uh1OwWRc7vsI7Jp3suLe2DdiP7qmd7GYc9PYYC9bFFqLqvJet35UBGStY9QSdplqS1+ysRpanuH0KkUaEMP0NDeUDzHOERwdsCezHTmVcPuAeSx3c1PSkjiA3eS11JS0AyXWKmblaJGn0D5I6i2Mih48XeKrS9cUPqDKvhEGuyP806s3Op+//ZfUh++2TcJar3LS5PYu187mtIVhBCZdSIQMyCXtAlVI5oNvYs+Ur/DoACYgwjKAEUZ4ii0I7UtWzTCP9tNYjyvqtQMHPODPI5a9lD/tvZZ4kvwOpf7n6SsMV7Zrj5ysxAyRIHdaSLqeIlh31k0MWRye7JnWsttZYd1Pq3PvlBb2M88EsFEU9/8ui0ZEZYC1Tz+1K452SK78yCV2NHebwcVomTacru32V551EBF/wNnICKksLO/Eqmm0NcHENZcRDA/ZjD2d0zeMhXhi/gwbeR59Hfx2auWm1T5uxVtbSrUkFN5n5Jtf4LkMjx6cKTmo3p1ea/D0kASCprwe8ak7s9cOk68Xd1Z5rjszFjw4vi46XF5JdEmb3NhCzS1Al4FZcpE6OyMgPAS8DKvKtbKEoMJi1M7b+FdnZjbAWEn0xWNLUSi7B9sL1eNxfgwT/NkqU4AUSLyD28o+A6XfYpbZyRTzMKNj/4KQ1h+XQXInqpoJCQQjyWiAZkDlhgMm9sdM07DcCDC9WyCHe9S0bQZexfGBzjwVNN1XRQiiEbxCBxqDmQuc1dCcInABNeCRcxhSOsuiQNjvty1E1bMpYJuRaLRd7JJ/6W3k8Zv+8kDmq2Yf8WXWKMIZyV4J73AuAU0vIAU6nsBZRDHKD+UTqYUOA4lv1tcde2yo3O9RbjS1MiPEllpb2VelpYhSzv0kgS9ml9QRYPXYOupH46J7so212GG2B+JbvhhKUOja9fe2+HC/NfqoPD2feml1OklB4QKXpXyYRHlVX0hbCJFarcvSlc9raWc9GY4/oToYiJ0uwUA4qgloX9DAFit7bzx/aqo6IcDVeAsIcx6gOWWXFVjVSr2IdFaoW8eqS9DuuMThgNhqcKoPmbTTPSdV4Qrbf74Mth/qZQvqVTTaMwcgXxrkObCMckOSgb2E6YKg86NZhtQ7XrLC2dyr32ez5OH4pHOZqzpH0yYsg8br16bUE13/GHpL2aRD1UKvCoD3RQpDQqsmyUi4GTJFVrDD6dhW1vStNZigANFDqzeRUwYdVLhzn4VKE+9GV/Hwga7lslnQkHpqx8Vr0iqrtJ08roy2V2+ubBvZSbcAnS2yk5hs8Emmbo0+r5eII7ThVKUtug0p8mrsY6orVNGTSTqakZRSL8tAz3Elf3V6w9tQq3eemBLfPAXtWtSg4/mj6K70F2NzGMGQcbbwz23kPv/G+dcZvTypoXzi6rJuMvoKcWBrZTJMv4/tlaWz580a4YUVwmTSzOXuSK0lQJrHv+W54D0CbiIBvMTX2CaiA9zS7qsJDoQ4BVkUJjEHoMikNMPRIZE34vJ7F4AoEbtUkP8kSVfSEoHrRHT8iDeIeqwa7+B93Jr2h0f5lT9Eeutzq4BIiQqPoXxkBj+etejiCh+ChiQJdG3S8dltIBLGLPWEtka9zfONNFW+kzFHWd57TcC8E+WnEgFcLOdKtHIVFnG5lO5wMlq2OCBOxuaaooeGcktBZURSRVr7FYp8JaZo1CP1szkXB/AkWKac/PGPdszP8jVs8vgJMZki3j0ruFlgbVNqhR8E7jH4GTsrdYfzWrDLzT6LmBxavz8KPN1qafJxqLS3C6722QDds3UX5n+Sb29WWoR6d7jldIASCEieBbeF9ShLt+JtR+YtPGvqDgmRVUXw6Wdh5CULuG9h3Dyvo7Sw6tKmxtPml5KA2hNVkf22Xrw3PscnrCfOIXK3fFyqLN1+1lsPiUIOdKXY/1s3dW7Vm6wsY+EoM5OiYO2hX2ozf1FICUrHNxMsw5T82ouGp5ax0wI4xpkuOK78/qHZZ1FGpPNUpRftZgZ+5To/Y9882MFHY+0eem10smntW55azQAXLvsu97u2v4pOvJMAWC3UStkTmXgTOluD1XEXz7nyt80pvri41RiAnPjkZtDoHN0ZW4bhizrLLndg5WEEbXdnCFLy5dMR7jOlU4aFN8Qf9aiPQSJpJTwZwtFzbqlSq6wA6tTStFSiICXR0nmqYZH89rtTMyCyQ35gm3SANbZaegP6xa9Sj7BDNMbWLO6z89MbLtix9ldcbwN/KmwwXK0SkYyZdDGSOy/x3vxyo/wfoJfEeqtt+iDtodkDevxkLA+dK6bWYwP7ovzoWiZHOfpmxDexX2/6csxZK+3rLoiR0ovXp9IeWS7a6tnpUH2b0NPv4GLFKMR2JNrzrj/KCFzNSXPH/FKDcuenkQUMBOXwGaWCRc4AoFq3yS4Ixc/F5CYh+/5vT6Wieb7ijF2mSOb+7pBBxrYKBYRE/rxp/Sjr1fwaA3PMMlLHonrW9+DNcwkDQA2T4yDPbMrYG5wSPDQ0oLW04vvnv+C5/UVIFYPseawoPI2IUg+0R+5A3AH06FKhVeiMrytRx55ZcwrP9DM7kv3m/rJXayK2AGRBpFHgx8qwddrWMGrf+mnhUGOghxo4+6LT/hculXKPQp0O6G8psJ9OpPChnA5RiqSmq1Iwm2tdTIJWnt2410OpkNGm3BFrSABxkGaFTNgyZ6HPoGnXutr6iB6o90NS6U17DSkrlUOLN/YZcuSSlxpPIq83wWlbSwoew4T4HFTU3NNiziikiD/Bw3kS8RjnLTAeVbzrB17Zbmf4Bv6F4iYsKSzag27WUhaJpxC513+92WLKA4gO1Wz6Clx3ULLZIaZz2Iep+Wvf0dR/xpbQmYr4+r+W1vx/uyPoo+ViVJc/Jm7iDFqXpWoQlVd3RpmZ+gdD7yLIrpVLeaUu/fK96DbYGL61ewbvXqmQquEP0RHxfzNb/sKTnMCJWssm/OZv1WqTyufmwqagXj1hH7vxSLAHtcTtktTyNl/t9aFHhfS7+TD95dJDyYFG13dNLfVikS8oIHHNUzkbKaMgY4/OxN/AOsOH5k62k2lIKFgcbv+41WchtZmPq6sXk1E3RPMfRWbPQhXC928D2KmjIwhu4D85e51kpcAZH+Ygp/WM8x+uNNP0UGNLJQxpsxN89JkwQELfhb0JtJEziW1a2QotQeggDojKoFnCrwHXnMCqlXZfuxDn3st6B+NRz2QYBz5zJKyhaNKagm5rU3bxSkGm6Xcl7dKyGESIf9lpRzWiJTL4IBeM/h30IJWqfZOGxZuu9lZzEtNytc6kyEJ2QL/NfxZzOf+1Q9q7LUnI5GeESaKNWfsFIT8SJKSPUTDnDjIIsy0DBbIibnjvkENcC1XLQF37NqMziBUF8YyL/X6SGt1IDKSotKgJjUKdnFImD7g8wITnF4GJ9bi/WJP4corGuuNbdSur953crRVe3zI/KP3IIxL9HBdGw/jWjJ6B4DuoN71jLcLOxnoB+4fZHyrXh4S/H9Wcdaxetst/42VT/UFmJcpDNNx43PIHfd23Jtp7NMSajD1nARhVcrYK5xn+96OBQcfibufBVU5M6iiGes+15FMZtIQvsymF/tAHeIVcPGnMoSKWtbxYXgsP3p86K4j/HX7D6oYYzkYRYy2s+JkqfT3yWiWmEI0xp1OOavmkZW3E4vPxiee7wCbfqj4e/YzEkuAUM17IBJSR0s2U3bIqWKChYnxlxi8PhMRDDA0k04qIFXjV/06tUdTHgEUhB+XRx533MTAtzws4sHalulU6jiGOuwdtZZ3uDHCmwaKdXIrWR9ZQWJ6ANiOCYx7m7B/hZOTeom9dRPfi9OeNW3YB7ymYY+XjvvnNBlKen04OLknONvlgqSJoLaVT+8UDE5x3gqXAvPVevNsATe9fDQebjmgHghTQubIVAfbKUSrtnSu8Aqba9rfs+yfeRUoDbRl9riIMhVq3tUjUB4YDREWXLc9lQti7sSxOrYcdoZ4DMyyp2W7buPd4Nt7dWFX0IQNICctrVd+YSy6NEERA+IbMiDoQHNOKooUQrv3frrfWZDyX5zzf2Kf8nwatjMceo65oZHdBNuQbi7N41QBQopRPMH9rfJevIUt9R2JuJnbKRYJcp4ChSv9/TNR1P4p2R8fuYk9utF8cdlu+AX3j8dU+2XB1IATWu01mXqRYc/SHnS81JrUHPffAzkfi2JWcTzCY5ldy5+yIn+cCKszLyHZCx2APeQfSM9Dw8rWB06BBLuP77OfFzWZABGIjxxPCyn2r2eQJjoIPJNvZtlgKfEpJ8Laiajtf6OQR4SZ9T0ePOiJCtYZiXSgPfnzR3AuJti0FSWigxejMri7pLiZnyS1Dubi9PjPZEWn+x4PZjsFoPO0ghmWPZECw8O+0NpQ75JO/0kL63kXYW5BYMHsQCIgDHOrWvR5/hmy3d5Lc1BM1h8GVv+4RrK++39egtzSFzN8IByXZRN4kU7r2/Xq99/Q7iCA51Vd4wO+zfYal+XxBst1eSMO4q9Ho8baKjgCmuhkG358+3+G1VJrbt/fzpDCjJ5KhLppM3CSkNNjbtF3EqE6/+ThzIYH4lb8kJvfsilClnijH3O0kcZ9Ipbztyk82T1DsvFXcwV5lubojFreW8YtBhqSowqT+MtzFaZiYrcTWmTEU7pLZf4KptKwJajV6jzmX1DPcg4qYKM+rIFGIzFQLgdmZB++0trTWe5i45w36WZteGCO4xa3SdU8C5erI0Va6WNcRppGhbCdn/YT8EJkdiOz8aS3bph1ouZZD/4dXlG/uuICDWbMaAbFf3DZT3dZf0jeHpycJ/XfbRUyq8cSXq1bNTI95NTiIalpzwM1pqn/8APs5I7C6I3BkOMF0jD8SQwSgv0Zfr5er8ZfwLvAHf9dBwGin+fBfEqE0X3CpEh5GIizerLGkZiNuTf8km49LPOloxSKvN0uaMPd2eKJ0j4ZF+LePbaogd2TqLJpRm+eWXEjjZnIPET49OtTA2IB8NCoyp4/TCDyIOKfdSi5WMtDOPlr1QVVqJjKgMlLg/qm4ZQg5dYX1MdbO6wXJaO154caBxV2zaltghLiSCEwgDllEM5fuZGO11FwPbcT27t7s4HdHRbLd1jpR4OIVYYZl0dZ+YkEAEfm16x1tRjJYUg3ZBF5o2/V2Pj7fmxgq5JQQYEDy/M0BYVD1vnmh5CgvueuNcxyUYTA24cbR7CSTaX9DJ9AN1+5P8CPHP0F3w5T1xTzQH/q78lkB6efgsPvMkmOUP158jXt3bVo5rgFtoxvUt7vHajfQA9ZgO33cVMQRGv+4nLs+JdJDBBHkQn4+i8Ub3gM6Zt+ANTxkR6dVJKy99OpoX1CME7eM981acWNPP+T4n2uyifoLZYzheaSOc0dH2+SQrxp1o+lKJULOaWa6aajFVTz48ztdBD1A0I4ljMzpI4J2MuWKN0tF8/HAoPbOO1n4RE2QOkhn27ivUQjZBKT9d71hZRNfC3OU0BpzuW0g+8ULfsVdsOjvWSqx4dyw5JEF5UF/kq9Dp7e8orbGl0VhgWN0NfDGfP0jpwkPlY+hkhJFDqgdFPpupMM/zq+GXAN7x2uJT37vcoL5daFMEA88hdelC5VQ+z9GjNDa5A3OalGMRDx1Dh90xDEnlZlBGljIg5W+BJoaJYIICm1JgDbpdVhnitpEerj7gm3RJ/ByC2MBgc6Qkq2zAzOAaR/GhyMxw7ez9QxzQsDDO2XRce00IrvsvZ8+TZJG7UDz/8cB1xWwQA2NBGT46uxV4oMTNuzdSC9PfGFpRPPH2IWBE8/s+I7TxpuuhfZuz2iwsjnVgkW08UTI2nxHbX5ilDvMJCkBPEBexXjewPgaz9G+6hcsqigIdo7xtan/8/tD7mRY7S6NOzGNz5tUP++nsAJUIHZE1k4c8gQ38NwCgHEvBs1yFhWJAbY49gCqFP7yeM5xLs+ZQga/OzCbVgTRd0m5DsW/JyQqsRfT8cF47FuE3k2lzG0baoIaUHqzm/+9Kgy/ULlyHKyiSafyaZZNFH0jDY0wKEq4tMtunjbzwd0TLIHXlTYJKyTvOwShBK9sme0pdXMXOf1L9PqKlRxnnsP0evcaoJkuXbt/bkkxbaoBuwhLJwv+vDUMqQZcrlK7N1shddhjAhIMFhFcRxm3k3KU5Oq/g0SAMQ2qwvLUXNEd4/aW2+PSSeEtR+kktDDhfzwuugSUFunOleEZ5RGhcGUwFZ5cv+6JELCJZQFAh8ffGBAcraUv2lXEkah1sB5DVDFqET116qm2HF3+7Ag14vvZ3eIM217nOgo+hEXo9qlubDihHtXNc2n3cGopz/ggjUIIySfjTKmRWCIRpi/MzMXiyvCrYrmqHy7w/NOO0faecGfKaMSm76E9L/xAjZW62KUgxpivR5QaKvJz0e796Wr9cyWlRXZRU888HJwM0oKnc811EMVldMF0QlOeqeVUm9xhJ5o96HrkhAtUKriDO3ucm7F1nyoYF5/MtGhcl3O6zOkKlCrskGdKBDIQQvqjA2uqJvrx8M5K8PQN9IA3Z7rLAZxtMBUD309ZVk69yIj7AQAwoZ6FJuf3af6QmYYRqHEA4VSPJ7hL/J22J2oZ/Tl9yA4P+c/ZSy4fSl3QyJgeHJIF2N4y7i7JMfrcypI3XGpSG+h0T5pr/+RO+If4efF+1T7OyMpWbz2aeMMIEdXDHNw72I7a8AWpQ7lCY1b5wFxQhOXKJmRSs6yFexxz6i3oYIoJufqUeOtrCCk/6pArPKnZsEKrMx32HavTKgCW+Ec+Sz9PA8QhmBU4dKFDRBIUgCwVOUYs2seKfBWx+HIzdW99iTscV5yS59aNnFdA0jrKCO4FmgxKldpKUpx62Sw3XPFwUBJhUxh/Stp9XfarHQAuMtl4Zj9M5fUgkeJYbut0g2TaLEJC1VTv9ibZwKVu0dYfK7L0tkKOd2eTLWJhwxRwDth0wZoSLtA7D7W6MFh2KbTrnLs++bk2+q7HgiZ7oizwNMhT5avwABKq3EofinYO9QHzEdFmXgBWBUaW5mlLxAMlqxi20yeEMw1qo3t60BtYdwm/Nlf03Z8hxO2PECd28Y8AOE+H11nIVKpol09TiYh5HzxmSI/EPiWAdpRFB7Bp4tZCASjcct+3vPy/vASP75JDPPI7E2Z/z1OFYZiN1BMOQcqDczyyNxPQEDUS7GebAGsGp+XgR5RbOsO23R36Oj3m8uL729j2GX4jbZr1HGaOBkycUHnRI+2W+f78JMwsLsuIycbU+3nlkAsbquDj+qAgacHWbdPIoCv3BRbulSOczc//tgH7ATzTYmCtUjlz2X2zJNUfQe6S74S6XC9y9aNVFOlBqp2+28A8XychFRJ6lsWfybDJCRFFXohN31AvFoSH5Mov51MubaloKogQ+HVgw7AWF0VDs+ZB7huOW4M4yby+s2iAC8wbOXsN0vw1bRg2C1eRzqxS5EOM97tOROWblIsXA5uoBl0m2d+93DKpsE9AndkqpcQviZssJCsc4v9eV7SIAl81hm393rP4fF1AuLZD8x15xePBbcBPSKy+23z/FCZdOjTpUdWfk92PPurXNj9k0Vsv6p9DdupLSsBLCK+U8a2/27z0983yNVTakD+/gEtkC8g79CHa0NLLfdrUL4DFlMeDrt8HZKEdwC6uCbNwmxraOSYYTFSvhFpgMzpsgnLFEiKdwlGgMZCerFpvNI8FdwQLM7M4r1ulnulIWlD4A/Uu2j0eJz2CNDXEV80XJDYoktuFXsm5pNoDg2gB1pa0pIF7Dwe2RKwEqMSrHTuouYkEk8xqgtywDUlYTT2qoMzrwLj+0tUobXIKf6MXvRoKmh93Z7T6ISwS+yBTpCAGK7POeKdd7LUAfVED4P2DYkMUbKPkli2swHqnDvCrnBWrXA9/L+PECPK+7oLkbs/woelBE4N2l78oJfPNOxI2acQmZQajOI1+yJGWZImSh/+bBp80MZaZnsg57SwTe/btBaU0urWGiizD6tBELggJw1UewvR4v1k+5jXXVkdnax79NGX55afs5S2zXpKUtK5mxm3Cs9sCNXARCJg+HKu1xHRyRG1qhVfLkZ899zT9Ua3m+PP8l+1KdQB36mr7/HDVBiCb6jZh5Ie4rB51yWUPtWrI7q1z8XNAazgV/aq3yFco8t81wNgetBRt6IWEyaHwcijShNMYCowUTYKcfJUO3hID4gumhfZ/qBQMgQ4C3oRKjfSc0SeueRt4yvB4KTkxHNGfc98Z7pIsIY5PmWslY/AToyHbycAJ/JwABq6MWDI6tCbBykyGFr+8H3Tdfpu4rsmbecnjvzsD4/csUJm9TNDDGXutznxzTkoxtRnG0t5eV2K044eKOUqeljluUbyoC/PtTa51wkraP7bZFyzRkJhjJh2J8ly58Zmzz37gM+sO5QLpsPHNjnHvtVZXXHFX6AJiS47x7V1smw/k+YIj22CYqmji9WTsAteOwafxQxqLSss0AlLnqeGt9j1IkOLiW12e9HCMgG1FhT03ANEhRci4O7M/Fv26TGoUtpF3US3gDSKdoDpoSRJaiTDHarT2rCdXLSiZinVdUD+IdNoaeX1vHsDlnii9rr7hD9ZOiv3HyVXNnZaB2eFITGat5Kui3kAbzAOxC0co+/r5YaUjThATFpxpz4QtS9Xzo778hoNrvK1lIPcjEP3GWHJj8Gj5t6G9e6fZ06nYkkjX39KoyAV3OeDKN2lcXPuUUdjpWmtGJapsCVV6MzOSvM4qqlcUgoHjRv/t2FU7/5gb7ppCZAv2gnPiWCI2Nrq64AMIDXN/5pgbEl2w2o1ebZyTepW6Mf6xwNaGJUcT+tR2PluHNiA4t4gSkaKuoixfV6ZX72I92xpk5sPdmnMQKP3qFgR2poW9yU8rwBrxKwnWeZh0vBJBItAsXoKf3Nuc776Eil4HdFzyUmt2kVud27qY681jAFZvPwewqceUDpNrKCzc61hgD24jvBf8FiRQvwdfCScXGTIHQPcOZ78fGNxJmiDkCWtPWVMWfFNl6FxTIV1MOi7DI7VRaBQRMS+5rV3IEcrBlbSaLZUbQuIp4INKBjioFPABm4RA8Qg6gRhomjrHBUZxReQbUq9/aHDsJ+cLy4W1qrcGTIHnOF4p/7D5PJiR83ATwl9byfYKoirNuHzAcf6Zo63HVPQs8mxXrsswElciRh/z0aLxky4I6zkm0AWt1FN1YOA4Q1nvNG0/w8cEO4OySfWnCLhYw2WrDGS9nluesdQK5hIi4hIf2O6UnQiC46CkqKsEBKbD1Dxx5Ffxl9Lx6gjqvwp115oXukwVTD1o2B5lzUd/3WaEaFOCYCYp9tkCL0LmPskU7U9SJidZ97UrV2RvPh+xO8+IPuGpzri40uxPpunkfq4yx2CyS8xNqvxY7pbZuRHM1gkelr/D/gSVEZuFqpKIUf06cjWU9aFyYX4zBk7IJMulZpoRYVcGttQjt3iLTWbjFqfCT1K8D3xNMs8z63cfQyDC1ZAXeMBLbgFhk8n+6As03PPjj6yc+HsOfP/sjPRKbjJCI5A4rZiX1hnCrEOWKNNp6/PzeIqP2hvJj2RxSwYaDE3Ud2AY2pVtcg4SeABaBXr47NWkKdj6Xa1r5d4LixaFsr6TAb3eBR/rLodrI+k4Xl+s1HHigQd3VH+rWj2YSCsihWElNr3vlVOT2WkT7XWJgKw99jw7luzb3Z1qIqBOLzTnCxPgvpwg7FF+9QSx7Lu3LFk6fNU5+IIxJHKAcCWGAjzq7HCkLcXaLkIrhgkRcgJDR04YWxYMpKGDAXIqVLOcDI9JaLm4gBPHMRSnc/ddfN4Z8d85MUDz2Ufx4Ut/YuS+q7dJvSGVQ35wRZX+7wjjTf0QsiQuGXma+8sR4QDJZxdVuz189pak5okEs7ussu332aaZ8z55aDZlp4u7GrojHJyW7qAo2oEF15HGVaYeiCzfYK9ZFXEOmOEumahoxrJQMovCZhG7cz6tMLbp6ldXi/Y1NwYlqRm/T4YftPqFdBawbnKGpMm1sMztzbgBppaF/lUjcBaGy4d9Ywikkz+UUuGOYwkv51iz/ZsWOQ4DBjW7DSUzeJri/CgXnykj5LovNlNUeoNgRnqdJpjL9rMrAJQIklW/Q2wqYzoFVZ7DEErCW1R18lNFbmvP1F7/y32+yJgDVzqthIaZxOAyTi8m2InU1j0E70Gc6GG2TPLGa/uG/ctcCGpBqRO1lLvsiW76VIw8KkZc8DRmQ+MLxO/wUz7LXT9Jn2aNbcySZeUc/bostsQKOVGIv28eipMryQySrzRzUtm2Ne6xRl3fhuN/R0QwYXXDHc/kZlEDjeiIYGjYBFsx9O+4wgW85Bqym93HWiwuV/jUUJAp1aO1TBKQwWxq8VXIK/b66+Rs/o6DRoFjtYctT6iv0CZDsv35nQxHk3vKpHzzYhFiKmD7zhE5cHGObOPdCo3buUpCru4uWDE8fcEZwZ49vz7FlXpvTSWPn/cOLMGeRZvSpAoUeSdnrLSXp+fpfkjm1JZlrvxEBWT5l41mvIuM9HK71WRXr26fXfM1orOryXDcW1Jyuk9cpjLrVEMbNiBL/VctBddf0yidwzjWigmG9WemWASwcoC13VMvZdTs5nGYsKXdanDucyhNSy7QyVSpiKS+01h/L/BxHYKdopqDTGtzjIoFnX5WUtOCdmFY2/Zw8eu2D2RcUt1MLnj5iXyRv8bqdGg8ZYl1sbAy2MmPkFYRaOmlX9jh/Fk2PSFzbSNYJX4Pn4P3UpwToMHw6cEQHe5pS0/v+lVu+Z1SvTizuBtt4NirRyXJiS++mCGYFagEh0qSi32Jov0g8fYcIs2wMlRCV46s+YEgamLaopo2XfVNvEhc2rJXwsQx7RoAkL0yiNWx6r5Zg9OyJkZQICnvYTubAZzmcJdYnSXnCYZ7MIqpbQyDOzNXzFf9OTlMSQ+spsqKG0gd6g0C8hGChL3wsA4gAlOLLKmjZf4N0JVuU+xNSx6z3OyKk96/kHn+GZqyJcJYWaK+epCOwREvI8JhvOATuxz2tCj4OGI3YiuQEtCsU79LWaK8yiM84gPy89j9hg6x7sg/Z36ec5i0YqcOOIf6m0t2lEZpegLPEDBYK3ENaEi9u+/8nBp6BJBey9ZY4xYfl2Qftg4XmBwY2FdHb1qoJ59lS6lAfpQveCMrCPWvLTL9wj9wMMeFhuKzpUiyW8Qm/X/41w+jPvve5RLzikBZA/+Ff7IOycalOW0d7z8DZnk8QEeuU/o0IvapuzrpfO2gpFHDlXztJQimkpULLWCGl/Q8hvD/IVqmopi1vCj3A1Z5LjgPm6Nij+C8jG2tTRBMz05UXQr6fbkZw2HFR8hXPg8+fliOaUV0emsyukHYCGpRwfVXr4qnmqBdGyBAZOJcUgLiGx+m/QFkFqQQe4Ebbz+V3Q3ZxezLjGjbW/wzvlrpAsI2TX7ZuH/3hmiWLegPcCbsgFDjgzxRZNj2ftjM3DkYEDMFWXqJZ+PCtF7c+54Hj+gA/Ukim3T4fnCztry+qTQ2C3FvZcD3tkkZOv7NiURcRDrNICmF5rC5Xu4iQfUYPLPY0jg9qDiDQ46eckF3shCwTiZDNtt30/dmqjV8/OpD3uqb8EntmTlpX1cLl3+X3/Xs5Ndwd/vWERJMuqhU5ftwe0U0c4ek9Erhtf+IAP9TYU7wjnARLwNuhAxrhuZGXwn9AtmdvNFT8wtSMS9Vbqy+FrSw0yPI1mAVWX4eMjTiRV53Sn+q5ILmhcvo8jx9xgjsXlicLLmBfiEe4Ps73uuUZ3/fZT4r9oUoTRdGX1d9G7MVvd0hjGiyNZgbhT7dz61k+pw4pHFvc3l90ZLOO+gmRL3zO5DMcJbWFLHbuUAoEiwYlxHqI03ZJFgdjRu0oTD3GEzLdSk/Rv0o63QlQ3uUmyrBiAbgIcAPjrxRB7GLxSUNMcCCClRwMFt3NcNA7BpjLn0AvV5x2eAHL/cVG5P5vbllgz3sCYgL0tsU7W/Mk4frPw5ZMJVNECftam3tqYotyzMoCSkLZcwT7VDDUBbn0Vw2XNWVcyy7aNxD1g0KUcAxCFWLEO/mtvRzOqPxoip61g1k1+eyZuE53tnT/iwflPO+uP2trtWgXOv5T3iaaAmg6wc3f4nFWl9p2H+0eUnfIAuwFF+kWD7YP8wY0oqaT/l/k0xe+rCcmsTyI77proDeeHP594mSnhL+pOtKQa0bcU7l3fm3ZjNWy1jIwMvJQUybFGcRSOSseYFG2CDGMYHRGgxZlRmqnMBF4w7LTPKdI348ZfE3pAFsSq2Mr9ezhQ6XqK8X4Cl7Ut/4+aUw4RXfjOHtGIO11BapgikCrO9A7oiYpJt4fFRLaP52LL7VQhQlqKMbX/2wKZd/syzeX06oM3ROYR4okLxwebUV74HkS1v58n+bhsgNsVS5bD8s8bBjLucsRc9lpHxdalq4Hs/PjezR693YEUV7aZTij4+qZQ4V1FFHKJDr47daxSzhlcaN/Vf2E2AXQNkoiZrrPv0tvLi+p7VqrJaB6chl4eFVuHs9j/VbT9U4wKt9WeQ6OvnERKi2t29ZuLPHtYc8el945eVGWW7eD9bxMRIbWMI7d9luV3KKnOlZTGFJQDA6CHMfLPBeP+uHwwetgS1he/NS3Zxw1NMKz7Z7AhYiiLaK2qNoLVMe7Ce49w9QtOHRJBUm/AsQCAsmza4P5DSOoOM6QexIoVCglkIdR3LhrfrVVbdS6nAGUfk6xnhv25vVN9PGXw7eCyzm8y8Z5QzSknUaOwoOqrOSxEHIAyPagUO7oDxjUXse3BqSN3NjM22cOz6IhSj6+ePjdLbqg5zA3S+lKP13oG0jsn0uO7L7qmfjBp8jT3NX/lp2ShW27uR2jCWfZigncvHNxMgN0RtTfQxqFqxYuWPvfg+ulLLHGCWeruWAV9sOiG57VZBSyaWkC06VDk4ETPPnGq5nJstOqQI+jO6ltXgcYtHFnv6wGajoGMB7U58N0kxq2bAG3M0KNmW4lrw8vlwr09BJZ5o1vGFsx/G/beIbioUdv1bPsBg8fNBDXsHj7OH57jSGCsc9K/Bb6HVSNBcYcunzNU84iw84ByGx/bKucXqhUqL7gFw/EGwIL32G28w3cg80cNZ4nvNd+BWnoDSZ75x+UfYsRJALw7iALUTDX1ZAQ29yGE135ySQBqP/OkcaZ6pki5seCz0F6mQNU6J5800T1x9Cr3vGgWRRKUyGRoymK6ynobrJKFUIrq0148LwGC7LUwwE1gCuLJohbsayjExvMLc60h3Fu15IlpocZ7HSTgjDlphIEeS6A+u2L26T9bH0fCnGIn5cx1ajpYcmL+hq3XJd5feLVOY4Wr5I/9VIWXm0aAZdbrx9oOVAB0SLloIkKhLP+8YJpHZz72RhvTcIKHgdjiyBBNrfWqwHlfivjTBfMWV2sAJfNmJmumNa7n4zWrxtgO+a//5jAlKH1JKtTAdciJyS2mSMk/IVsvmkqwVkExrd2HArfdoSQlv7TaXHiExBd28vNFj46BmLQhCQvUzi9eYiuYTiomGT1DimYWsnMaBFG0+cjZK1WjhaoLtjQImwe6ep1RRgI5bKXFuxMkwXzdzFU8ERcuWUhtpHVz0KDi8W0EoMEdZKIPlB0IL+RtLUoOFnW/ie/GYhXLZWs8OmEJXALoOg6jgeFQpmIIx1LL8zybF/HoWftN6Ivso7VSZbMuRK+dniSVikDsC5dx6L6aKmqY2ViKgEgtRaHrqrRp0PSn0KezoIsHGWBJBX1T+DUvGtd3/VxSOqY1RleQe1q958Ovd+LxmvmfBEfUoj768+fNbYoMPnQg4LqAvFmYJuQ47rgdZMyFNP1mU9EY3JWnp7muDJvFVSUupVrVL3BbVN+5ckL7iEHPtmddb9xKg+Cuo7T0MfPDEUiNZ/sudE3vLwCpUTchoDdR0u5Hyr9YSM9oThIyauxC1oVbH8bS1z+Tb0ooWlMxjHTIiTBHpANu4LxK2I75RFfUEOGJ7pVZt20SQDZRE1d0mCqrXKeTdWe3WV+LZBj5WlxMdjYUjUcl7F52VqgXTgbpnA01pdIV/RjVO3w60yyggh2YWjKep9pDHZpk2SqjzDc8fm51W2da7G8jBV3ZkhUHEmZuka383i+dlKtcJ7xrB9NX8uT9+JGwrJ3jnamJbjYaIFb0NG51OEG/gNedzPhsDVkUCd8xII1IfZrQnqyHgYeT0NadoEaGYKSVtdKSzWtIbThy9kB7VkrUnhKXb3/nMsvQuelDTYjwOCkzXgdgep6+DXRwDbTihmqBQGU8GLYAYXX7sXQtWmYboLrpS/jGoQH9/JvQXvbAR3Hkj5NQJvrbMIvtd0q7d0XInilgRWY3TNRZ1df8Jq4TGZV12QJNTssjZ/m3vu7YsWot7G2G+a38IUkf6EGOH8SZpET4V9lh+GCqHC/IFBNAUw3011CZhD75eDE9dFbZj1xLl61deMZ/ogd+9uQxJ5SLl2i52IRgNNwRhl7rKcbIqxg/fs8H22uf0TBJ0wwX7cmEI3n2AV6b4N2qatph9lVaf1mtXF/XZF/cun5VUyp0QWkHVvW+NltItOLLwQihxmwCWNAKkfIVYeWT8b93vaBTwGoySfd2EfZi9Q/d/0EmUPvH7m9S7EB+C6tpbwzofvjFh/70e+nkguIssh3PDD6s/7gvyumTp9d+mXkVgJAP57GyFE6oWRqGSdXEHWE/d8n/iC63q9QdiVLhVxeSOJFsBQPyFJVSxo78CZVcUhsw4d0yA3VP0JCebGjbBiXlLZBdLOLynca1CPciiUJANDpfACirEongNr4OJYMbLh3FCiZ/yqHihoveoB669eHn2WDtZlqwvv1XPluNgKpESbFsLjotBqP/A8dyCCYb3wjYTQhTFpURkbMe6gf0s0+nAFnjoqY5Q9DPQ1T2zkWMMYhbk1dMtSAqg0lUyPCwKcC1xwkJvjLRWUpeBeSBCGxWbVF93paDbPsDIYXSqNSlLJYfIqnEq61mdOOo18nCXVpUqmNQa2f+3yzGeDHf6Qb9joxCqFaD3jTPY+V6t8ZfCecuQ3JMtm+Jh8ydgYb3OZXbBU3zxFBDDF8jRLAg5/01eCjZj/lohmLi92ZaLmqjLDgQOcnErRWBmoBXYV60ijevR66acD/CAvHI4JgUZDxQfundUkJzImjQHoXC3e8JaZoJHzbKsh3uggXX5tEqrk5v0Jo10XLhzIjHOFIxos6hsXvlYD920O2BI7GN1WIsTZ6n3hWXjQf6P5eGOs1LhI0VfDOYMhw0pEFbt2IscQFtpeyVkBgVaMiWbNWVrVW2Zl1uJVx12oqJZMNHnchk35r5rY99csGnoJk2CPcuEOA01h9ynUvNQDL7idsOhGHCXisvvSMkw3ml05gZe1IMdv3ip8qGX3Bpt6V6xaXBgtYIzLlq8nt7uOF+vfYA/alhG3ZGuu3K6MHRvpcKLrbKzYQOB+ZkdPY/RGSVkgqi0zuz7nuV5XsFkSX9ZgSsY33+gGMnNLQl6Gm/CUXh7oBjG1WjBuPtoNcHEBjRg1cZSrZFzNj/uqXYQabJjE6wi+BPfmCyiCk/l+CGNjE3+Q8/W/7fKkrusb3kG0/RehuHtoqieaZL1iVYmRs1wkPhtkvGhoYUDhbm15Xl2OJe9Uj3+PBKjallnhp0CeeAy43a9xClYckysLh4vgqfifIbkE9/iQZjOI9ozU2UHzW8R/LDuYUJ+ldtVAfKq01Hrm3yA3gJaMUgUIS4+uA8+P0yVrRaweof5/jEM8UiCGPRRm/8WL5u5VFtuXxxiPNODE+jJaDrjp4iKF7Mq2D6y5DwYHVsiUDbc3HeiUgIIP/cqo9+uhj3c5l/uDE/2SiMeKGjUfdFQ7zFMitPtO5T0uUgut3fkzoE1pMXpWtClcvdwPVHqLxAKIRTB9XrNRfrLrhKFobdI8g4LH8Lf3zZ2iI4SMYMDq23sOSrnnLM6657iXq6X1ZSsD9VhK6NGYyq5u2OmQu5/QysCzi8cfS6x1kKE0E1pQAV+qFwfht0OJu92G2YfD41wzUNNnvE+AbvZUTXAwpp8XJjLCo5rlfeDDPQzULw9/HhkSTDaSI4JdAhnt0pKgyQwUJDEUP3YA4qG+EvBpP273i3yAK7QuVtx5TTA4tKiTFDqh0DwIKHe+o+3KrN9I+hit/2VsS2e0BCOqxBDBmvpMpTtrwG8MSo9unr5b4ioR7tHagsR5fcSFcWgvsJJdPQokooFqDxgLEE+I1E2BY3hpwIY2DhJafubZ3aXnhG2mrXvXsKkFfq7WWP5RmSe4zEdrdJaInc8IwTEhmWMZCI+2uGPumRQvwxqL/ja0D4Xvs77B/8Twn/ByCC47BT+RULlWFgPi5orb27v3uTSzE5/OjjRiU/UUCv2UdAGV0biH4DZztv4sfRyccNvzgf0wPpTuRXvWrPvS0pPC4/C8i42ROncsoMAvrOMjEkJ3TRmoOS/i2kvNFtvPyM+dmBLWhj7cFOypcnACZJjipYDv3jha9BMi2DIRdmOuFCedJ2+8aKc/OgGks5PfkAYKcCaU3fMNPZX/eIflDB/cy/zX0jcO8Ui6lRyVoKQ8QeDdEL9NLoUnXqPP8jJg+VE/nStdkOocvdeQivRs6VMhW4V2b/IoUgmEkCXsjIimAths8Yr+3r+yTBfmQdxFPj7Q0biVGfUxkDCRl3GT0+7kN/AfD11QWLcisPMNUTP444/hghzJs3ycsX6hWLwkaRF3o8GS/moppQE9XPQLjyDE4iLRKD+IoHuEvP+LDn8gj2vWP7DfLR0QKncgjergxiqmqq63LTRe6UCFUf3jSeMacvcITonqwrMn+NOjxgT+9gJqhqcYq40Pyq1uQY8CoO277uNeiZDKjzGlJQ/mWsSRpS74gZspAJ83gs6G0F/7pLNLo7cBHZYffXWGwEiwr2H1oKHabnTkiwyyaGxPfGiqXE9MF4F9i9YMAIcyd6YFVYX8Ste2Mi29I29lLtBOIhglNtD7E1DOc7fidNL0QU7bInWtmAZgve6pr16uH9qmnvwBKxe+oZWmYYMgSSUY5CnQwvPVSCHoDKU21aglI72qc47q29N7Orgx2ZMLmm1WHunx4gKf60eodSwgJUCdbIP9/1K2DwysivuaQ7P6CL21AGT+5OTbBhElhNBsQAcB6Y8y5iCKOPqwtybPvQMgUbBDQ4wF5gqL9rcf0m2bNHXYr3WXnP3lGf/8XzTWbkNjLFqLEpHAoPTZa9EBdn7H6OZLDOqLAlGYDYjxpv3QCGFiDcVILbNIYgr8uR0sB/fDWOK5mVnbxZUS5nt97bSFd6vnBw6bJFwyUMOeufGHWICH3ohSpdN7w+pk+yq6Llk6EcewB4XrOy9NVJa2kDx+lrzcqTrlY2gv1G/8sXbWE8RQ+BEfHBQ490JRcoP8MpO5dZYvekf8bBCNJbEKJqAmOrhm2iTBTi/1okbc5S0WPNaYYAenSIba5Sfxy3OEe42lO2R7U/IJl3NaZ8f/Mn+o5UNx23FRsa/xIAWIizP0GzKKjB0Dvx49b7jLzCxRSftubfLKgisbx6GG3YoUY7+NxIhDxPjLIYCsrj4vNvrpULhpmQdDZND88Oad8uL3q5lU4tbIhaxQ0dRQNxmy0IUKk+MMBxe1t99bwILkKZLqar+ucfe4gsH8e4YikUXn6aTg7tefcEmNEBI4IGfNfupwURCz4jgCCkZvr0I8hD0wJs4TPO0s2Vf3awbh7BkiO3FfqoHx8muYRlsd0S5gDyi74Oea2LAv1FA7473aJzDgg8u0VNF90ycS6sjLobGHdknQAI+GbP75WuUP7HncQt0isz2Fz4vnbAF5ow/DVx2mHl9X5CtxNFf/rh3T8OuTPz1j+vEw0jCKlx28kChnzdOg10ZqwiUznyaqBJ/X5Zv9XJSjsBopmlXfXVSwW2ucEMp5Sc/4pC8ob7GX54otwbFR0xayvNTIqf0/CkpfqxtnJfMmLGDiZtu8EQRNxmS+Yq96+c9h5TOVmGnWfPzLVWXiwkpDbq1SKkdIDLkReUUGm+F6mDCMF+aordKL87ot2hgnJnI5X7O8YEdl2sywASFIRzzOeqNcJbVUXarn28eeP1439Nfemfyn7Yuh8DoiE9zKYf4xHHVF9bbBpap8gOAzURPQn26bNgohH2+a9ixTAmQDXu6cgQBir+10N/5RD0EGFw6zKC0pMA7Cp03G+5ZOz46JZXtEV3IMhCfc+fAThdeshl3wYteU5F1pK3VeQql5HbPDyuRklxdr3y9RgG/G2Rwc8y6AQj2RXcn4jz5k4sjLR1MwkmlBtzQ/nvWHgKH/ZKCbl0b2/gwWR7WYA+U91cHr0qzpdz7iWlLv07RoXJY82EIYMgcJcW/I2KbkOEN7m6iWNX1jxwSDzoEBlZ1/s6r7XvEkB3ScDRHOKbJgnGtIvaVG5DV6ADpa7hsipiFSYTU2ThCm+me01dw2DPAQa6HxYdAMSnFJDNzznystDGlsBWuetT65V0AyResXS707F3X3NUP8VIOsFMOnOG1RNhH/b6jtCsT33fh3kerhf0NM7ZRMTiDcaZHRkiGREnB+S9nQprohHKVr6iL+J+KhcvUffqFKIQPdQZQ3shhNlivSuTpamI9uJqUoZtfygZvdqDloRjkFsp+NyvfDCYi7/47C8pK49PqrYLJhmnhq43rd3RMoxlOynYi2ngX2Ycb139FZEJu7AJ9XH9896Y1TLtzmQntyw37T9/URe5HVmnZMiwLRLpdOCg7vG39rL0upcvHeGb6ZQmbinTvoD5GbkNg3A/rOP4ooonxpUXJAdTJlGyKVmr4c8pQz8VvZy4Yk08C9mKLNngyWyqQI40UHEfFAqqH1u6vFxpvvHXnryGJbn0eDUjD1P7mJDlzvq+3mY82wNM5KAqk5Ed3YO/ba3ScP44ePm+yxzaFFLCBYQlVeCPIfKl5V9Es2QnLKMk7ZElXDiGpg62V3uhjykT+ctmZFRNdC1IPyqNFVtkdLEMgT9w9XlYnT6AkY7k9I8ldUAusRfV+0pK46K5APo+G80Xv9qzPd5P1Xf/UXBKiTbr9K+1pA2wLJLL83JiUiT0l2XOoaEWA7MkMEDEOHSSctfzNZ1yCLfOnMVBA/jX86VrGvMwYML1xzDy3/jfK68y0PDun49LddJpaVNM/157YWxGmF5aL57GRf7jKBFFJuWQTYGm5hUO22MiAWtzrrHrHujGR0cgQRnYD0bZqp0cjStiLuswJ4c8R+t8DBo/rK8GQUR4b3a4AA17sNC1WM/S0NDBKBKpW6aHCrZ+kvVkz7uifh3a9Wc67OZ5S//pm0Z5mHu65q34WSnRl51N6b/bpbu3+uoEdrzMk/vg1UV4rIW0ynhjXeQZ6yUPh7cWwcrCrQsGC6NMGQAd2eyTo2PBOIYXij5LwbD90j1b4HOZKFg0ZmLS1djiQTwJTa8VJ726zb6xAc+g+ZXgYSxaNQnQRKOeVbZlL58Yk53Naj41qV2nJYkY096sUkWbcIe9I/LB8/I6/Kn0Dj54Shr8Hshf0jsL3S4q/RDulomR8DYAGWSdqjRPS5pQgjyMPKDmkZ0LsEm+NxTZK18FqpnccBRjQDUtPccAZgNYlmlOJdm05VGTj0bgsCi3xP2kr0QwupBGXkXa86UW4k1UXqkwWhmGPArxDTINqqKtwvNudjUi2ZoiimQV/RzIv2d55Ua9WN4aLsB8GRdti4KUy/E9GTGG8L/UyaBWoVQrA7QP2vgd5wuRTparTku0lX7P0Rkm6l2SiaqucldpFPbifw4B3v+8RFFMye+brGdg4ibcVw06HCZtL6OT0oPV+niWqQwee379HLIDH2parshqsULH3TuoBqyBn5ukj/2ArcyCWY6s6m7nX9cDNzQhh2TlvqjUnUTOuwsCL7VWTBYLc6c6s1lvjCUkPDtbWudd8BtUJIXc1oPl/9kPudehjFUJxV8/d0O/gAtFjmulK82iPCLf59K6M+Cn1RgfD6AvCfHXlen2KPZH/qhoGGz+mn+yC8OezlplGXnb8BNzqqfQWDUoc5gYhSqYwEyHKN8WmNvBCG+DiF83e5u1eUQUPv5muqbR80T0R1u1Ae2pjZhGjyp43miNin2Ux1A9pnVhSQ1lZNXQ+cCQLhSOcJGB21IsLTV7+3bkqW3Ya5pMtNL9K4gH8dlTe8FDqq4IdVzoCNvEswr1iqxpJIGyekEkXIktym9w4RaFiTRVr62N48HhSi2/3z5Oaf6/nupiybMjYJQ5CiYBXieherwgsIknjTsXSzjoE7d4tnbsJj8yl/d6mEbZoLAhV2895BrtxmmZbQaS9k8h1PgdTjOGRbgJPnE8QaPKh5ZlCnqoGXoEACWAe88yZxVSO5oKv7argOLMFMevp0YeItVAt4IpIAI0byVy5KydnaGt5gToP5UHEVm/55iczXJz0+jnev5DAAvxDquVU57CmUjQSRmM6DJ4ZNZFP4ibit9la5z/iWSuRpxHt/dQV5k/nRBPqJ6f2qPSbhjdYJXdErwDyc2EsiG2JqG5YBhpTOHqVa5I7Yu9FztRoCm0Mf5iuk/BolqWwISsa95Jgs/LJKsIApvi0f4j1BLej45DV4TAKS2z4a3zN4a+Pacuf6YnnWL7VGCvVP5zKormFpRYtN67/TjA9eRWqFUozmNhoMuLrAQcWHK1x9qtmjmM6yQ0aLIxDVvAeyVvnX53LhthA/IB/RAPIABA4tKcfB8Kc0lSZJiDTi7/Mufv22xpOV7cFMR1tayBRc9JJMWjUQQQWOi37DTiWcGfcaP1chONFgpM6yxsNbL9fadQAuHdT7kgTbzhvJpNds2IF2pDLr9cS6uc5O6B/3Au4jabIbKF/pMz7HAcoFYxd0ndowdtS2Bo9z7uJ47pDpFMbaz6dDiue9bQSfftpPEL7fIl7kkhHQ+CgEZ3iDBOwDqdBjXfTRfxCd/yz4OX+g4wNntf6U20sT/dW/sWmtpk1YtvwOutUWrVIDFja03PfyNQeIBFImtFZBq6W8NrhuBdpPoFHriqCCO+Cv61MiAn+nOemvD3wtnQJigSM4j4CuucJ0w6FHHRNunI2cxlNDMLRgEfJm4TLxBengpH4zEsgGKa0xwM00n/iScRjbANr914vyd/CU5980EL5oesJR0PZX5IGq7WEOF356Y3XtfA/67lyuDCzFitAoLCmhmGwH6gXHEtqJ/RlBkod2+5w5ZUvDylBxOi01MQWQbdLUlxGwhgSvpC4xzW93GCIOnSrOx4KEy/Du3+7zf40XbipjjV8P3zvO6wCg2nMroR4p8ey2xzzQfUqYZ6rRtQKJpmlaI0jXfT58gRrL+R1B+qe+FaMtqBQ40yr59/NJ/Vfg6V+i8khYPf/d33Mp0uyVvidVVpFkhNgbR5EdBlhalV6pzgC6vb+8vxOa45jiSzkoaAhyINnOf09vUUkl+iHLPOH2IbTqXIo+5/2g/hYFKEKXFISlpmqBJUMKVGHzliuWvtggvk3RiiQithzmRe/1BRTH3D50L0mvw3uH0koutB5095Jue0abEZx5jAgE14FLgXJvUUr2hNwpZZDCFA/b7NoJMLyv6RjjQBX9s25iCqLaOwEJz1ZV9skgn1sA/6FnA0CeY1FeAAnHlkHXrW9gUZj00+NslHe4HvCFOC/lAXSdU86pXUF6t9ObAMUGW/0wUcoYdGPzQGslGQN/UVqzdizfqUKINHkJhbpwPwdoyeFBMpwr7BkuRv1d4H8G3A8C0Kvc+1KuzsAQBBWDEa+xJPWK8Qz31E8V/1BKg401H5z1bH/VvSLmMA/N+lUzw8iAj8TvXlSj8mNp+u5RmlWMvijN57S+m6iQQE3OLPyk5qac/u7sBYymFflkP+TSphf6VtiOXvQMTby+L6VJidMJT76JHVw7rMpK8BBP6XhsuFP4FkmVr0viqkRn1Hp3TdtgAngGLYkBGV49D+bvrpVfLAaB6YPQICO9+8oI5d/3kSNsAhrvQNpoKw+MLvlPpofVXTgdzYXAVXwJ7a+FyRmmOAyU0n6irF3r8YXMU9WeW5DX6um7fjEaJMH3CpbslTwtiaYOYOh58SK/xYoCWctouF1/q885GZs4XfhzlVc6Vt0r77U5g/58kfTnOoGsMjZ1U+NTRTivOKOzJQO8+U70IcS7ZWr4hTzLZ0xkUmm1vh9dXCDxfM4CXB9xgYcSud1wlJOdPMG7CfGlSExSBvT4YZIv/tL+7kE/BsP0N+gS3C7T8WS1wCpwMTngH8PvgWLGumctjOZIaoKbqd1QHEw2+MGAJ5dW0LCWp7g4kFZU6Ak1BHL+dxVKndKpm/1hb1iyoBlhl9+vrElvlaAMOxasyC8wTPeAtnvuUQGhESEEtcYwU6d0YocO9lLmLtD0WN2beCtxPD45tFE5nyHjfLoHAPyG+NuudiNYocd700h8/wXbcQ8HZNFLbtElrrofaweLcNUVLxZsvUMzZyqYy+hhITas+2mGplSjR8dXXxuQILrlC0zCjpcwuEkx6g9g+izybXNzZX9bMhpsTb9q/s8hD8bKi+LrsboPZcvsZlH3YA5Dt+A+1eZHUMqg7iSWPzMbdKfLg2TNdzwS1tYtZ6DtYukXnJ7XfDTrkz9P9gM/9hMvwerRhdqlERCOI0OmqqK3uldgM16cALRgpltXMkvSviyVitwgg+BF5g7wsibIXeyhsgIccu3Wdq8K0ADml20vWp2TNqaHGNey37y7voyupm/CrrLtKF8nym7cuV9XYbBMWGca/UNeccsmXnfEYcS1Vve0RA82hlDVnvK57oAbOKP5DUpAL3Opw5+RSpuUf2AlTCIqWGYOfUjQvHk8SNvwpDEfDiGfnpIYiG5MBP6NJeFCHrtsjBiZsYPDlcz+AsQMIP4X2JO+y71mUpMcWL/+e1MFSyRL3nU+XHbtKKTu4aQgu1UHEk6K9edQdrpAuxxnvLVFAIlrruRKkI2j9DUIHT1avvEpcNp4w6m/iv0NixcpvVkVamCtE2Q/SfYV5rcSKA+pQgVvuRZM+bhkrSQghH7oc9Uanq83cJMgAd61SAmR3n7+Dwdft6b3a4NdS0Hr8KMC9/Fmx1yZhvHsd1do39GNjw9nCHWBEFtBCMKdwFI9fiVBhQ/F9NYtK7e+qe+PskNIxNXQApDZogxegcfd49ZWk7Hgku0XxC41pHs7b90ccrfDJoGG3BoXgx6bla0stG7uRi0jxR5Y7EG0ZH336N4crepEX+0YimKpneNLBhjSpjYdtsosA6ajvIz+RQZ2c/fM3rucePBFw9d/9SObDcdk3bU7402eRIxEShe1EJ7GGd3EaFZXTGopZDEKZ59IQ6syJfBRsytjsmO+7+KS+CGFAgkIVY6HANaQkye9di8f1ILwswYAPRwqn+VQRP9BPDSoDuirHzw8JrsuSAJMW+0tEnOizPPGmKceHdld8qc8Gq2XRAKjwvMWmqGn2PTKh0wBD3iZlURm1bWcNfEgLfraRWYL0N52mjGuxEM8sBJ1rOeR/X802+5lKe20l04EWCPZEpea8dOSVbpl3tIeUR2UODKE/gn99iaxcKJWaH6YWqA1M/I3qghwSfUwyey5AlFx+zIw7AD0vwmZIYiBorE6RaqvSp6n4kg6sHrdSPzrlieyoYduKEuAGUs0yI/w8bZc89mB9YFMY4UroO1Pkpxo9+V9MOuZzlHl7xByCsULpmUgg4bC+n0mk08nn6RvqjyWOrUod42hQyTtVi//CJ0D5UiOuwVmccUJ4sCwTLim+oBMYtzIrHIZairXz/g9+OL9D58gYGi4jjahud0+PDaBjRx6lYAotIs3CamGvAtns0W4VgWKtPPa6XvDnfU1XiLQkxjaRDRglFUOXxf9/uyjb6FgvM1N4Ao8RVYPtctOFBRKu6CUtoeo5wCIhyL/G+NTBFjj6C+XZHsZ6s9flkGAAxyCX3PyoMVZPxdk1w2+OwjxcviGoZGll1CmYjrOkhw+UaaLPLXTbrzEVtNNij3e0ltcKFQ/m2dhEkVJC7y0vxZY6lEVkv7PhLkdf2itE3cTT2VNIRfWJgFnXd1dnbzhrAcy0ILUHHr+VhnGMB8IUV8R9VntTZ2bErd+VEdnvKXQljMDdywcVJAGeJnKh8zEZr05U29uHNx19/CdaBRcu4UnxIt8uAJiHXIUetrLSzwwNfe2UncY/I/h0GLS9oEqNazWsbb9RDJY48L963AQc6IuLyaaRrCeFrW3brqQPGI9GRBR7VfKpxIa2ROyz31l7RqQXXGxAdnFT2aQiqZ7IuiPtpsmiIsvmIpIdIANrM82nfjBW62A332TIcdvoEFLM/HF6IqLdTr+Ez62HaojXE/zt6ni7wH2zJE7ZSsRGMeu1PbGn2zfMREWE9uxhVgl9srmu2vuulQJk2NQYEqqxTLvAcWsQjxvjFf8xHj17cVSXCrItBhBz/aNURpfmlvhsGC/AnXkQtiwOcYxTqgHe6ZrwitZwcsFaikzLS9hHVjfTPuE3oKf6Xwv9YHlCzeAsnLm2bgb+H/FhNsXbFHTwXsC6bdCdpvFRZFyBCiXW4OqNVSsEF3njIuBcV8+3KNNtgYGRC2DG9SCQRn/ycYEQTVQzZmdFsTjGhbo/QWt31eFJbkAZn5BEvG5T3JA9iN60ONAuJrMj1vT7x7l6AJHtLv5SH/3+pMQYMCq75kpDombnqc/i4OTT4sZIfo1mbYqb9CoLh5n4pfki4QsMyn0ZRsWgdjH8BU+LU3hSxvNzcmK0MNAJJNqkYMHMfz1hIXB6EhOsouMsZkkhWmrfZ/oRJPCBMzfjvBkGvBxWdCg7atN0P5JUK6eAwosEV/B6AZUcfq3D9J0OARvHplJwCxPTnxFe35DkzKUcR52jbQIvLEIHmFszJMXghGo9lKBd4LJKbP9GJBI0ZxtytD9+py5fukqwGwyQ5dnAF9Y/EXy36+1kb5kP3liRAGIaF/O4E5i0S6PzubadWCBLn1dn3ND5XDbitFtZH17W7IHvr8UTWbkPxprDvbX9jVu2Jq1j39zPI4HP9TWrt+LpqUYTqbzPsW+UcX+OP7AmV+psqE/MRgWovyWSsexMbrBHU2xdd5ICoS+NkA6LYVVJQ8sfhzIkYrY9J1l+VlGZ3V7y70PVw/yEQIejqAf813l2B5lPsQWE/TMkB66O5y1VJKmjD5xEjJChVSQyt09BL1LDOuGhZPAc5amB2O0D77WuuKF3alqAf3VVwJWJZ0xlCcHojR59q8Wko9hD74IgYFED7/XS1bgkuhKr78KRpBFGNTyAuzHM4rGyDE96ZI8+rr+Iq+1Kk1dvlTKinRhjBRaCFycToDzL2L8Gv2gV0FOs1LB1yfFStsAxGP5G/o+qE7XO1/AleteQx+MWTu6pWWuq6FBWcp0SuhkRf+1vDWQ8YJqty4ThimeB7Fm6HXgeWqTOKnv7ui9/aOTCv6nULRH9DLP4kvEa1BtGbUSNTj3ngqtVkoGnw2kGYWH3+iC1qd+qwrxz9g9CoqD2HAF7obT+HUygSQlDzq8hYo6YW9z7H2hnwJIXAdPR7v30U1j2hD7z9ry7VxK3MPz1iMChInK3wsWEuXZS08CINK6wQTzYkUfLQM43ps8tV1m91+fA5NRRNz/XvJ/U1cx8xmFWaEcoNAwosavh981+6IQpcaGLd8EQLBMB4R3jfuOWi9JNgktV9UaYcz9NFvU8sQiTF7T671WpVx6YOt+dZj711QwRwLRo2AxWkMm17NLrBm3VZPqHQNHW0MemWzuptMD4pNOTeT6ROBcqqrwxPubjx6Mj82TS8lShzclXNeTkzqHnupO1FTGM5tRFS6QvSNvg1mOwG39Zl+zh32konuQyTfQChlsCrgIDn4moHI+0IpUWTeSFWBCSH4pjXg7xNW+9F2f+QvDLhTEQVMvaFErAWGWtzaCOkYQ6r7xs3lCA8ggsWiKqW4lloVepQaoddgKvgzkC62EatqzIU2SOLbuLBcyqwypqjOh15esr/gkcmUEjy22JZtxxwfNGFMjMblx82MImBM9XqGglnWIJm19z/C5qNRO5Zn+RDpjbvwGBFOFljvpKtjAbTi9HPBTlblF6ckysZDodldgH3PqTv8x2QFHj+EzCta+T83ln/NWSauSAnD3bgu0855RSAa94jbZwGrUW+AL4rFbqm054iAO51vzKN3mKC2e9X0Ml0IUi5o06hAZT+wwlodsAzmujTflJwlhnp+8PWQynDzBAWc7Kk31aPAXjIckiKCgnZgk8a+M0tJdpuEkC8jNIzJrThuBTzvLL0fjOQ4FXSAASWEu5bBwK51k410K7w7d9aBgmKTcqb7+KD9CPhHZxY0OMgmycJLSuQHxPEFJ1tbBQJkF3Jqyjp/AIu3gVJ/KlrFFbJa4SkaNjolC2U9MUQna7dY+YWIeei0pcyduG6SyCZIMtj8i4TryjsJa04Gp0PBZrSmlZPpjwVt0PLwxyAPNR+e4PQEHrYR9P6V/0Nh5yIjHEjmCOCBY6htdBVhB9f6iIzrK0YQ5AlP3VEUb0g8M/F3aNeSc/ocNgBSLEAYI/pMjUWqMPmw4bb2uUX5P2L3aNq1/F0xMXv1q7KJGDzS/C3Lv/YQsRt7bG0ss7GhlXOp2x7tCRFUFCQsKXheS8eaCqH2xQGrSKpQswLVMPMXGwdyvEOVyko7r87bhL6kvyi5P7GuW9IS7kyibyWA2u0T5BJrzyNeIoMI1HFr/LH4X9CT5LrUpDX8OFCWCLvCUNTbLGLKCrY458q52bB6L5CwoUxZkflqjNlD5kYxqR/fKKUoC1rE822IAtV+rEalR/qazmSpMFSJrdpNcusTOxrhXkpV3l9Ph7zb1m6r3VRK5cvBPybpx2ip0zq21BvEdziqDcwSTOdOfE9IN+2mnfM8XI2up/oXEJpkJYz3LmhocY0MOplNrNisxaIoAiPWCGeRKhEVc9Bf3yTp50Fmy8xEfgZ2o86pFihk4jNZPm761WDVgI2FEtFPp4RS0giutsmxqBANc9tfv1/+JcfTjiWkIbCrXGKEohIYdR3qFC+AZ9LoV/ODMrsRMVLeb/P7UQmAoezy3TN1VgbHn8O0E9IepCKQS1WlpxzPKR2DDwnjtiQ0+raf58l12GUQuh4E8TRcSJLplGx1BLvvjvkgDk3m/C9rVipHc0JGC6ipIyhTIrCfEdrX8I5jSD5Z1YWs99RzJk6lwxWrFA1e3qVoz1FsbcrrbpU9tE6VBJvuNVjVw5YvBjET9HzbvjkRhC0rX7ddIsKLgMeSbuMuBQqizjnL/AlSuMQjKNM65ufIGHxWqgT25AvAj2OkGCsTzzwGelJ1SKCHq7MAnBnqCHJ2Heqx+HhVxB2kfIF3oMteQ4WqrbUT7K0+3+NqpRvDEzXFkDZvSY3epkGvGPS4N/8XoMevvki4em/RxaxcVXhqHLjZbrEe88g467Si2xg2BHhtsfKi2IIjyaCBTXbXEFu181m/+gTbOII00icBY9iv9Bu7pIIW1/Ld/PU3lWRJFPsMcV6hZt1BRAv9ab4p+Er7JuSWcnQHpk1VHuIYjFYl0Cr6aHRR7IyKAefv0tYXPt7759WVmk5RuXFCRtr4iCBu9z0qu2TYrKjp/5YFIe0psfeYPPYGfS/k8kPM0yjugMnOR7ZpWVRTiGGeSF8S5mBQ9WkdfQLIw2sqAp2/TR5pMJfIOZ5grP2jvetv28pID/XSyX/VG+HLnb9iHHlM/F5WK3DcdRugzf8uY0h35MlyHKAzpswYJcOFGiODer+2CsMeAfRCIfByBr/UaLa1tqFv9g7cOjtOxALMnBsxjgvPgoB3nbrAXNY6nFQIoHLG0wrk5lWTT3zsH7MeoOV6DLA4F6g/S7pjYl9KuvXzIjYEg9OTJ09PdJm5vxy4eQVF3jsCnv+tl8yo3FsI3ZjHpkDJM/yaEs/39G57DOM4OCOnU4hdRr9WOCQpHkk6IBbEn/xdFDP+BTRCuf+GdOpbV9kkH2butlt/LwxQPm4VpAX0VPXJzMQ6fVQ+Rzqncu+2rwwGnJ0umrSXRWfQy3F8PaMxYQJEh+EMXSq//S0IO4rTlOMl5S03vfNzxl5LvHrs6OLjOhMjCwpYypRzOwBYMFZkeDCO8TpDG7PJIr/KQ3Yf2BcoYrzL9N4iRS2qbh7B1KrH9W20AwGE29JMGd+lS9IjY3q8fQZE7Q174AulQg2WiAVT/HraM9Gm/ygthUMuWALmgTqkDr3NFgHLAUr+gEaRxeVX1hDg12DOeHTScceIgRp4SMrxuNSNTgwQcK3DGUW3fHpocc5y3VVQDe0lcjen7BAVsxirjCB289EFEFYR6OdCNPgOdxwuPw/Hoi3jiPycHbsoHCHuiCXybI/RMLs7BlbuEtAskiddrzCTpPHCPNKW3HYoyT5uz8Jg1d+4ZxtcPrL78vbd5j290vfui0VP8AxMQBrHEeVlcZx0naW9yGvnnfGDqu8+3QjAmc/YLAkSMluKfx2X0bCetuc7AeRor5nPtBeI1m2TYa9JxNZ/M5jGiQvuN4lkV4izzIOqyBizvu677DOAl8DQi/iurPHbDN89zS6xuT8kkP8TsUwOCyczxZkNJVl8/QCDsjpxOABF7wtWcyKWmV9LWi/bT5w6e94moCsaKvuNi7bMDvG35RifRY1Jwq2g1gKApwqYeTBMRHdXFoGRkXN+nL1CkauUKpJQqFbCDXQdFfXOQnFy2Hyz5UZFzVDvHHkwgLf6ZwRryN/uIul90qdL+3GNVueU/+HGlvmJ9yO+5wGQ+6jCIqmCdYldla1PtdMB4bxUOgcHGo0l5yfJIGjtTf+FeqnmyJoQS7ub5zBuw4EUv3xWShbVBbwI/bH563XuyKiwlM91K7s+A7H2/27Gnzh1QYGpMo0HBW3KCsK5Q2Wr6pgKd3OfQsTwbu1ICKmY+sXIjh7U+cQIkatwNJUu74DM7YZKLew+LefNB9GVRuIAOzCcVSj9p82Tla8EoqCJcaqd2eJQTu54N90WEN+iIWeMl7Us7b1fxeEm0RRVs3yhC4sRjRO74H7uvxynpDhwXPg2IY+stzkCcQWvQavj5w8d3oK+j3ep7aXxvO2paS0IGM/R6rM/mBLYnjZXi0Z/IhAJ2JUQcjibS16Rs9SdLpvYCZwNYPvb40OpivL9yI1iEEzmtVTSET+n6cT3doaB663VEA/cPZW1OgpUtsRFcEK85IuyoSLXgE7oz0W39dEwVWr6VhHZewonh9IbmasM+ug9G4tUoTeBO5Lx7+LF8zbEf42aHWeleHrHesWg8r+zSKOl/DXMnQ8q/1pGzUkAnj4CCWgX3NHv/x3qElxjAeYrzWXBiPyLtjvzEtPiGbLHkxN49+LyuFbgdKcLlfsssv5NiBK0Cr8DtRgR/+dVoeNsIIRT4gbHEFHiUqQJYFFhiM/kl1lI+7VQHoJiR+78khGIPcC43+OZ3VrtuBmJ9+f+fiwoQsGTAB0GmqGDiT2mZGcyoaa8bn7F1TB4zyJiEzEYbqPIMqU2/AIR7uHOLRVALrNR3ekdFkG48CUR+8B9A0u75aWMG+T+A+V5SoiBTVUVAOkx2s16ykTUZEeQsEwz3T0k7t2uYvVgCxm29YBB2l7/9lCyAeZYx3DYknUvVPGMqUflviPeTwuTzNxLNI9NADQ70jUyPTtFtplSW+GjWHaFP4c/X+7e2qHqGmhMgGiurvoncsn8JW9M3GD/EUW8XGIKOzSB5rr4BAVpyxtQQg1bfDgcTcE3iLD1Phv4UdI+c12BFhdDo6GKL8u/z3tlxC7xCkFt3WRWtyziHCj+Sc6JYd9nDbu6cawvreEo9MaVfCCeKu9fd0KfGQYWnkCNnZ3d7omI/C41n3WqjZyGTZiUZbyE+/3/hDV10oCvWmnBAMz1OsDq8yNtwC2BbRIk6ZW7uoCDTuwU8ZB/H5sGWETDn6xNn5Drz7h/V+qsrvd22ZyUWIC+/J8vThLPj1usFq+lzn+JwtpcFhVIj54ZGekzNTVHJQ6RMJ1aIz8Z5zpWkFWfJKRmr+d2Uf9VU393y6xT4kAvN9aCPWKAPe8uUlWWB8V6TsWUVWtgU8hAW92b8CbkIAYsW3pg+ytJURI+rNJ3lqBa0Ma8dZLaYThZdXUjoiXXvPq9iAMB9B9r3vFuE3X79c+kFdJ1PCGLzlcJAs++aeGanSYmDFNk0VREfgPJDfN/rV6gUBY4cAV3xQ/l5dJmMpnbenggPaIM8cRUg1A3jz5q4jFrvMA0M5xV0ErXZgzYoHQfliwq9XUVn3fpulJ46fdfzF7e8qeExPj9R6nTIBgg+k//HMqtdzfJEJqB9N/m46zCx7CLk0zdYdkM4QdnSRs+mEq4YHSQ8lLvAgs4lywCNvORcM9Y4m531qTUiVxveuNVHIKyTOWvlKYZc2HUFNfKIC34BVFFng+1goMWAPkbAbXDFO8KbM1kV75G7pd833jaNxgQsxJClYUO516PPYDrYJcDGeHRTH0AjmW5N4d6UDe5udT0ctkNN89dIVcyTWyyrpW3N1tHnDpepw5Jh/gwx5ImSN+pg7XavmYKvhh4LCvjRu3J6R6OGy1NhgS1Vqtm/uCLL+i0aghilUfLBbszKSKBiXVrowpCR8sH7GrqGGOLwiKCshPBQHbWHiPxF0n0oj2GB9ydjADRjKfrVs/AdnHnvJ9tEgdcr2kdYT6zE1cGWHlk153jI1mEpE3gOm9hTttQaYsdv9piIwIDujsdsl0PibfmL1VvrfuW3NDcYXNxfAZRpKQUgYqHUECRGdaKuDrr5UkVS4I8wYOclTstQk1Dx/fqleIy0fZqSgGNfejBs+ikanpKoYvM7/ePtFYzdaOCuNNK0X8ssaTEfps5mB5IsdGxamJpbB9/+EVGbPSmpTEZFiamj2ofGA42VtoFp76qTpCuWhPwT8a7aVCMItGoo+AOcULhc5+8ymlRMpK8V6zqpy2Rczde5RorqClO9grXV8JgObZLdLs81K03Hr9+p09ToWtXJjobgqpkRef8j5WLpycREwxhjR4718d+4ZUnx83iadmL9ni38lM2id/GkGl0+E2yp+NSSnyGwWCWC/QCVzKa0prBLJD/Dat84UGZIViAZ/cutx0B2UHYpS8rUjXzayRTaTsH6DaJz2hKkZE5NrQ+b3K2e1QUyXbbUrIGMIkeleX6fA/s4svy5GsoddJ81EQGsT7HW8A9NzVH7btSab2xCUu4lZnvKr0g7skM7+1+B8cbz+Y6Qv9Vg/Yr5ECvKmdPNgFes3upPUE/lmegP6kK9/+GgUals4qZmhplsNU2TW5JLn0FG406+r4dY19mWJ6+kYCa4XlNF49NJ7QRfXadaeBnxjYAYKjXTbwMIVIrLn5GTN77taA+Vrl3TI/JiLKZ0wsEplHkMvxSAVZcLVjAS3KWX9XMmiqZPSmT3p0fEJUC9pJsNMy72x6Lhyk1sdejoe2WZSGNnlkZ+2MRK0LLbtv+8uZtEIcxJzfa9ahSETc+RrIaYqnWghNJI83LsTeUSZ4f2evGUdFfeWXvlE+PcTgnOzORYKdPUGMhUJ32funp8kHqxZSMopqYLKCjycm47LuVCCgKahhPpF+pQ9ms04T3g3+6nXZNzb6w43rJ87X8qs+kvzu/rJ4kwKyZ9XdFutUn7QyYS6s6FQEGvykPvoxAVcZIkQPi4Ut7O2iFaegGCeY3kCPBtV2DPtZeTLMPn8VZlDwwyts4ozr6LwAx8kfaI9h7mOB5xBymlGcvQK0XGYJJGWdbAEcfOvFbxs6QbwSJ90HTrAA3AFVp5TFivOtN/Lf+1rqT1rNn5Bv8upQ59w6B3QxIzLfcQ1UqimoMqHZh20OJafFg7dxVCHDOgKDXXIGG+5xueyq4D130asJcPN6Nz2gUpc49XzSOZnsCW3hj4TE4S+laKBCopLcKZRjlSk77w6MCWPCw0gqPTqysNrOmZncaizLazdHP7hWgrQcbfxE9FxPBjsuZ5RA9IejRFQx3rlmJ1PbNy0XWTJqk01JbV+Ua/MikFx6lIwk+fjaWD819cLAujAfgymDjPmO89vlZL5yY0VY6T5TPTZpbzDy8+pmTt86WV697kvlYQbbhg68G5etWx5PFdbHk3ye4VK1+GuFG8RPsh+Vtd+RMyWEa2SLZV2Bjb+YqTlY3Oyt40tiBEevIJhkrh3u1lpRrB6Jh4tJv6dqkty2khKPK76vPZyc/ygCW7gTc8RB8js/ZopQ3z4xHQIlFMODj320x1AdsgAJ9JmtYD0+uwACZ+dEx9ArtZeH+0WRCO0J8dBaxbQmZzMpb9dsUUlC19FEvmqG4xlIEwIs3VbJNMQxNximyna6TyHWK+onOjjY5EObNhP2DGpMIGWZMME9N//Xbm8+fHqefp8+b8FxDzeMtSvPhf6Ia13DnxQbwTf/iWvatC1wAi064jg/W76HvPcqNYkc0ZngNJJuWwybFEdxAppjfrya/S+10j3H5zwpbTKj7M0+JbX0p9LOZEo+VtFXKcOxtSBI8sg1TtJ/rVLcJ/EteW3yZ7wp8E1OnrTM60Dh2KaSKiA6uRPlPbEfRmdnylsptzNEISkvu1S4XUFEiF6AgLdDFLfOF5UN3Qgr/qmJnwPCPo1WttI9azZU+5CDyKBpaULMA7O71a0qS4q6gh7t8v3AvVoI4tqZ8CVZ/AFVh2IWjTHQ+SYRXss5QYlnnTtLQWTWIInlz2AMt9GLPamTzU236MtYFFadsEYrC0XrcZ6DXDNKXn0KdH8mn6C2jv+vXTCBANpCDvaJGDbtLjH/3FXzUzPQBGjCRg/0EzUkuBv53YTyS1R+JM5lhfZ4M54TprV4RsZchADZ+Ftr4+1wmGhZEVjySRO20wfd7eG0n8sugivCJgJyJB4QgTLrXNc9s5ZS/F1ztGGB46KqYjE+wou3NSza9XbAPPLTbSnDK+OHt/xtkQM1L86cy2FEd1Q93QtSx90TxWNgzRb2ICiEPIpPnKE4XwqDTMuDUY4kmrg4EPNXamrq2bAYfpv57HWtDk/0SxxHMgK5gxBHV0b1uepam7O89wRyQ9sbY7JvOONNkvJ+OFLvG5uP8WNXvThhSnzRRpTcRpucIcg98I0LdmM50iVyK/0FqbH9Pzwing8JZJoCg/KGr+raJspTSm4j/vsSe3ZM1bY/HZBFIdzMr1viM7UIhPzpQAGR8oCJmyG+d9/+KAan+FRXonK0etdL5jMPalQuwER9RS2FOOklqCE7mmwg+RpxRrWUT4KS1tGRYFqw885ed7JiFuWS+CBi5W2Xn0Gl2yHI361bFb/mHXTW1jAp0Bma4m8PJu1t1UNGkIw6KWSLNoxFzT2opQGZSu1MRuFFx7qdGVPudQVKe+j+xdb+SjKg9OAdV82GbjBe8Nk5huYWj12lQvsgiYdgDC0QVuSR23PnAe9jdox9LYgUB5heJgQMpxk3AHBHQmBtLJJsrJLD+UJPBMbnfAa7kUPjAMIKASRqqS6+JURxoMihYS5upjkLGOy0Ih4h0U4MWfUo0+4k8aEISs6XX8LpzFW3vZgmau/EgjpAzGoq3d09h4UJDHmqIItDFi0PgshB5qiMUF3hRzbrjXJDzErORAyf0NNiFLXNniMMwvNT71xQ6iBzVYU2+yPvhMvZMcRPIwv1cl2a6ep0wd1772bCDs8JPa3clYSAFg4kZ0zHrtEdhUiJgvxDYX7llxIKcbmgMeUPo3CRC5HyyoxEozfBoi1LF7K5ftBvU5qUivV8MnnjJWOUSeO2XTMWQMU2CJ0vnmz9TEfkbEyT/uKyKKUePh5ZGVGKCPwHIhUdzTdgplOWeYSuESK+mkz4DYtPLbX3JwAQRnqS/DADI2JxxbURgSn4VrqG3GNFQxR4axn29+L4ygMd5IDrHfPpJp5HYoxPbzp9GotkHYTnDpMRw0YFKstSGesLfQ7zO+vjgzm7kkFhhCGYKHYeZ3jOOJhsulx9cDdyktouZsvuUvTt8Z5XDXzd8KlI8hCrpEk1fT6CCV7BboMgPZ1uHOIgQ6S4BjRvF0UfVbKV9zOnmULdFs+C+laJMrNN2uO3uEvF2b6gycZ3/DSUhZapCrMHufQlgWKbZWoPyFamLwixjKclxBK63sSDeh1Idi9hWGVEtlIFrUXH3s7IoEoKSqx8zslQHxwzjfmSWAD6XNy8UumN8f0eFZNny2hYWRAdk9I7dhyHh3BJ3Zn3UCeL4p1RFsWgdzofhX6Q0CLxtLj0t7OR1bsxvgxrZ+h3A76PLvbit8ovNDTzIdZc1aCASqp55V5XeZ17mIaLjDBJzHaknYnKxhLFNbvdHKsZYfU18TR1511FpKZw4d5ctI4hKaSgflhH8UuHL/sqYuPPcKglM4SEHyVjfgKoE2LgDa4rVHvFkrKIaLJXH8vW5bU2lTOvKASU0o7EnDMFNCT2WV/ln8uiT+uN3JoFjf/8ubqOiV7ygfzMdAD/7RYjdvxroOgI1yXuNkfcBBcU3/T2PcSAGZawZH2jDRmDud0AMi2lufvCTNvYTYvIEs/qB0mCXnNMNb8sCL74YvEh5489cI0cfbaIOrOX1YRQm5vgb2BZrIiH7oKSxBSMmiqatW+TjFwfwc3dbz2xoEs4AvCSip65blinnTR2EXNBqMit9OgR3tD49TkVEUCVC/XY1misXLyk2k78EEqHaYL+rfJ1vcQEJ6eLwSLcb/+YWbi2GHlGE+q0cbKcqOT7jY8R+5jepSi4Lq/dIgy8ZtCvFMEMqxR4xBBYUNvMGnmZp3yLHvF6HedvldXa707eVpO5OyFyiP0AcDh57HAkg5cONviMSlJ8CiScxr6TCH9GaN/HfhayW3Q6b0rOonK287KvCJv7adUFaZdLeVa/4KlpPohn89D6LUTIwLFYXvzrKFV3/yEFu41ZB8SaSczuMwE+B7d5eE00xAFDBic0tvQ16zmfbsyi5sqYEciobdeEe9umlp2SHobpYus1bLai9mxgknGwtK5Y57PnyqQgozXyMFrMWDtMN9/0mnBEh5ZSiZvMf3B7WVJKNJBsAFJcJ0cdobsa9y0RrvqDqS8itf5+FKEhAvR3gw0LKt/X8Ao+Xi1Yf+MupsaAFJpO/b/92m5BV+w2jSzxXsPT0PCA7K+l8tPpsGUgfjecJYEelzgWAfRQ5V7bXBdi8hVM0FhDTCrTck22eer7VatvAU6WxiMKTLnefTl5KZRHog4yAiyUcXBF0eSLRPRQdGFnMrYjkhOoM33holPb3yIu12kQpXngJiXpK5ix81pm0oGYlrfSH1/k9YPfZE/2DtcyN4vSBRCuR2fQFF3sIxXA58qf7x4qQCkvPOVdGHzJHWsWh+Y63u5GCYvUIsSqrep/5StHVPGG75gi27M2/Xac/kz/IG0Uzo1m6aWMUCKmA1OXuxypUgBj9NiGWyCV6n5oQxRHQEB5B8NYcMZub/wzdRCIPyYsHEplpbxa78tV5p4p/pckoqc4U6HbevtE8R7MPyuaWXxfxl1i9Ljia7xJgHP6pCZE9cD19Qg3WvDsfoBgjKntxXVP3zWlT/6zShrsR7cBfFby1E+aoNIqrPwokirWzJN9e3Y/5ZplRW7Y+FJC5naJ7BpqA7Ft36XmyUd2JBft0T0iJozxnM5l38rjgHIYnX8in9mVvRY1U9NXQ/J/j2Rb1rG/cUBgAy2tmGkW1DJXHePrZjxCvbq8h/yIMUAYxZSFFs9B+7viwoH2BpL6dU/qXmoCAjCwhNI+D0FVVhuPrf7a96I9lt1F57tCMxv+N7oHtysTWBJgK3eHxRMiZibcRdjQw9BwT8FoL4Dx9+NPHhAhhh1KWAQsS3EyZMsI9Vu6d2GXtMrLYWYUr28kTvfHJOiB30FEiIRCu8MsI3f9nTYW7DWpcX6KZ/okdtJNnVYG34mugIRHpJI3dgiCAAOFFeVkJsLnW6U1ynce2e9KKCw4jJgtPBrlylLQFVZUWD2QlsHYWPBN3kBEYT8Lx6ALz5uzz9NM62lONQCSJRzXPmLr603Du/frp92iZlWLTxM7Cm+LpJKqZOebr569t7zvZIXVa80Vij31pPrSA2NqbaS3Usn89jOkojQGdXbpJ+TSC00DwHGXHZreM67XK/jZaUZZ+E3C4xGvgHcrla3aXdU+SWCX07hA+ZMO9psTwphpruAvay+hySogJHLWDrzplsGChv0PNHZ4nkI+PENsF7m9vjT2om51bifbkOy+OfXGx06TeaTnUfKzusEMpE9H8hrMfKzbq57MnzX6yAwBmnwcD2AwDKlQImEzUuS6hluG5e62jplXFw/aYo76+1rHw7IEePuQhELtSHiG/KGAoS25Av94KkNy2CVZgwoxPth/5pf8P1sd/BEn8R0Np0gMooZjFKeL1gvGnvY9qd1G8dPhS5bBl5ilhwXpXKoPQtkRyWIt+OroC3q53ptKL9hB0UWUTOktj4enCEED07oUENyT5BlSFD8Abk/7T/8Q/vcPhlHTUxif8Kv3GOQrowWKbD1uhgqgUiNwxj7JfOYLLLi7P6Um9+DznleIr1ue+H1XyNGtByyQEaY5HldWNIa3W4CyxyqNrXF3A+v82vwQF9hPQ8KZeJYwVqgAYYDD/Hk5KBbMvNbchjwhslcIcW/Tq1zpW6lNgNXG1H/eYbN3K/tV+HlFB+1xQvgJMZ+e+Ur64+AirK6bp+g99tvbuv3J0TX6Vfm55E5Tq1lFigMeVT4/fClqaL0vs5zkwsi46keQM3ygjQUXnrKWaR3Z5Knp/K03MKWoPgf3RBX5+pWlPThVzEHyZppbsUO0WeJhpKsbqPQoj/R0wjf6oP60Xof06RU8jpdbMJqfOhPcNwuvWh+EOR8MZw9bicDZSlSwCxF3OOYbxAeP8TixYG/Fx0RkYWg+67tVTeGcYSbcpmoTaSPEZXfsSEBBwGCyaQxVPcCn55JXk5uIKe8FqDi74Nt6kg1w6YEU3qNlyPKecQVFnfy+8Gtv83MZRgduVQY84pnwchOw08xvDLXuh903qsJBqQCBTkR6yT5vfjovCVYyG4XuRxZpxtrDZv47pBW+hDYiee46KPd6CkoQO79c8/bGnJDyJ8AGguPhI/CeJehtiUoLvoZ4LFIF6Hpbzcy1o1SrDt3BdmnaotwDkgPNFbxT9DeIk/GJgj2ni4M8kUjHd33fBCMee2vrwNKnx9A1K3QMqThOGz6wmyBh4KxWdiGnHGeddmvUxXj9s/bzgd8t5NJf/lnBXL4nqYNyMPrIkSalSw6PtUclIP9NNNWCHZ61MmO+ONS5LSGye8769cWcZwF8EFlPxv7Qx1t/nfqHqqgStdMjmwQ0L+kJr/BXySISQwvKpu2+8mNy13I1N9TQCnp6U8coV0R2YZ7IQSpUSCu58Y6qFimVUHkojzL+OcFLKuVdTlbfliaLmGqVqbi2nq2KeGtLB7XkMmmdjvWwEo4n23zoNWT252WgMnZcnxyymcFVeBaiUu5reysi5XdoSe1estGrE7KO/RhJrZTy4XgPWRMQDRbZWn4ge9m+h3pD+Hm+gsF9cUgmsEm62T6QvX+z/kdmft/F/p56zP0Kz1tCCjHP5ABT67lLqxcBkPaNcsptbTmEBJQe1FvqEm/e2WOCSzBkrMGGt/csvUJU8YWWuRxaVD0u2O8sST/7pIdhIXpBuAqiUB5giXBEI9CQX1T/JeHC1MjAaEtLNdLxC5e1XfTFH/8mMzYjr5eRO3pp6jddGibsarby9uWjykV66tvHx5LgQzKrVH5RjCdYepGrtzjMZn8tr6tUfDPLKoz9U4WFSwe2VtAM50BTejarU3M3czd1HohLbpCGd3YX+v8iEpRwiAbBlNr4REzLR51Jy3/xEW8q6PoLgOt2gmlXURWiJwn42k+1tSf+4HTFylcoH3VMpweOaDYp9Ybw1qgNIsT6fUZW4OGDwDpsAwsnKF5c684tWbi1448JQ03WtODt9fxJxSR6C8SebVO4zXgOAsuFC6w651FdeLG9WbEacpFt3A4+jgb4tGrwXhBRDC77TLwu6Th+uyG8Bw8P5rXnMWegqVikSOloi6OLLir4HeNy3+aMAnZXUCOiAQeBB5n1qa4jWl1nQZjYRb+xxu4nRyzB77ZrjyWt8DVrtjfu9gXL35AXlEX3aCuZSLDFkeGWGRDyXZqDct/Uo0TqsaI06j8o2Kn4z0dUKp/I07SSG9UUbMeT8bF5Rek4SybNM0ljRnfdz3rOtFB6zrMCAN5NDCgc3AmYDrbabqwUVv/DVwCbMC23DIjFYMUALbcSO1e7WvAw5p6I1SB/g4hIQsHEoVC64ybXiLcjK3FmQ0wwCL5S1GoZjqUZO2yBSsa9/5RRfvGol1m050pVpCpgCaSbU7GtP6UcodWLGbJnT1v+rF52csLhKmTLIkAonp1vUHznms0lAMxe64V9uTBJpy+/q2V5Ro+WNu0jiQjuWSyadoT4+A87QE3LBLucSHGVrtOD4SxkQOIAwa35qajPNa0O+RqKMPlqYgEtlSyemA2py7rSQkqLYEnsR0e8niGyQax+AGI1fBDT7vKZ0hPHl//yNnmWhLimtUkmfT7kjEz4zlyMV9lFzUgKRGwct5BvAmOn7ReCeGqlQLUlxvOp894LRXfyyoAlQGhSBqq8VbFdGWYbVqgzUcrYyCcuWpKmD4EQacuH7XKFIu8eS1vYWwSwWel2O2SKD1TFNrqqXtRy+OAI3/82RPIsfAXJrH5BcDmynlJwfTZd8SS6243T4kE4nNRzAPSdoJCNzTt2zHx9wd3WHCXwtaJ0gK7b0MA+xcF1iuAHhsS3GDRmW+QwOI1HUXG4CvEdcMblkJisE9B58O8EY/5NMUqa/fKlImpwvtX22rKgvi3l0KJlVeDanWqVUXqYI+HMrn2QAB+0novtpkGP+s2086istyek9G15DGCgQQlivGC4tb7sVVhtu0cEaLi0B/zgVAEu64Nr832QWVTU2nTeD39o+wOovOWC7ip60t7KZ74tZYR2ZGOhpGldiQkiwCpSTt+t1aSR/csBz7yxidMQAcCiBcv5/VwG8NKCl4HpSyltmySuDAqi9pc2+EDhyo+LE06q8vjhWbJEntkjJwM45rI58ziaTcq+HbEzozL85f1DpMwqxbhiwEZROgvlt1EtGHuDyvQJvQt9KXF7pFwVd19m9INTnKTnvsRIbF3wyV2v2ihBVg03mmfBLJzgP2jxbG1j1e0lI8/7a9N/gMwYxZWRS/IuS3PAywHgWe9bpZAZqjhD5vwQScU4TomLUoYkmnJd+IrfiAOdOt2SnZ+VdDx80d/9VupJ+d8VbMdVMGLgpJHude0x7W8dFNlnNXlavXgFU8zSTHJeG3FrKdBZ71kz/lZbimRBz+LpHZN6r5L86WqILbeAhPMsR6FZwVyOmvmtkVK/saA4ieBlOgo3Y91PpmfgWtdHFp/Onn5mikHOsjIDqKdbWT0KuiCvl0rdZhW8waEoE0INSaKBG7xQvb7c+N0IT9kkqICEI8ZcdVk9jaVUTnkXEeanUXumHbLO+rGUy9+6P4N+kes/btxtiRHgnQ/lgbtDaqU2+aGlNWwt28/lOJeByXjLrNlQ8dFBex26bmvbpTfTAUPpqAMt/b+OZp3m2v6f760xM+r76Eti9uEmeM+FZRY7XrkG8Z3kEtG/7DjmG2NoIdsscmscpnrHdWjao/pNKDdRNefLyKBl2rCcXlnhLmwmd/pQPMeIKWGVvMBRxkxwRX3wl67OC8zb2vqYAFj9/wTpl1miqqXI0Pr02c3kZlyRLJO3jjSz7jfK01uE2Llvo03tx6IS3hJaeYoj00I/rK31U1PDCX0o1n2CZdtNxACCAkkRfQ7B+bFEGqGsVxf4XEh0E9HRd0AFjTujoG8jNGof4Op4y1rOJTg2pD41wgRNQ/jhjraY7RujyXMwo2EExrsdQ3ZbLyonggC4B97knWq89ktvQ+VPGLmyRejq3LXIFNDcBASwPR3ySgRDuoIkZ8tl6SKb71j6N5njEzBLEo2v1csWGJwENhg+hfdIMdasPu/5uhP5/4mkghvGbE5jqBHr+YfyE4l+RR4aFeWtVIisg5fENPhbSVuWILF1YXb5+ux9fA1N9AWqla0FSRksUBFmvmAgoLD32IeGtB8La33xPjsYdJ3QwOC5HBHUeIL8GvYZvsMOw2XlgK7UkF5WYNNfY9ONoeREYHETL16hEjh1G7GHq0MyAeNFoaQljq05gyxiFZBO4DtLzjt8TH/HC+HfwHIvJolSAeat6JExuEh99dRHch4Omeb5wZ+qRXlxJuZJvlzX0qqlX62Qt6/73BCQJXKY3rtqCp7he7GIiWEbIZRB3azhtoNf/wy4wi22HVgcN/peUoCHXFmyLl0K161tsv/w3nDbM2sMaNxBBdS0MRtoABR5p1bdNdaO00K4QyuF2ir1CqbDLSYX62j6VpRoCHJeFATCEFT/dzyLz5qKyLzDbIhUhvJoTH1TnmsjeRxKLqmKgSFQHYMfqjL0r7h6TStzM3ciGRGzyprbU9bcjde9Z1hzxUtj2u5avNljwwaZNE4RPciJCw/hy+aCViTBSIlFPsMuoqFajl8d0fNho0FZPtaXwCt3o9DsvKn3BHrt+mEvhLE6V+DBkIm2U2DDEADQKJe+rBtcdhZf5Yj0tnlDdUagnRxTeHyuCuxaz03JA7MJzqEipPf0WR1uQmIUJ5KQ+dPI5kO93RpXdDQ6VnfR3hjMUqEc8JJC5BcFNFlzB9VKxRjqdolgzp6W+1cCotuljACHPHVWX88+tW+4ee3Vvvhe2JulcTRBL0qaEi7qqcSmoFsVKMKXEiZlV9kO83qEwsXs/tFFvo7qRzcRwQJxRhb1hn9R5+2QCu27NCgrs4UiSt/GsCI2TYvobur0ATITJy0bc7ja0T4E3dqJtYQT3s37rxE37byTLPcU6488CgM30rfm7eURM5EvMHoqmJ6bGsA3c+cPUp1bP/nrW+7IAI0XHv2QZ81bdvCfgHOZQuf7zkpS+Gnjh/GrTkuZ04W7Qqwx1j81QzH5w7MBvz8WqEm7v+kLcxpjx3QU8CuLvPaZF/3l4jwswFAm79zvqV+XGe8D+m8RK/uuEWrdEcynPGwYtuN8zWlSH9LnihslM7aJcRTUwqsXWgbVQJ8S44n6ioq6TN8kX19VnxAXrST9CbCEfHfkF6E+oDk1lEsrR3K72HvfC7hg3dHYb3NoFcF5pjhEma+TaQSPvrcVJ2Sby2pBvf+Pe+oohInfjZwTDnCqZyiwSdZ/HbQuRm/LK1BwZiIT7HLkAjjVfmOzyUq5bvruF1gHua4zOgywpBufxPUhYbbyoKRSlRyQq4yySBH8G0aXJFYzqhxXPotJtOw5bnsu4/S1YxgmIaxfY6OZDyw0JrhRr5c7TrF2mgC+NH8m0e8AFGx4PN8JeE0j9YfEo/hn/o2fzY3tgzHWoRz5wYvSAgzQTLui24lTikUOYwGq9NFrrgxGEvt1cQozwq6CChNDrABblV6PNd7fa5RD/O8s0lIeFSBBK8u0qm/W60c1vm2xkEAzBlE+Iudgy4DR1NSdFJ42DmOCGDaXMzBFIpl9ZkYvLkUFkTzshT7QYruMS+bvz18oOeMEQBWaalzUWtKg6SZwcra6MaAXvVNH1QzobpK8dy6pWH/M8WWfX0uay7i4pfuoaojKGY28qpO2B1Qtacso7TMQzmqqHxVBtr5w+QIOuR1iSMKiPguQC8oOh6JecckULRN1UAAmKplYoWK/mGP5SlVfcaZRWB5LArKSFpaT1Xd1eN6kPcuAG4ql+/yAOWzwpNcLJjgFv/AWiyrqfrvG2IjcfLY9DHwv5KfwtprpYQ7c9a8BStmRx7rmWyAFrOaRJPNEJzlmD8JwrvhDAF4A5AnwMXyiZ9SZ/VQNNxh1DSVrhw+ksadQ1zK/G09dYmty4yc00wa7W/NRM1X2ShXch63cWw5koGssJBQOqL5c3Xxa0JCicscUq1ISnjxcXpmENYsgPelWTWfkyy9dGcXazpOBIf6+3LoZbq9KtXXsNG+Za4kDCDGI1X9MoVqo+gHYau4jbEGwbVLBklugmyDDuNSnK0S3zq7nePL8bXa/2pzjbrFoao7dgg4iaRghPbyTwOSxZRKDaatouIRVJKKfjTo34HKxwnswdq5RCU8bOJ+BWM/XtGrc2VaXujQ0/vHg+J6IwawQbojZID4u3IFSAJLmIQkXUetcl6D8pP0E6y2RIK73Rlt/eEOqb2MUEiWV/OaEzLGb+wlImIuv4iaItewhAHLAc1HOFhr8U0fPgth0qSr6YJmJGA9/m0NYBttJV7YhNvE+WO1pCDfjYqh2QxlaUBBlnTHcAX+3Fh2QUm7UdTdQ4HWpD8Aj5I15oAXlFClwIslMTXH/AA1afM59BWFbhzdVyeM6O7QhBk1xLLWiAstR7MFL6le8WCLIwyQqwegaYAG2FDgscTJTHQKGvEtdXWFheVkTwpS7e/O9M9UQ11ZRgXdX5bSjeXL+jqFrzC62UEHUm9o1UbtrIoxRsqn8WAymdYOfiM2C/oxY4HFWHfvSSnvfA/h/2TfANPFr/D34M+UW0pv+T0JydzqGlyc0cwNkTH/5J5Vs0pDTxWa20Vi0qJl2gYK3UOPzF0XYUj76TNd0MrTqgs2NOf277BWryX93tWs4f2CEBZLvm3MtZT+CywJ/RQCZoDhRegFZvvAc5tGIqQs+OUi6lNPuRDX1hL+/q8jEIAp7AtbmT/8sI8I2zT5jOoK9ECfB1rS+KDddZCSppIY93tZsBYv+3mB6qX+tZdCZu3HyMB9qw2bxDExKQ+v7/eZ9kjkhJ56BzbDfmci+1BTupMtSC61KzsvKGXhbi1eEO1Ru+YlX5Kw3RWlsoPkBpwmfIcB+JUa5kJPFDkQWKaekFRfqir9aciycdkQnpn3ps1lhXqbqTBIOc7GmXWAmVhieK68juRH1tZNtBDwoYw3vvONblNFN1er/PV12Kihs0+ryfI35eVKkb3krKZ+N+uFpiTG5pneqUArhn6tkol/d1wVHXZLE6Rs3TxpkR5MKTbwfOxiJT+rEiDroAqjYfFIe9KQhi+xegJrBenDQVlT3k3xYOFVnE5OdPpIMB9p1ObaNZqWmwAWcc4jOIqTZhrYHlVMqzMScalxFJVt8rZoNdgsOZKQ6SbkUQcnnuLpgiGqHCuJUP9yU56xkZ+Mxwle+AP9w8dw+0uURjPZuluXAjLFVx0VAUba2Cx97VWnhURfLRJn5jn0mrgA1tsz8XoTe43TWd2hhMXZhhkeqp+rJ9KSnx5hhdIQYrCGZ3WgVq8ETNG7J7xPz2sY+HV34cewobi8QCLoWKhYmnzqTvx4tX6Fof6rq8QZACV35DOYfONUFVn186dvX3FEwNpL+9U1Ry537RpG4xT76A3Qc5vQIgsCFr2Vgr6fuTGL7v7MKbZQQH+EHmLamOrv98POvk9rzz5gwiCZPNvZfQAy47Txl5YFfxoR0OXNay//DhyOgBoplmdP6U/HhledkxzA+55/fIdpX3sXiUZYhUXF9+iphKKvKO93BmnEwjp0+5a/oaOmKZ9tk0ymVo/oLvRr7yOYJGl0+yp+5NT+ap/Bq2sBo6xEmzcGWMunfX+5OT2qZpH5a1qct3FPaXY+7gr1VJXVwVLBRuiKoJQDGsPVvL7jwRYMT7NjPpeiiHYFodLt+tbPJ8m3EXmIKJD9CI6W35Cd6mjPTbmFKJ2PaLH3osDFwwClF6fXAwb+1rM05tiWZ6hF2ApD0JQwnI6/S3p7nlt9K4EfcsDM48hCleQ88cyOlrqLgV0yTgJoXdAjjLgOxtb036yyvNUTUO2FLAULwDqVe8JUnMzhZJYhT16olNBrID1HWomU0eR+i/yVNcwj5O2bkA9Dum93ylH+ory3cVVouEH5dUmE3uifXYMs0QCgdLVpiLxYFmfvIJfnCEStDaSs+r75tCXxrRnUIEpZXQpSmX/f0szB/5zcD6Ju7z56dQ05iHm5mHR4zpXeDOXqmAMEjJb+UwgvjzENHEBdkkd671G6ww6Qfx4Iuyhs+grmPtdDf0OFWGgJAVNNiV4gtcEbtyYj9FPAVj6Kk2pT7vsAvlK93E9GbF/wJO3fEPQwLo9/KbfU/yULRQxQwIMqLo+Hiiz3Gao8wP7hLanBkEaAS9cqyI1KwQ4Rc+9rbu3xxLfMtRAhjjKrsKi66V2Qls4en67gRbNMdUD/d89MSCRZ8573EtiB887OKHDJ/X2VCyeDkrloUA9AKfZU8IfRJ8svEj2XyB5i7MZU7Ps7fU4bH9/KPu7j84mDIawZNu3VkYLyrpEbS1F2rmQIXryVlm4cjgVQuE2FbRbozsYGTxLeHo96whGUoB4eGvk2psoRf42s3o3omgO1GbI4Z4NMFjtbO4MpdESvzDLYEbOrFzq1A80wrlHLxNrrmRs4Bxj4VvlWo8OBfcoYU/RVcJifZn/n5vBsI6ODWzLKoY6keVikDG+7c6NS6OlsCC+c1/LlPAYWQi8jDsTllKrTqYmhBPxhwppnF6sFmhPl656v2ZcYGe66v8lH1ZAAZBZ8/w/fqD6ET4CsEJ+aPSFVtA5ils33ockJRUQbkDE9/yJlFTXeUQ+GltVNInbxcngURrCHts0pWRMO7iu/HASwdY9xMBzIgnrUhM9Rm1JbjzdMLQNE7IsfAtrJTeKZBFSyDeMhZRljm/dap58Gb1NruqVPA5H5bABQA1lGYvZ0gm/sF6cLEylKrkX3rJaSWInNW7XG6JdH9T2atnKMyYxZXUYInS2kPPMo3rsfpM4Tky2QsZpsTDy7bR2JralVPTxs8PZo6CHM4FZ+0YkHKNZQhLzQ1kKvyLBEJT/s1S3PM5mpsbjddV6VihCGTWIAlsp+Umenw7m1RH+83pNGKppHBChG0sWVC1CSEXy26TsriKAcW59XeU2U/IzjGPlZ1BBGfM/g6UNE5nMavCMBaEFg3geBW6uF9F2DGqsvR3mWBC/ElHG12tjvV4Mp8itphap2uTpTw/d24Q1k1G3CSwxs5b1bbVXgdiBe4+gIAx+eKXNtUfSdwOJu/Z6nPkHeso0rGo/fpx/eMKT/eFfZt74tvCktxV0x/16ehvT+jSYYNNVDvWPS1beZ+u7N84uhQ8x4sUYPc4YccHgeWWf5Bnk7riBdijPyr2ddgyO6kMXr6biHKOtyJDDNPtXXWYAnmNJltvm+LP76lyD/H34dtgJciZa+vaylGvZs++c69apJoZ8ixSq4kSkjlHA5O2p3Kv0oEK44bw9ef0Lwy8XRAVMuQrnxmWhn1wQ+segYkiJ1WMVqoYdiFA9wtrCTYBIVUy6FD9l3RQ8l9hSIp3UUFYbwqufQ/VqVhapVi70mtjmzzp7TtltS6/jlXauFG5PeMvYISX1NqHMgGUXvHFQHT76alzHfM79exI5JQP47fEG6FGyGKTtC3J0mJoJ8nm6tMIvhziwnea8QzgbyjEgTFqd3QU7aZMxEHc+NsGKTTGK//FPF3qk/iTtuxFbNHsrPY/Z/+LFhbSzo4TPN6EhQHWCpEg4NHgdIubwJuAeMYun4poT41St52Q8Ge8IBUSS8rsW5enPXgK9nCbAI3ZbchiK8orxnvBomAplt3PWJh1aBDUGiayer7U86TSN7oNPCE+bcK/JwfBgTromZc9V7f+Srnz4T9mspnXl2Rg3hqGujlexlYqefIxa/KMinm4erlkGGlQ2ny1KriDLHmM6S3eeM8wrZEIKuebWzkAwVL77OnuTpniwQVxUuBdOENZmbbMXiH2oYUlCcHKDn7MzKzhQ07i0Zp2iAYeq0H9ZJ2mxyHFjwwICYBGoRPLlpJu7Qx9T5hJIu9c863X4HV0ZZODZN397qn6Wkb0Ir1ZOsjT0iEEewCucgvP2k9EZi9QcIDSxBWuirF/VYyNYFTs4oHA5Bkb0SG8s+yE6vO13/BJkgu+FjdKduuxlzWDpopRRTbSFELjp1R92MPXJC16ZYmMczDmJYaqxYQGF78qlAQhCPcBiST70IE7a6UiqWIOwrnraY/H2gHUeSmQ1DCy3kwoTiFjuOE02czOrDQC4/Di0EQon3Ls7hWRdACRpcIQS5C3y9XkdG+dTEySdfEf7a0FwN/1TQN9112bJhurKOpnsC4ue0FIBo9FQOyV6Ax4smkGO/jx5cnAIIdXwfJcyKddE65UIJGq0wJajrC8l/BCdYwtPwpTWAO+Zra+cOJA1rQHqi0bHQGzEOJETAie5iv+yIFhB2RYOTU8XT7/yAmKjCYsEMJYMr8XKKD2jbBNKSkHs996bO3UH+sX/u6IybaFH0THrwDwUgMeJ9mMopAEIkA80usHIO3Bdudjz5N2vYB/k/ccJtpW+/R8b+zyah8ETT0S/buvTEA/ianLSD2htMwJX13/C0E//7DMno9NsIjKXmhEHEPPquk0DR/yrX926X23fndYFd5fzyEN5BrIOOzcU31ULE0s4gzqp/DysuT9ZSwo6SZXrUM2zzpKF9CMuvP+dQTn8SabGSSyEnRDcc0fxsXiuOOUwN8uRzDkmdHBny//6VckdjVIfKhwZSLw18PcyiVv/5WYrFA8m+snhuzo0LA9P1wL63YGBdMvoAsqTUZwC76rQEUnbIZp6onD+TCHK9Lps3V/i7RHlyRSaO91bmqTgGdOF12pxpY46uYU2aMaRg/PHk8CkRkCSk7pyQmUJK1Lf4ldSQMpGBwGXHUQji1kQGVC6N/BkRNdghOKDXbXEs69HUeEGS13X+YyfrPUkHw2dpQDgKnRwo5cnaH5tDyKvke2eNrIIFVb/QV8A8vPt6K9oI2V/VPsCi89ujx9MRXchR3fFx5bwasXP+IWJhCERV08wa3LhU4Sd0EKdTI9v0JUoumGmwEIzi/gtCBI3BAUEo19UdRLSNQTJaEZe/+NLPaXxNL4xITdilD3VBVjdUjs5icG6rPkWIlhpmZ+QqlJZ9+Q1PIvXwPdQkVXY10LVAjHimZ1A3QQzRlyuHzgD0FYVj/cQhYKZzniEyLIeMOVG5vLz7HHIzc455FA4bd41dG0+JQygdBkU0FWFzGgFAJz9syuy/1jIqf2Cve/5HaT9BGfPtc2Dxnr5+mA1hDMKMx/bZlq3mX1uzqY4DA69AGqT8Qj+YHmGA1aaEvGsCOd1aNx73SfvTAAirLcu0MCaCTHZNRQ7aFkIUwUxfBh7FDyPMG2spucCprzJT3xOQ8WKaWd40b0pIWL0XTgkh6hpjUyXJgH9iQtfcBQoJgtyL9Xg4XT7ANW0JGqesJaRd+ZxjzZtIS8P1cx2mS48F3lo9TbGKeXv3b6Mho/wsfQPhaYOyH+SBLR3N6jqcZx/5bEqiKo9bND9IqXsH+cxPsHw5QncCvdBCGUQqAOf5N+p7/hYQLPFXnRT+UGbbF1g4y+1vlaPu7VYPtKvY1CF6IYsgoUdAPSIJfHYpaEZwxKrXonYvq+Tt9SukpCaLkZ39dwgMciAkzYs9kMw48d93oDa3lK1aTU/ae3u5ZpMB6Es24/DAabGzcRLCu9KE61PpQ8Fgh9go0f6XWhcDSXiRhibHOxmo3rWAlYnqErfzIFM4dzneWkg0Li0hTDiKE2Z1HEbmRML6y31JIWi5cSj6c8hFfW2gQJzlLUUQlWcDoUGryd/XFHg1HPuZt7oGfTANrvzqHzO+Djll8aKCHMXPkSwp6iLjGV0k8gbLXe2hX6UdT6MpcrA8PsmQcbLFrINmcPcZ2jjR+0PVBlsB7U9AbGm5rnk6wMlR3na1iZqWKyHR18xetU0PaS9v25NjDfmSWhZW0NU9A5AJu2mg1NbXGE6notSqIF6MvCNKEVOGJGP3osKJZDYKSdMkGPuBxnu29IFxCjUAqdfARU4Kb52NW3vW8KD5bl8c736XAB3deeZDPTAWryAC+d0HCKpRTfq+My4B/PA3ALMqdwbQvydC4H81/rUILAD4qu4uXtP7m32nB7EmyfC32QGZM+Rqs293Jv9Cac4zq6hDxu0y5b+qcRV9/dmzCHFmJVA3bRh1gHCJBpPU1UrStU6gMRsBQZdhgQ51Q0wC/ircrfWq4UIrZcJJHh+VC8qavRdrj2PLdBn6bdOLI4O6EVpvJ4xgU7kGpWWit+lJgF/frTuqu1AqLO8u858yLBRKnpaASSJDiPzeL2ZIf1C6BoWQSNDc9jFE3f2DnuGhOR/+q/7KoSh5Ddw1MzYXUyNYvAYrIlWXosdXeretsQ+sFCFsKq/RxFWGUVghBQwyAPmlq+JCGMcnD7SZOjSZOtiY9bSolyNd3Z2gl5ooQMoNmrIaIsgifksLcZ8tqgnCR/eKmGzBtuAt6Ft4tEBg8RA+A8WRRTDGa78tQT8JSUpigkNouXcjYBUDmaaopkfkBPZzDO2oTrnldJ0kQQri0+gNjtbka8MPsiY+V3CvcF+Twm3NhbxVhqUmQ6n9MEsyPhfBqTOKex598agaKY0hMXX/yoenIjiI92IDw4jRK8Xfvdr7I8IGlbqo69VFCnyNTd1hesK0DrPBduLk8WqHaf+UsWx+f98SuMbFK36lAdY0mk35WX6JS7pctlwReJkdji7SmZlzv2RTH76LeobzdONL6yA8GgrX4WjESA/tPgoZ6GSScL+OOIeKRaURFz4NHYpzzgOdbST0wxCknNN01YQOVg4uJ9DJQ2uBvsbOzqRWyAemHlAgtP2QrraATy/HHdC4dIEoKNxlWeQEQvRMFiQ7khZFykI1QjTlhpRU1Tts33fWXGrZp8/VBShhxCHwmCPxoSSWG3s4JQtVWygdnSMPZEb1K+78ZndKQW1uqyEnDRCliPo52Tx+Mf5LyotD8sQ6+yhqv3PRKMQT4nWztVb5zENJcoHF24SSydW1MtcUdSFpeBIuPfH0mLbV1awOaWYo/fv25LqGuz0v2t4CQoi/n9rStaaKSRwCVrxPM3pJ2NHKXF0CF2CDjvI19WTrZcpIDRqV97Z55eCl5ikkpT9mspIDA814U+rIXXZQnmTHOIsnZI0ufOJQ1p2+g+WvjmwWIDTuC3qj4Nhb8bCNISb5xn001L2dwvjx7PQ2Q/pr3FvaP2CRUDuLmepfndqCt/tSfHNQO1HXjrdEF4VDzk5x/EprPxO6zOhQ/OKGp1Eg4V+PePAWoTlLgyoGZGyD+HPugb8/WbnaKRxHT+I2WwjyS8QiLNQw33bLvrg8Z6xVfOV8AO1mTMTOvaDka3aNwAP4628i98Mf9YHGInJm84IuztWs9vmgjMg7gKs7xw2kH7CLVSsrPV02nHLhOTWYHHGsntAUeQjmEdAh7eHH3BCmfVYYcdQZ1Lo4eDTiuOXsHZREUpf2mUSjQFx07RdHzL3qLIWl0f8LxF7nDlTb3qypeNwep5PbZiAYEmeRAD9MdxTZBqe50XCV9uCJ6q0Su1QExE89jMo0XK0sMxF8DMGINRr++ymkRwaDLzklxOCuNG7pKZa9NtGHs+3ffUQTx5hZjtB/BR6CEFasDBXMaGg5voJr26FIRJIQ/gefk1KLA4MEN7uzlswJqweOqMzjioYyhnyfKcCnjuBityDDjawpSsxW9sK+b6iZjE6NJOJC3TVE5zQpH+Srsk75LlSS605OGaTssABxRahD+5hKIlCPBbC12dThi/gKyyN6LAeWjtu20M8dpRnzulUA3XDKDUzSYsFnwqARKRmmpLlGDAsic9KoSYWXCXY131z2eCR2mxZaSbL6i4I01gx0TRV40vJXfgS6dNHy+s/u52cMmcKR1HXv5mPx7+O1ggMwTSPcaxFkTbOv4bnu7qOfc1B+6ZDbtD5DAAeXhC/+JLOTxBQN72UvbH8hmHQ2XN8wgYBbzcghD0OoYOr8PzBQru6g669x3LiJng42ZkiB2koqwmkuh1x91pky7oJq7oWXwLaG0wyM6OOr6Yc4aua0Y0+xMF3DrtDHsZoJfvZakk6UJVvTp8vU0m89xh49PMirj71AJzKHeu/nc7Dzz2NwLISpdZ5+DvS5sFpC3x5zysvJZao8nVXMSNWw2YgQ0+I+Wm4TnCVZY7sX5mH4L9CN47Ofg5SZN7hay9YALvXbRocsbk7UdSVyWXczOapmDTlNQfLRy5BQv8Z+Gq3OjnzYIhxgK4//r7v+dfNA/O6MSq6be2YWBSQ6sJPFpYeim3C5WJ5tqWKQ8PZv8QRcTcrfEuu2MLpJERHRY31UmDovKYuiHPuoqMHu/Qs7jZfYB5XAf5ZkQI+GqgZPxnBGkUSwlK1pJw2ur55Zn6mDMMDH3cPlVpFd0pJngU75ZXgA884+oH/aF1tPeTaUdegR2OFFalGAam1U6tpxoW/8WdZ68/rnrtWS3jjYUfk5IUWbE5h8jhOA4GykwWxJN8hLTAPfg61Gfhn9Ni1RFgv1rlpbY4NGHCN3JKsw2RgCtvGlGXVowkQgF3T2hXSzKJMLvQREs/IB5PNFc0JpU7sCQhbDwcEhubJQAkQvzOm6YoVEbQJ/44CjPaPdxCwtWOn3OmIOtQM4KmGaRTVBdNhIBBfne+xIPjvRWMgV9kdcuT/cuWu3ELLMpLAHo76yrxenUYX270s6lqnV9Rx6iEbbbPLIhrZ3ID5LGOrT9+Y8SNUMWZcTMKH0yyVDVkvDGMrCLyan+n2H9MrGbqb7sSdUkpuye7Y7jmGN5RD8S77xG0EXiJgrfV2T5akbBNZd2A/IjFQYPRvcKb0o6sk0t8eiMnARvWopR/Dq2Z8uLP2F4LpFk6G5v0eXFu6IBdlqfJACAA/EjrdRxdJxuT0/F/G7rPK1dkwL9Ko98bqbxV/p8hJgIRA69lygtyIByFqGw/ODiQZPSFiSRQZVIRqjpX16i4R34Wiv+r4zoqxQfhvfv9mL0hSdpLbUMKgEq3nvwPZH0TPSoACZ3QQC7SOWwPQcovPX+KoUCKfCS96Gybb9TQzjVLotqIHTeihsgd7e3meGK0ot//oPsd3UrecoMl5ubAuktcwxAkxX5ucAp9924aKM/2tQiMmS4NFw+I0dl+QH+SIzU7AOeNnpaiHN6eb12kuILR+AzUc8kXQCv22mi8K2LPP8KSqc0dpbvJPgNtilfZAtIlOoUISoAWkWpV0KwqfGs3t/mKSYQQNvrRNW2sKGokIrzvuZQqDfC4yKqGd4R4Tj2r9dw26NKAvk2KYHl/kt72bkuaD32oEBVOoBdg73dQDCwG7whVvqOXEDo2gNJiYJlDEhvtujoNUpd0bwrND0bHGfbDCM/te8Lkz2Gmg44ObhDewqx7soFs5oleBzdfe0Mdv7WSsF9EjOMxvh/OYKIxlrqg6C881sSV0iR+89cNYtyxmKTQHNq0HR0oYUpGAQJGW49q58TB3C/U3x5XjIurEhyfc4ezrLZYWZ3cTgMO1HjCjTLSSITt2qaQqlXwRAofRT9M086rhOjRuKxwcMKSrttJfjl1hym9Az4E/GRXKD/dBDJvtdRmcRZnQys4WWfKAd+UPXHhvTuzF0VWyctZpTcrh0McG7cgAhV0CMgIK5wqliAY0pzBUpmX3OkTUmmSsVyGDvgZobcLNLzaCLHlh5khhOK5HLNFJbS2AKFuX17iDpfynHO/CIIUA3xj9HPqKat8NHPT6BGXfwEMgU1TicyC36/dBWtfvtY3nuBMSRafWKZytSo9iKXomAaZL5izPKjpheIVeWWxO/UG2a5AdYo7Sqrp7hVT9n1fuq3jPQhn8AFdeQyXNIl1ldLE60qmfC8oYIG3+cvOHu5o+MBszKJEs4Ay31H66jWPKVgRvmdJiK6XI3zUrMZb43JH1xC2EV0cwaVwnramTMSFqFjo/Qzmr2OFvxLBnll//UQaAYLsmsbXYWynaSXYOTnWhkRHx4nkC1EM9iKlKjs95fWR0+hMbPztK7/ggJuxZQenZApQG1ZRVhtiRXKyQxry48DYLlw6CqyZWXcmECUrVFCPLkDWFluA5SW3D9ts5nWvEo9v7u6JzLN4FTVEPygovD5pqaez+4xHbKGQ1jt0MVC3zGooTbBry0dzE5pC3jIUdCUSxFcDPMeouum7QpPfk3a1D0AdpkWDbbVhIZD08nJt50L7YgRNfAEmH7sfrzJEwG0MGAUgme1BLlG4aZA6Iw7JT+xYkhsbLzD1CozfiODZkW2XVLT1Dutc6qZqNt0giGoqLmUxwWTy7pkuVbCdPa6RXo+uO1pSTNxDBUd94X/1sCMTj+FGyIp7P8lSrGx2q/5kgQR4hActbH1v2diySUH1pK8fv2llMZla4NzBFfsxdgJbN+hzVhu5bW9B8UahIUQxLfkLPDi++24/Peoz7T2/PdxkqlHJ3af/kaPm4pjp4F1xdGfDm5JbUk27b+6l3YexS1pPtFvvK3cwHdE8Meexpnkrz5KKLTgBt8ej4CI9H6VAsRchLtxfONteT7EShqN5uR00RIbMD9jNW4y844V5DZnglrL8NzfwJyXbGjdiKjivh8NtSpAWCAD1d2+lrAH+mNFRUbt46SW/UpHTA7u/YyqgSxQ9fl0h9d5s5g7n9MoPBbGrER/ctkyuuDlalpm9p06xM0qhvDcOb6towfy1k6za1ICAtZ3vWY+V0j0yYQDr55vvCN7nApq60QDnPMk8uMv0wN94vvQAcGmklssbA5W4D75Y9w2/kbajBB45nfmerJpzMGRaLW7ysv+a3ix+xChTRnC/UQQT6pkfD8KZ/tEJSgIvcezhk4d/bEaOSWsqnLZRQ3au7m5kGeqzybodJCgU5grfbyPsMsUjs1txbCTh62UZxv+w/DkVXhxznvPNKvGNce2DRM836dzgMv8VKc7voQVp23JMPSR6vb/7Ob8Z1JaAYQy9kY/l7r+Xry1UaCoBb/FFHpn+Z3mpAsnHiJSCyD8HHAAIOtybbMKhfBzyTDTwdrLs5SCxK2i2EDbgozCZwbQ2UQKcDfpAkkmgwwth0KoHUJWzK6PFTylJVHLiIgJCzb0piPd2pDSP/hLLqONO8/Jkxqx4f8r9pzpafu/wMLdlVydhVL5R9WhuKHiOEDKCiSTb7FSC76tCC7UOM5K4ZH2BRhHzMiyVAE5pdwe5uGNXv7tvTxSIFpZ3k0exFSgL3MxeK/GUmpxQQpJfpefMWdg8Pg37KsbDZJd2GuUnlViM8d7Q1x/sKwmgOZd+94665B1KhQg7sMRd+eEGACmUnxddpFwHes33QjM7kiIxtJUEx384bDOKFOunG1GZi2ziYvlTOLbQ+O6GLEivipIGcBtGAwE30Y2j/6Q/yWsA/nww6pBGi1Y8o/nX3z9+S+n7O/ZLJTZRfgoiEvO6b0WXOB8eYOQXzjOE+tekxwGTrUuAcK82FNhGNpCplIGOjrN5TlCjCWrTFAU/4493yKkpffVueH2WmsPisbaH8r6cTQORUd22XICv4yy1CHoQczg7ZzkIe7heWxP3XvQsBbT7sm1W8gz48WgEt2go2BDITVUZRj29L3xISV1C2hJu7AZAKXTsAwpN9GA8qBWYZz86f/3j1j3bgpzlaHdY8HQfEDoEUao1mmfV3FFurazEsV1c7U7yvWzPwMssZ87oDe5DzIuxt95pM2fC1GcX0akN4T5D8xyYw5neSphyuRgrk4d5eKiaMw/gbp6arfh+YcmiKPPf8QSBZavbgzbgCTcJ9SQu72fPwaTf4mV4VAHGalyvlxgxRLSB1BGN++jWLh1CJjJqVMyUPN+WRSCtPRzvcCvulNm9FngWT9sLXqH5+72SlvcVQXqBxoiirwNLYVYwlo3kFnu0JNTld1nihyhCBrovqbLzXZ+sBWnLgtCBifEH6hBwZjPW9cxVPmIdvBJV3u2XSXBPTnVdky+9O/2cY1noH/reipjft9k3czUgHf7xwVIOfYiY2owFCvX8q50CS7Xncf9cElFT7CaqsaBjyauwBO/HgL/0HrMA1hAOjldpGgL0Wbz1AW66fzlV0VkEIW/JBiWJnCCB/FpQCRW9f5RRQdEC9Jeb/QGGzi4u3RmqvnxR3d3BUv2HnycKs0fb5gPb3s4SilDpblekWASnGkR3lnEfoBLGGYmLs7OQ2EGj5eUWVkeK6EiZfX8pqu3I8izIkvUTv+ezEty1u7J8gjdBUuPiH32t6E4QiCBJ1Ljpvbs5BAkwYi8eRa7UReYEkYVmVL6DKOswnFNUuORO+oY+wQ1ENStoGnz2arK45wo4qw2qYXIvKqI+0sZwgQr+cQ3FOTNRMR1cHvpgxkOj7HMQSKAVb/nO7eNIIkoha43H0P7Td4x6CqDqzT4hypYHNsjeUDJtcks28rsabetEgK5Ki0qTEe4dxEoqLGJ07fCQiMm22huSExfEaJwrVXjSlLHjKxcqIiWUAzgG/VQFAhkVZtjuxRj7qlP7yzek0sBG/KEDjmpxJxTwBz/7w30imsuysgz5Q5OtnpAv+W8CX8myGkJ3d5ZwhF59H0AmDsN0wPbLLJgpKSqtlA6vaByr0QNwjbI4WCIACmFujSUyXGl59gVsfrusOd0Xy8Bb9Hu62g8L5vzdwCAAyyskX4NrUZQgmYiSC2jVRWmt26qEMYIWZb76iT20N5dWiNgNT4HnJyPbKkyfJq8dSuyXhzO8PxBaFchfPDrmDiBXake6R/uFCkvwBdw/iTm2E582S4hdsiIYWHIhJZ/+S34A1upviOe5xQmEHSeXlEh6vmWOX+kVMV3ZElU3DVmT5n+AZ536QvXTjVneJXN1RMS5ng9oeJ2p7J4Dqev5nM5Mi4J2+2yg7ee2nM04F9/8j0agvXTg7RDxKdGXMsM6KDdl5LcCw3MA/jZ+09WduvbqSzXhDW7hi620B/JXnRdY9pqV+wpKwUrTaK6pTlbAyMhm7XJbrdtNOWEfKtF22LA2DZTm8BR8vb0VIunbxJ1NBqyvGUCFdKr6Lmfl0hqgupaTqvfF/RgjrQawYUPuRSQ0wsQFGcam4GAgGrCJlq20LH4EopWrHlapVRqvOV0Ubakiuz2AHG+97NRkF2zQwkv6pydb30b4FgF2bW/C5uf1dSR8rIcStzTuGEEmcQ8WRX1TEjYYvHPm4z2sf1gxRLAV4DqoO0UxRt5jae6Pu9cK4x2L+BGHcTVVPi7exz1EVuCHHjP9Pg3eYYHQFoiSpPzTd/aJHRf00pI9LEoEdujk4oYh+ljUYkid3Trwv0I6MFwobEVTePJo3+R6fBDeOEMCof0g2ysaA/7hRX8/+8uaekTTP3T3ocXdNgQ5n5nm35cDVlNbbGfiyi13zh67n5hVDzSK7cxZqJh8HBmwWF7Nz0pvbM1NfGSl5pIrXutBb6CvdgrG/VUGUmZk3NCf534y0JPK9ikKCg447zay2ypjT5JxLwZXE4kfWXJV3FRnZ2k9MtOIunDpvlO57DWfr35Q3dzhbx14RkCcAsfpwye9L535S43mbUbY5Pu0OmrAzEVLC6yaABWv0qYXf4ZcpJcxPDAScmX8oM8iLBB7lMHbFPh6a1ciO0tw1DVs8zzxY5fa3ckDP//WWNFCmUdwDRSY5eG336agb7d5STj9ShBhogq0c1vTA62L6iTzcw0myl8FJnh8xQIqn+Vx5ajDMav4vqXAhBSr77kjySAxT5L+xqZJ0ZGJa/5p1wdrKh5g36YevCLyCgqHBERk8QHc4w0MWT4JOe3sN8jxh+/HBvlWi/ne/eBg6ef52Q5wyr9jbsFXZiRHuOy8YMyJ67o7UGgHwubgYKv4tGsrkIo+j+fJaHg6TPj4rjHPG5iN+DO/kymr9xTG35IEg7olfNxw1gC7MQdjMg9IL+dBnJO+hc2iQA3awE1ePpYg1VDyc0vG+eo4FvOMCJixHbIPrzwxCBaaCBNd9NZTodTlqn8OAFEDBpDiXNJXRPM/aaws8nBuI9ggEOQqSx27+J7BmSNcQ4/pjy160v/BONNIj0zdz0hhL48An7fgTeLtl473w/DqkQbEpu4cs1DEFyy86nftIV/SGU/rHtMvpuyF4xX/JVOXU54qAJX8Y2NclO/PxHRNuN+7JAFCru7sQVdH5K/zHQyDEUk4QiZ8AfvKyUOYdAHOZZhnVSlzwMOfjhxcENYRD7OciXyIaa+rJoIGPxkzrecVrCS3To8pg9rPq+Q9EqJg2dJkvWYzq3Ors5oK2f/zHWgLjss6pl6FE9HU/aqNuA5WEW+xY4PRBiBtjlFgHLo/Lazp+bO3Aqrlxpwc52DGSRDCTdpATCFviyxlKqVsbpgbzUQvDCjIUy/Av5fWJQ0Gb1ix0/6eS8MNvAVAf5F+OwhezLCzw17TD+0nFcOMDiMqmgJOHUe1jyemDxobf08aLXn3qOx0yqA6c/RlnMfSKb3RHGociqDTLnPo66yH8y0qqFfb8BNXdprpUv5C8D1/dMC2vbmM9Gm2PRYY1jIedpaIjuWWWIdScALEkcx9JIsSnAFcQwM5paD1B4ZVIm0reZQRjB8i7uov5XqoBjLB/ObyQvOezb2fuTCsh7sOV8HoNqFce0+Yirx7ntADHvl2i60Vw3FwbRD+ZrBkZCFDIi8sgLVnwUNK/m2VF0st+Tnn3UkelYutyAnB1tykgq7s218ILE3g1JyZky3rw9zODaQ2ufy+akR0tNmhjX4pg/k6xXT/JMafJqJA8ysXhZa7DpW7EKq3Eldx6QH/0dd5k2M0z1iKSGZFuu8oeQqI1f1y49YAiwfL//ka/fvE76Wk9/RxSTjCe+1xAd641QN8pU7jCDYFOgsXL0MW83ScrTrxpnayVpoPDFJhqKz9R+9kHArHZYQTzRjf5jTeMO71YaG0QdJ+dQeuhMHuibFOMzkr9fkUNzvOkNWQcrxFfgV0M92wWnfSE1BTSyZYZHvZ6N8uvndRMe3DUcE8vshc6RoXm6xxaalJLAUkkpcbP2oOL0mkkfauntvQRrQut1UPytadEnsknVFrlikcoxB/ZzHDHjIzsKTbKdftmwJl41Y3LycBbMXDqxV7UZNfb3/sTqvNLrgdF68jqZa9moOF3QUVWGqq9VwcCaERiAHwBBD7JSuTqhIsaeCGWsD0FORiwb5AJlvGe+/5tGTuKFhh/PC8A4r8hnyaIpuVR50wdcUxMJJBb6aHotWF4+1mL+7P9NQ7KAcVs7+q5LU0VcGO48Hew4KNCVIiz3sroQm3JRBHPuemMJ2UHzCd3MDvijxgQAJbFUbD8n8vJdLUHHAYyoGq3xB3ztxCpROvqSi9hlRzC/HIr+i4h7rj6YlkwemZ5DUSTRjxZRHtpl9UvDTJaKt7Na7GGg7fd0IN25XEP5ZjgrRS8qsikdALH4eHrUpvjbDVEgmQZwJolzDg5fr2De9bHLXwNQw20hMYeuQOsvjv69o7OCTioeRysWPHe8hZxBYankRbHPUNeXNf1jV6QAiJAzLlkx4ituX9K33MRm0wN+MM2vcRIr8Wn2DWHRekvjNOfTMa9IJg2ysbs0e0OvllbZwjaycF56JX5JhRV5F8nadJly2juouUX9zkUa/L+QffJXi+2doXaMs2MBuNcT9kpHDIpf5IgES/3XXm+VfNfmK1/vAzNd6T3nr5/A2Jc/YrldPz0S8o+pkKY9NIZ9byaQiDA1MaqsdA+kQkMYcqbeOPmevSO3oCGUgIiELW/UpmLeRCf2/Qh/7Ayva50xHFc7bmfE9Og4xDLLud+zT0MvH8QONEpLgRrLN+zd4ZgZvq8WBr+EC+mZsy++WrZzlBJXLZBhfBkuxFAixfHHgGHq6pxouT2cnCb9WufJAZm8ZPzsF/p2B69OqEP986lB01xD/6rhcbWHNlicYYC4KhqSLgYrogW5t+wh+qSgDVRPDQEHuRXryRxyNknPFFbhrDOqWKdBehpjtd1R8q3SRRjR1vPlkRQ2i+cujD5pNZwsn+kGu90ZZnRILKJvmtSIxJ05OlX2TsF/ABX6nZWpkaDKz6n8Cj/aziaS43DepaJ9kCG95VFRuTvgW3HmKa4PLCNDq1/FXpHwHA8rrBhwOk+nZrWj5AAeGNk2Av7ROVKoHLxmfFx4dvlEernymJndMBIb0Tne1pcFJHnVhYGSXuFoZGG0yp5HMBdDkWV0H6fWef+jJYmjt1ipz0OG0cCTBiBC9dRxd7gAAP+4Ij6v1oJE90iKYBxTZwmfmJ+WBRE1nxVrgxrsHBJLqpqCiXD/HZJtxPploTGfQWY2fH04nYv9HzW8FN9zeQi0z0bouJVmY3By7qNbBIFgokUNXyeo7DVHhbBuypOtVwH6q0sVnzKtKqkoCCErhGfvWVEWJgRsDtHzC2igJCwaukHjV+UaQHrH080ZyY5LqaZMVQblpsFpfkiIwYaCccYSr6ccgXMQDvttsIDVM1O4XRJc/GHFRixhDksjVt0vJIuUES/foc/LTMq06MX1WOoOisEqiETEi8QGxhlxmVgci5PTXDQmUineEQ4PSzTJz5siQOtYLoSI09ytf4sSjwXea7c27t/z5tC/gfS8CHzXiqXJihk+XkizZJXecbxztBFvwlcMwEQ2PVwQXc8xA7le0V/VABZvLIRDG0z3BSIiSRLmduHfvsaWuMrWuX+dkPFFwQxIVb7O5GZYEycw/3v5Z9w6m/yaQwhaOXuopzwS3VVHC73XIkHwerlf8iMbF/Dg2jXm6JAOjA7jcCXM/jVM9091re7q4BwzH6RMbSQ8e52FojXWG3/N1QGoMoSqtGUEUgKu0EgZwwoAnVLDoioff2vULbaG1jZJKnFptmj+XvWj+Lah5Sd+Z1gsJSLZvs3VrRDTVX1gJ26pYW9cY4enmn+c+CPcKmK44UxzVXi9K/EiWwTinBK5r23blbnwSuEaDQLHrIK3CU8TO63h+qrvudV6sIInmK41zbnN2c7TmiyeJKeYqYlmcNShJR0FAIY3zuRHBVof+Jle1k9zthxDgJPqoAwLQtnG+fFA4H9rkS6VqKleDzyKc+QwBO7tb8y4BOWtTla8Rza0o+gstsI6j/oNu5ciDSE/HNg+zqEWJ7yVyAzO+2BmpV75L0crm9rIK+78201yo9KRfn3lufP4mSrt0tRb3JPf0gqwxZeuk7B6YcehR8TFtdYaIkomwBKmrtQiIDL5rCx3l8g1NePOC190ESpIWpsjNgQuXDbB8Ig3ESJa/5HLawdor2CI54LulbAQFcG79HNrt6AUDGRKN7nvnIshNVhMOBHhXQWIK6bA5OH5MQPWLJHiUKdfrTuOB3iNEeAnG/JSkg+g3VgiLoitftI5GQJh97PRiPtM/dI+HqIyEUWvNTVkX+5HGNSfbdm9TJRTiqLp5HMVBXtRkeq/GLu4lqYt14C/fxMq0D9KVPtsNVooZh+SW4pc/0K9FVqyx/i/Noze+43ad4iDy18o1fqXAX49hLElZoyKENUXnicZVrWT4VA3o7Fk/ZddebkQF9ws7zc+5cC6BNiPp49tkBQaz/YXTB0Pbpro9HK+SOwP6bW5nlQNpk45skIcG2oZSV/NVSTc7LQ2PJI5zhtEBC6LXNdjujRTVADa9raSij8dzrBwgDxiQvOHS5nFQPWzsmAVWOp75EXZcSiI7VGhqdGphnGtExNyy09KwQq7dGpL8XNaexxNbWtHaO3xZKxLkIihyw3QTrS/mC8+GLDkDFusi3rKzjS6Sqs/lH+5yQzTJh4US9cB3nAA3I88G6mghXJDRsWV71zVWpMIMRwviPfZf2iOfxhQKqy4fOXMxgjfPrBLhXg1+NH8qcIRg4FRhMKQVrfRmLs/ZK8S3lZzS8R9zfCsgr3uwnklNdS2kdfxfuiFjRJcwTRbMx05WnFmLB6e1F5SiJuW8wvos6Im26fvchmeEeWIq3QNXSh8aaSV3qVNNoBtm7rtAgAtuYxks90awCVsr+t3r0WIlQFyj0D+8p8GM0URnB1XfiNER+3RJzxsSLZVMmQ0/9YVHkJnOQNohFQ8+UuOCEd//Su+SiWL5tozzroF7iucWO1Be9L7jk0utmsA7syUcpxkiWxCwDP44ItPOQESBHe0gF5VkQv/sj5RcKgjYdbHbnumDpcZT8ba7/NUEpYSvWFhgQOYlJkATVetZEsYVLaHOTOCFlRKIP9N4lQXFIsPR/GT4Efx0Gtlp/pcaKlel6pJb1DVt/8Dlss2V+ph1J21bbiI4nRX0xN3hPzkBc25Wfs/uhhWryC3YR/FeNKof68THpMrkIIekXyGqKjcTbyI0LiO5RaMz5l3ClwPVEzSvC3ICESWlNLTz04CT7b5s6jG4tAhK8RuNQTP8UmGBKeouaMPM5aeoPR0F9IUKrm2jexF9uaAEhsimDnyo4MznYaN47ZOMQD3yGg5zFy1BMbRrhRSO8vGS/BdA7AJnY1hC37qcSmF/o9Ls5rQLFwMQ2PCngpf1QcSoVAc28wNxrvj/zPbEUWKss1oiwqTYIxTlbpjWXnOxbrRBN9ecmtXSzRbmlz/xukRSjk3mK7WHAax1K6QD+yEuXm1mNy8dEvPV7kMpMe/PSzH0RzQnGxhnq6dKDbVEnfRuSXKLg3WQxZPsiezW/gL3HzVB7rlwew8HuMOmDmY2yFCPK1tIhd6L0srDH/aVWOgG02Etsg0oD3mUCry3j9Bl71pVavXnHpjM8t5ICXd7KToSLve5n6Xl6TEC7EkNUKa6I5uHJAKCk5SOK0Xzq1hYC5Vn6b+gY7XSPyHfwenp6xYonC8+WuGJ0zzH1E34fYhm0jWnpezx+GwqcnFkimE84igPm8wiKpFUud337NhvK2cDXiqm09S+WGuBm60O0EiAVwECjz9bilmOb4LP8VHaz3HP6ss0GzuolT/N3XMbFrndIf2rynOyem4SDjCpetj8/CX7m+c8JuD0qRCtz25678htg+dIVBXWYt4cPK8CY/1P5CJPTTZZNd3s7cKU12Ve2m5P6x2O0b3TqTEwSKlovmXbQvCzU4jZagqJRe1Klnv+s4CFnVJw/W28C2OsfBMNrSzZrWVt2Joc2HpguI4RV1AOBz1C4+0oKmeW3/xGwko54SO+XBRj1Zk18iR0Gzrqau3erVsKibPeEMOsM388szFNLNzOI6COqm2Efw3Kaj1oUSSB9TwFBgqBhz1daHQv/QdNkW+kafWy68rana8gWzEkWpB/FshKZC03aOrOu3pcI40D5IJ6n8Aqglk1CBlmG/HkYcYVr+788mJJSELSYF8/5NTq2v+DwWzrSB1vU4qvnVN/m6D8hyyBL8PRX0+zce39Ns4EI8yHFH5krgrgXLsCuoY2m9mdHYxD+ngsyEHLwnMVHbnEp/VG75LqYbTXnlDuREdGyhg8p7t9yZvBOD6OtqP5+waWhLhtZxpouFoe0CkGoQLLfifYtbL62Ju/5kVaEAifoTVDqTw2D6BnOyoy2nBuZjTIvcWOS1Ct+gYSIkU+hX3mXFfj0fyodAcomM42xxL3MmrZrigvvjesT3qKKiNA3FWDGeHqdbdonH7NZ8xijWLdIMS9UCJzg536v3peTpwoUk8OE5+VLaJlVJFPDYECyoVtkl+5fgBwb6rB3JAP7mppxD36AnKew8o912lig2SqgjgaBW84I32f3Wa1OwNbEEaSY6uiXnOSCZFvZJR2IOs3JI3OBcpiGxR4i1lZyFsvNtqW5HCBRNhQKkk6jO/0v2dmg6aVj/tFkN0W+3/fgWeGXW2colp6UcsV9n46yBYEA6QjEu8PUua4VfgZtzBY+9NWe1116cInlzDoWlYjx71+hxAWBSy2QtWe2RMk/YkB6NKvVZwxjorIDMwe6iLIUWyPvxMiB6qOvtwY1jjKC+toq9Xpfr4OyRtwEkNvn6c+MPsV4mDNq36+DOly15Jzp88uVZixhPHoVnxmcpaWQa9ZSXwIJmciyabHqghDXrQBh08/AvqZplkkByl29nb8Hu6R0u7LJeR+aeWXqPqAi5uJwvmHM7CRzlFav3Nqt4KOm1m7BcH0YQBwWS9RTk/M0pJSS44zijKndyWKAgO7kdxfIfWUZN61kiUXhe+BGwsNC/aRXu7zTQaSXqZMZ3mUB3gCJsBwanls5vFksiM+POMZcjx2Z2ZCTfry/UxQfAL+ihDtg8SGTvF2ZMVZBQB2m23ZhIC4UQ6WACCSILJ7IaXoF9kyWq7hVb/u2SxylEQR2XwpDEJqivRt/bfhwdpa8RmiDfrZfbRtoOEQRUgeo+eqAgJKG9dJcQiGc8wt4WmfqS9rrVPol/tzEaEqNTvi/Jb+zCL7ZKxoMtOUc7ot7g7qZa40UD9e3cOJPBLF6BvjekwNTB0eAarfmdC8DRimcITdmIE2u3kEVpHIFvxtHnCu97f5vB7i+lQsjfRiPIZCA5WaoX0XZsOs+7MgsxCIQv3fd456SX+q0ucKjrXgOf/xzg8PD5UdOXLshj+AwX/FTcY7mkOI1y4xz+961+5Wp1b5hBCFtK9UR8F/NP6l2NGUAjZOyhh1XgEONxYbv550qjelDi7lhYxR6DiIY7m9nUJoXlSbcw0NF7iNc3jR0bPvnCFgW4FSeIFukhSY648kXdZwD3ojhOtEIuVnx6yO+UY/s444NN+RxI6PDApZAAuQzqRlWD2hP4ANvD8KHj+DLXO6r3DtrNfbEd7YLjo50ASoPp7k4bO0doUmV9uTjoZywPCO5WRGqw5a8WDtTM5Y53aiNVIiGBJHrZ3PZcZlPud6f6jOPHla0saXapZGBeMWmFjuZnK9pm17nsoDU1BWf/QTFdH9WcbMfR8GU/D7AyniNvZaCTLMMSXGJMvlR1XCxJp+N9dCF1tGb3xE7p7PaDusZOKHlm7SwO2gW4BdWiYpxRO9obLPyuVvqneCNjQ9lhI1CvANd/CMzVuKqKW0ATgeK/EN3oE2bE71wZ8NhFdNDJ7VlyALyQauD5SNhlVM8Qzs9OWBZIiS7rix1VDsnWaSto27tzWIaamabongwoAtEoXw9aQ9Y33a0hcyc1nXT3GnIV6TNFMY/9TOhkUKP0js21xmVBd/gUah6IHCkokFqLfI8B+bxSyRZIqcvmT6BimFgcoVqHmXzuIwoSn0NkUBDzNKiUvhQ8bOCPiWRShk2n4F5KN1JjSYp6uK08OzMWlgYe0lOoen8xwXgFg2VU4nHI78Pd6hO4wbMjJn3oJHXtPGYOO1qxU/aETG7e3x4Q7xOGd+OiLAJ/MqXMZcvHoBXvpwhMUPnAwbed4QGo9thpVANdfkwy+zMLPYPRmSlLIlJHzjw3cryVLFVHV9/gtwuRbfeqI452GvTXzWoy/xVcGIl+Xu2c5llCjHwOheUi7RIJXyX8CpG2rb/NRoeeuoQ1UYg7e3BXJDzq0LA0lNnLqogt0rz7lkLX4b4PNICAVFijIowT01SLMdlt+/g62kZKTsXzAEYNY8kT91QQGakftGJH8UvhkzdZeR88LcGjKi7rE0goVf/WNzNX18fMcLZGt/rnHdLepvL1gosqnLm8VrF00bx36tkbtP5fgNBiQicJjdLR4JlVJy0s1r62+V9I+RUNKFdXCQa3xIx+Bv7E0MWaU/dPko2ozEZW/F2aVeavEBrsqBsbaZU4fmM82etsym7WKQmj2UIPRuDakIWzl0Z0ZI19eId7djTllvgUAsQZ6WZdBdDb2M44znOcJfUWZtwZ2Fma7Pyuycf4+Kxpd8mMZhwKlWOzMq1ucAUx7nDWsoUeOFGeXKMJdGMrni8M9tYRspNv14Yyxnv927t41a36i+ub5jwrvs1X4w1BW527zAr0B1u7mhqM9/lN7Z9RIcX9yo16BdmCnbtzfvN+mYnPBGihFLlhGvtkF0RTF7DbABL0RbHCug1SG+WnmvoYDNNLJtoC0vUbBstYCvS7UuOtxKZAwBHAAvizNHkyol3ADLbTjFxPO7iD/uOo7z+DSq1uvPujII5Hdl1Xm9FGHmp7Xzr5PqumB88Wi3PDg0rQ0+/HO4XDjSV16ssiP2PgyLKn1Cd+NWGa7UDMkUIA7PVOkgC1/DKXfh11+AibphS808SfUSEfyAzcLtpt9I2GJ0vu7t/amiwXJmp3hBtZEnnbGSWsLCpGA/ru4bGM5H9ebGKGeSujlccwEvR4rz8kM/ECwNXnXIS/zi7LdWBcVp6eiwG0AvLdhTiBsib2j5fWTYTCZhNsGXhj6TyfoT7Ul9QwrfO3vAGrqCmVhTXs544X/JK3uumAnZIpGjIpkrRcezNBemMePQVegIIxObCNBTjv4HvZ+vUBEO81o6G/cAo0RfM5Hnue58rR/NnAj0id3GfxyFYWpD4PVmNl4FEn+5ohBxHy0LpOrbbcPaBDnZVAjlpnCq8KNWzXaLz/JWGeRDLF94wT35GMqrbdHx3QArJwjfSPU6l8ShgNnXvqczHkFFb2rs/aSWWNjT6utR26v8FVVAe8JbLppk6+dmZfX/zr2DkYw6jGe5imfLa8pmU2l2Wadpy6Nf8YpceXnzlWrENiGXBBHJnihrSVKyCsVtdi7/jTkB+zUul9EPfuCKmXqZohy97Hu7nfX64HGwTklxu4u0tuuKU7IWr+ipRU/Ff7AfFWEKmRLodeNUdW+oOsLsFeC8EkgR33LFzrrbZOCaO11SQoddxo3Qilrt6RtKSZ/BcJO62eBMariovyokKnPLjMW226AARM4H+HnuZ4O+Z1Hxfiloz1DwvR17KrYLL+j+XzlR16u5tdIHbaitwQtcse2ZZb2rnnXAn3cheRQqjpO0pib6WTbuTKeDw0dTdosa339G76UtLUcdo1AGJn6dXY6CX0tdHYO0ezvNOLbVQrhdX+9jmoUqUcgjnXOwxtIjSKWh8Kl5niKhWeRct89ejL7VP55O1pRWwcAcOJHa21Zjuc/4Q/vCxsCkQBZ+VugqJ4klMSAqDiOVpXmO1SbSJJnMhQahrjjBlXv3R6EcpQ0dKMR1mN76GvFwj62J+jZGvXpGkB0c93EzhwcIHXIaieVVmgjXxUVoh2t6AGZBBIt9+Iqda+szkqHgPuXCZufQQcKY/rgPPvVH1eZDHbTFmXEy+mQi5IfuCgVnn6VpCDtt6TU5BDR6evwr2as1okKzR1KoDqc5Oxkn+F3nZhJtgayPAeOeHox2kT5Fali5L1Okx4Hkv6taQJyLi561ft3QylSsTW68/es+HIMyhHS0vzGMh8PCrSafRFeHYHSFTZIaWXkigVCsDJXozb5l8uPX4wW9XsCADAY+n2rEG8Gz5JxGSjd2oTHbAxtKvj0GaGbhvS6NBqGq44BqOfLN/uF+m0jMJfwOgHeGresp0CLuKN8uGEyWYKiTDNq57ROxquU+FDCSs38EwC9Pv4W4MWuv4t99ApDmS9XdyLeT+dR7EtdUNMlXLU1tsTavkSGMLI3Yxed55YyZNm9jnoqUtqVW7+hkFxZPn7L3XQDvq/rbGLxC0YQPUMX0UEcruTz+d4IPYEYH8G4PqTqai0SNYz5thaPQwzhfr+otXLrD6O5QIVuaLlbYstEiwSmnSBmQfPbmKKKqs8uTGFMV/akvyUZjgzhdNEx28zxP95oiFI5jsK1EcLO9YliTGzgE8JheZzLGkocrNEG0Ldj6Th47dASzgLzRDCS2Wj4pKLWec3nkaG09ecY4KhLZHE1WDTneK1HetJurhbboBqniqJwwuRsbmxNDAxzE4mia3gOMktjzjZJoHd78cZOyD7xOyuUoAiY8bWlzhUEO9VI80d59InBuBOxUQPIDVy6PwIxvdIkPTiC/ylX5EV59UgvMAhblhmdYQ/19My2shGIclV8pRmLs3CFH7GhaXOPL/LXQBTA9/87j+SdbQ+pPC73NGuXA3qeAx38FRdnMxEPnt9gnhehcNbpuaslnGMp19EkUz1XDH3UKPPG8eYRE2KM4DINPcfxURfYyZDjzNtWd2YXlm6U7G7JA3xZ7uvmqAN4/yhE/Qd7ZjVczWJiYvP5AqkVkUJUT4aiRNwHymjOiuuGQeng6te0sXNVV63bQurrUI155JQ/GzVlJt9RFzQjKpjrfM+QKGqj8SptOXilxfnqZxvL6z+3AdZQF7aMNiVs21rqiUy7u5+Pbsa8LuEe4U2cu7S2cyL7ThGQBrXQafg7Ws8gbhwRhPgpSqrpjj571ILYjR3HbTFG3PPes+2Lh4eNR2QDp7qHoN15A7CFGdSM6T3jNLq+AT6SOYP8rnfYU1y5E0wCMH+WYu6IKupt2MpYAIJVBadRbPxNsz/E9ZG2Bsj+dIVClngG8YAg/xJsrn5UIVE96n8RPCJhNk7QZ66hDNqgh+shW7ZyCxT40fv//JCrmPtZ9dvDpwXTTCSolKjk1z0n4EPQmmUXjtC/SxF/jxvh0dSUu/47EW1uQWa2qTCiVV4CoKeFiM7G4NvWOhDlSKzzpIl+wY2cv4hc9SgosvCeLb2qjIUJljpM4vBFceCYxF/9FpWC3zk8o80Dthb0iP1b0hPHyojqIOLS2aTqc+m7KrVSDAKjDUbzZ7mAmXj9tYU2nt1x0bNM4gkSgEd6ClQhOsPnzJ9lWFjLpL1BCcNdiwxPGVanoA9xDLjHSRqYjb7/Wr2NztMuuaYZqLojenrizX5SEToImtz9+/MTJPhEJb+e7lhh2VUnn59ZXXDLj5VeAWZX8gGc/v9ni0lzWjRgGcssik4oMT8SavNMBcW6bYPP7Qm6zX7UxalhwXZ5fgjrbqRD7e3wBqc5nSmTjWDpHTSw4EcxhVbcIUsLbj+LY+72teMI3J+i4O/6kYwr/joiCczHJ1aM66NtfX/Ab/n4tiWio/rj9KivpgiYl7rnO0jNLc2EG5moiUGuowMaws9rt2MkPi3cPT5zgmgaXtKe90LmcYWXK2ydGDP8TCblhju+niqYmSB0gRnWSYEC58ksqjSqVNf1NYUyg95WDn/x9vJswaoeFp9WmcFt6cuA+u3ETXWW5rw63HGKGoP7UO4wJzGs8Y1/N3YLIbWBqMaXKIju+ezFWFv8RUOMCkNhXdCVvpjqXaGkViWwqVTAso/2lFYcBAke/2+aAdmZwBXXcU433hhADvgUZWlKCfmoRX0wHNKI2FTPRsQwxtVmL4ocMpbrLb1sXpMepFMIal4RxVaPYV5vjnRxvYnOzGWCFSvnZzeztBjQbpe7k3a0s56vDtN8ezVh00mMWMzc5PUsg1dB8ELWh4ULsvWQ5WUov6tvhxWerVhVzSm0UDUeDJ/052MfRP390xm1YoDUtfpOcPTXMhY7CoffD0+KyuJXywf7jaKtccKX3iYOVZfaUHUKWrqIHuKqD4LNzuCrTtFh5NKxqW/+/U1dskvxfg/qyzFqsj0TmvA03ryMF3mMqHLxxMLpr2Z2S9j4v4ApdivHD9PDrekcyNkZHvFrApb5UdCHCAPpAEzc53+PS9dabIi0XO/MjDKLpUkNwNbpPDjUUSTQfGS19eygweNPKmkK/bQO0kx6omlHgKdO8o7JMly+OEKF3KuJvqIjIrYKTgVnHNT92RECYUt6ZaAFWWzeBfzWPYieL/Uk10CFvuAR7EqxX6q+YnjV7PJVuV4Yq0v48YOPzNDXLgMRain0CgP3dXTA8lrtyFiBQu0UXk0v/babwqYxc79s+cO6msVWUo4rZnu3OA8QDwvfCUwQxG2fg/gMqRURfJp1gd3v42Zmod2OADdKhTqDxqLlMswcKst3QMOYBgt44U/0j9YEwZClyGZKSTuUn5SipHNZ69vW3dmPsUq3LD/2m0MeG4eI/TFy77pk5Qb7x8Asx9lViQ0Yg/NWeSGlnlt7vpdTynycdSl+UEkvRHNPZMmE9fwi8a5b6qF9qQCg2Nu5RkXS+vrfU1UbXUHWwy0hsrQzMKEwsiDWRjONPV0s/NiJ9rtdLMJCKHkpc6V22Mr5YrhXjvFiI0rSf2Ngir+N4O74J16URpwiuJU4wXqd9H1YxT/gh3s8PVf9S6PRXfuTUukuweTnbnjH9GhFf9WNOs9zL1EeKhBwd37GXp4jMfn+2T9YD9XzQ4oKU402/ojzqSru8cL+Jf2OBWc+KK83wsi9VB88oYuruNKRvXEctMAcBYUBpWKgPRROs0UZ0ss4GQlJJWLkyq6+PJsP3HR7yTQmhqvcNEqB1kcg24eflTKh8yyY1IQEaZ4gS1fOQBFEQRkaBZsfQuhFH01Iq1NmOUdqZFVtCaPOEsMyTXUgg38vKHvUF6gE4HJh/43/pJ9n6Sz7KB0ZYEcfYYXBB7QJKIRZIJBQR7hoNcAls3peFwkfjJ9Lrm4x7OWiFEDsfkn+VrFmOqtKQ600Aw/H+vO5SvTN/YdTg4GuT4Hw9IfcF+xBnmfEhvpD5QBB3rKaJwsVFygPX9LCb/QRJ3mTAPyh0o75GjftMCFA02UkLetg15keZ9LDPDHA8+p3sJqff/OXBk7WoYJj2dHmXphr2g9q8gu0lq9tz1mdX5PTilgjp/g15c7uA8Wau4IQUOjo560Cm39RG5vt2jwnVl5Vpub+c6YR+PnfHvr2wtdcSRKTdvWZXr7f9Q31BQHSeRfwkYxYgTdE4qqPzb31v6BHJvvrvVTq0kfBlbHDaeXEMSlb7uXI4j6MA25YqTq6hjz6ilkhmxhiZ8JRkCGyPIJfqklrCSblex/nk/ZHzRbaJZBu9OLsew+2FZaJPW85cl4CnZSqEsUdquNE2rKaCa5WaWaekv/PvDeKVvKxnLFTrAxdN3O3ahjcE7glS9kcPlNKevooULkGN/0QQUG22Yu7sQhciO0MbUvGd6jBVg9jJwSjw6bJ/VG7UXGOYeer60VTxkUR9DZJ7scuiHcOXVJnCFLqQvwk4EJVkPkE6YLjwJPGXMvYUXkQm+gE3CbArWvp7sHHK6AvkXO7G6ut9jkJlmijvGnSIfKmYy1snm0TzEHyDbWu0/PT85XvlvMSqLVtU/2gxfK2S5D7rz8HXrTpFJ4yOGN6sFHUnfiQDQKhMrrRVsh0lACM1crDvVYGZGpxHz+D/IoFJzHzHJxlaeV167FYIufiKD4Oa4OZGP1BSXDLh/n5Pnv+ksTvj2wrm7Z0sO2nFOqcOgGl5p03Qq+2fyYH1mfHoM7Fd0ysQC9H37Xrrx+1Dj6wFRkK/JSRQyzEKPpmvUwQLifBLSA7Wjg+m7Xa+sT3Of44e6nPSyx82bkY1Q76xccRcaE5yqatUI64qNI+iFcrJY486J80+d3sTMFEmpH5DV4FVH+mX4Ad2FJlFSwDakm8uosp64SwXEf5InF0Kk17EaY3irttrjYOopAaWeBQY+qihbp5vQghaeTE4NJF6EZy4M56546Qn2hrVAmLzw0Vhuh2GbE2wMub82KDL93CuKGhpd15wc/kgulsB52Yhzuw4/zQDGM5RzTzXPRAVKoSV3bvDrED19dMW7FjKtWviwMXEMxspgD+fnyyHQiexp6gPpzQzyK22KVHSVs6jE8d5KJgvV53UjYUICH5Ulj/TsP2h1jcgAKOC67CpmfFUcNY9EUKmMRF6OQsPrBWcnkxFYwLiuDUgX5bnN6n0jN5L0wEfE8yUkT3prdyVQ63S5gdHi732jeyN6bbMWYlU5B+pOoEptRzDApu5tWDDu2g1tSNpHmDnqVTkzFD0RRgvzQwQ9e79kGzJj3qXjxegGiQ7pidufBV7ezRlJR4EdZZ1DOMqE4PVJvFkzEnYyRwCOHWle2AHjWf19YSYkFHRzmd1k1W1qUuJUlvGHXZuELvDaQ/u9HWzJo+nOauEjzH4S6eIJGnlo0WOSuhWdmr90AVgDUiBugbZGq1sHBCaSIPgU/t7vUxsiFX0QNbY0rSgqEsIu291pzMp96krhHTx876QAaSPvvAhymCDYykOvfv7DdcDXDENZ0cmW1IAEzsa/LXG+IdaYoxkQobRx0UtEvwAFhW6QxqJFM8tFVi6N3Qww7nNfpVRpY8pVf8qLBfBrlYyKET/KuPbgaRkSua+G8BXtDEdsE+CbK56RIsgDjokRhnkGrEfgZjIOklYw+kVuepqgXOEiCCXlv+v3NqMC7jMw2ph29zqqLEwMn6LKD1W11EkJo/6Ysz91au7g03QHVgb+7msy3/pYNBdGAsvIv3xCTn3IEddKCl4Oje0r0Ox7/gYp4iE1NOZ/a5plb/5njvr2AknCCIgWqBNGAlZ94UQayWDy63Xq8KSYSv3djYN2iHIE9pLUWZfLuwiJ3NxtANmRC2MGWU35II837UKwj6hNJQqnNKrErirbY3INMaRz9rbFmAaxpC3Q72Se8pNV1Pi4VboKqh09R7gwv/ZSJkF6tHHeBXjLL2kjGZip7R00+WLmpYszljFuqeP5nTSiaF/sfNTAr41uW/6NfkSKxgPL485IbXDu0lmjlAGIl9sKYnvGTnbxt/+F7VPIgPa1L7dvUirhR5lVkjeQt82JhYESodxF87Z6Vh/fNqQ6We5eoppd4VXcRs40nGvRt2SLSwNH7rIXWShYmBWWGw0WifPZsisZqmAAjz0L7ZUehONmFoANLrnqMuCr49qUjWCZIoqzNeuqhPIhD4g7KSx8ncmmqJUmzRnGOqxqAGA70zjcuJdE8nYWZtokHyR/wQLAbzebvWnKzTUqqExtq6U0kiSPkKfqFximG2Q1zdlL6mdngTRX63XIKl3A0ubidZyb2m7xPdpQC4U2hUh7aAldXyZp7z8GPKO9XPUoirU63/sKi9rIjoZ4KCFzALjWBxbwFyP90fiGmZjxenWVGh/Oqu1fiykZFuCXzDC4TnsAUgoutO2j+B5fGib9P10OqVAvU4MtZTlzz+9tyuIqawfjYWj+Jv9huMBuZXTfsDoM2vsL9ce8fOGa5seJLv0Z6AP/Fsr2ij5lkT63Wuxg9I3EORPOCwZT6xse99k3Nk9O5USTUNPd2mLCSSdvdP6moijmEWLBWF3gZLNJBeYxYpubrt7vyupR9CH+tj2FxAYQBWmuc1zXqo5uKEzoJ6agX64MuDvVpWV85Rq++3+lFeC3c4pRw5V2vglcykwTNj5i/5gnrIKG0hUMITF7XIPTj4X5PA33FpNjXOAYKJUVJg9SuTXdBRxnGKenM4f/d08WqKMgOY29TohE0Jfwvhs3LMMzbbmsLCG8WJSENX0Y9V5IcfqWPz3rGsl2syx33OFIyhQ1GCa1c1L8BLKZq81Z2IyaTdLjuX6hFOfmhKXhS+jeQ1vNnVoqO3BI6sGuf4C1PPkDW4xBGKcq1nZlEYyPwyYNtLn/gnIUN2HRhJsOZj18s9iljri8/vGV/8VM+bsXtV3E6+jcPgDrDz2OGVtX4KMohAUT4XPrpQKVX+QpH23yxB/jqwaX/R/F3+P3+60aEQmF8/wc5EZzuvQiMuZ4EgSPD5fK66tGfHO/IXsLZ3EDoK2KYWFQab9gDRMKGN2OdpkEs8SmrPtRwKy7Up2CZxbfTqod3wwP1qDEA8SB99VcDNrDVJ9TN1DQwVBraU1jxLgezKaaY4m6HAMCQDmf26FY7QbFfYyPU8ESuDXiy8ao+bZyfh60l2Bc+eE7JLqOhBAQCk2PT+6ZZaenQTmAWm+ICxo/FH9AYMy9gK6SmmrTKHWo/nEx9s0JuLYvjq2NBzVvjLg6GRMqQfHjdD8LJcCPo44DP3Hy1VQgX0BKEqNOPaspfkVNcsRijQEu9Qyyt0z5H/sLxM1zpxrzB9FCBLm7+yq2EXn7mjJNPiM9OgUtYaqiNJ/e8umpT8PTXefiJ1JT30fPiEphbcbFwugV2esVaysQu1QO+pGquF44cmNuNbldEnLNgegvnEGSqUlDjEWSOfsEOhOBoKMrw1C3941nOvie6qHFrjZQRnBUr5VC8FoNNLaB8CY5xd19rgNP/bh0ZOQ44vEELtmPQD+KyKan45ElvfHw4+Ul74gWs02gICq+oYiKycv9JkP+uNGDBmGOxUopwXgt9Mxf9Jt6CCR2VTYjMmbx/5Het00uxiniocc6zduv3+kjVspNC20AemRxkFHGjmlDRDZBHMuNBBJoRL/p92TN1RHgPICxFekvhstLDJXFjZwNtCm+4iKhFAC4R5kHXhEnbQEOm1D7EasrXLEoKAiM51e6MDLhsvc5GHUKpuctKsaVbN7TMZ++h630P43RO7N29rlrgI26OO8gn0IgFn+4EPBoSrYCDPDHr4PZS9buPXDyH7XZ2HaHU5GncuH0oP+Czorctuq88TG6+tkWlKMW04aNC/ziIpUAkJEbs42/2dbpq7kNJrurNOoTty0UhqZOvY4WoI0iHbXsps7Vu+WxikNYpmGhu+6dDmn3wevwgaH1lPdIJqauBLrzH+NovJFnZdhmr5Ouo3EH3zN+VZOLKNMW/bHtOlFJmJW9iMvBOLpqUaHYWi3aLnXFTTYXTHl8sRki697OWue5VYOaYPyAVSrbvtKRHWw1aZsTLcWYadJUnd0bgL3Ub+pEHEZoL8NuMbnJw2a93n5egBY0Joo8MfWpcXooDFiRj958r0OJz7izW8nSgKtDaAjXRYXi2bqojqOzgMkLxR0haTzAlG91/Epu28hj07uDQaSVQRWiId9NqizsXiD9OAjLUx/s34bBWNSS8sMKUVsEfT0dvQJM3WiZVRyZdPEepdsWxRsjwxvUz3erLCIipkYEBk5jyARnb4IRpdMTCcrJp8espI0tkiMOci/OABd6U7pQY9an7g+1/Oh+td4XrvWaUY7hN0PTtyXXnvD0UNDaDWp+6enMLgL1pGtme5ngfWKKtF+yEN63MWFzSeZPw7VbE/Nahbs0Z3sG1fAy8N0ZDcrULj0TWI2apHysY2hkslbQpfioPWFb+vlLQAuUedkq48jcSlodMic8ZFX44XKWZ0uapSGJiKMHsvUj5D49JKLLrCke91Da5nPIMPIYsdYVHRQH5wYSBLmysLXLr/u8Mw9bDm80oUtogdKo2uP7L/soYN35eX7fodSQ8gfeZFU0su7JVNggkbmn1f642xHUhEF2SopifRz7K3kQxiYAK3SPSdm8PdkXodkbfdqHjUdntbr6COnDYs/JJJoOCGBHmPP0/0e9+fpTUlWiP4R9h7B6aUwQSsthHaTztdMh9Hk+AyQ4KoWLH4Ajp/hj4OxhLkq17U2S9GUGmn5AEGSvqrnEnlVza6qVOHcw2647NkDRP872YG2vS2Yl7mrWdb91X1TlVWNL56jckFvmmvoHwPnM2l6kNuqi6iIIL5Yn5ctbcN9jimuF1oAI/omPY4Qv0BN4TnEQUTgDZddAz74oOiW3RrMLr4rzm36cXOkekrfGxcGUKKtb7c0RkSY7thoPTh2BHPmgXYSFGKt+na9K6XJ/0YYdlwSAXAhOqCCCRwbBo7rlT+haocsDULOi4yNxJcz9Fpn0Bv90fyOLfOZkYDuV/lLQWutLvFNVHCJIIjdVWlFEGYnY2C/HGVBr/8lRAwv/mr+wyi5i9X+ZdpbP0nO+lExPAqXHOiwSDmo6w45GpFeEnJwhK3uGmhr6QneBe2wl8q24aZah9IZsDTQBzPxZyvG5FzWOPX/1i2y3yqxb/AVyM+2LKD475TOSIY7c6jBHZ+Tdjr/r+jGg7gPDPW/fltpXiU0vmDO0gPl35gFIwC2nw0rbLf7k+iCay3NAXMVjN6OQyWH0SsiHhm4PXvU3T1TTV/TuGEKHc3JBPQHgOKOCVdXM9DD0/McaJVcqTnK6U7Z56KRmqYCHMZMls6GzvVD4vGfZOHe/7iqraCsdpv1eRnIPHVD3qNSImsungXfYNyoTefrAr6Nr9wZfwb801ynh97P2HHusOLKb4DrRM87tpnAD1f7VCc6Qw5kt/TSbuXusiNeZaU2HX5zYLadf24jIXYZcq3jHadnPVc9Wu/YjLrlsLONq+9P19zIoDiFQIR1xffg+faPJ9IaMt41QtSBYzGrPWrmzDVr7x6G6bPJqnunYQvs/umRi4stgSf9w5s0hfVzHeur5RZnnQGlah8N+PPv5L0MMBxvLjOKuo55iql9AN8dZhhEDwMtjCtbMaucyhGEsE8FxDRlgkcyyxxZfs63TtUz4zPH/TL3MqZYE/CWeUj7XDCIXQn5MgrKj4F2vXtLK4J7VQL99WuSko3is4fhKVRiI/mqPYf1739t1iioKHlR1gV/EpmfFJkTIUzjWi6BcJOAvOZUGWxLrNOdyoQzj+YCBpkEIH/inSEl5YSrisjAcoDYVyH1yGczCnjvNGpfh/EI7VZwsgxBQLvxLmaGMvx8cyVWLSKaIYiP/THX237rBdsICu5fzGx2Hkh/4o9vlINuQ7HLrSCH8conBPODftlfT8RgkV2rXhdzTwB9w2Fq7nfU3nckIsYAnUTmPlGEHdeoeydL6BoiTW5Nndot/XKe9IWbfgG6vYFoEK9c0e9/KAA9drWI30azjR47XOM7ZoujdTxnJnAIUU0+MtGSUG4MGenMFz/5L27c2bfoygwqTIVlWv9G08XDwGuAeSQjTPWS/XkArnYs9SvRsWw1WYuGXWxtDsRteSbefX2FCEycQ0JMwX2zgpT2nwo3zbRVxqFJ3EYtNasmJ3OjV3r/QHYq2+0Abe5SXhGvi/qv0+/h4pqhxRuZgvClHGbuiUi5Seg/05ikfWRFwqsDk7Iks8ZHYCs1/WFuYbxaPqXq56MDRN/zuuElsCT4/rgZGjVXXMbZp1QyUUcB6kiz3opk30zX+3FXBhjm5NKGQoNioMG15h5Q474uBMjz6u3HRiXVfP0+9bpOdkpnTXuVwWUJhghawfCIh6CORiMm7We/VYx0voghcv+dA0cTmRHIyByd4wy50rOd2UOcmwQV0TaOqcstd/g20El6Ac4xzw2zMzy38iL1AifKMpVXW1QBIhy1zcLDUhFwbrD2Fkfdr/SNb2N/paSpFx9PGwQhZQhtYdJImW86FxYHcGs7Px7U5EHad4UU6cEShRtAeVlKjv4fphy0GIQfNL9Lebzo9ttASrpSbl429ikcBlWonQeAmEb8x3zWtHqj2Yr7BAW5vRstagkrui0RuOHERBN88A2bsc36W+zXmYgtuXZVtkNDSd3bWQzj69dIJnQAXbEXWbAut/FRH7vm9n+a7Cl4xl4AgLmYnXFmHehWQlKE6lrY2NoVe6dfukAd/uyq0Ipp8DycxJBQR0dFe+02uPOZuMTeCJGVxtyiz7h0T0ISzmvNf4GBjvr/iOHqpGgkWFwLgKVLW7xnkOVr0p2f4juCsxz1N4WhGl03pVFQ8czEdWR4b+zZA4FQfpxzm82h1+H8o/GmkY+IA4wVflU6TX056j6wxJezF5sHX70j5EXS09/ZNzWkUa4uMihzkj3NLwDsNTbmlu8+xx8SP+bkfZosXwf6wZyDveHBKxbjwsow11VmIfYnarVhizER5JztTiIIS/dshA+U1hOsf5lAc4aayrqB8v3ol6v84MxRL7oaormX9p2RzlR9f6IjDEF9YPaJrF50+fztHvskaJ4pu6ExuGku8LyNcfSvStbkWxEPEp97KiJQSkiYpXM3oGNJJqFb8ohMN2/jwayMf7purj5WDgzWHJYpAt1+4ZV3bSdj4yulEySoksb2lmUTrIPzG8NN6EIhLQwIzWdxyaS0gZe9e9c93XkBbvmUsLGx19Q75MS0300akMJHzvDjkYn8g2/Z5wzulKzDxR8DjAk/8Trt98JVRVgA/lidSRMR/67/BjlQ47R34u3xxmtXfOOlf5vUSC8VhaBLuPQbuf20zNBxXnLWlKI1hNV9ifmeF98+5fUIZy4mlHetgg25h1a3copiy5kI0o6WVYfpq5wQCM/Cr8yq72gixlKL8q5w6snKXD69ePLNcNc2cXAKC97GLaOsWOz/BbO2zFb3fy1LJNyUA6JHI0i26dVDgLU2dqnAbzxS4n7ka4AbXmciHXfR2ka6GLKQ45nT8AZTOaG1P1m+rf/TcuJNODmTCWqC2uT2BvzkxaRUK8JpXLz8B4RAFVCYtFWNJTqDbBochHDnXmMNc7bFkTwe4kr0fDy9ViyO3/uv3wGsjCK72D8oaVl46UPuNiTt0Wx2EWB3wTUevdQZfpUBg5FNlxAP3S3ZfNHM5Tokr83974kQYXKJyG9vs/cpiCCH+ZioUoQiWw5D59WqlKvmDaNAEvxKPQxOJTKS13k4vObruIyaBCrD0lIYaRKndfGKyesYjpDtQ7XGVd9lmCEW5MBbusit+DXCcNROQU7sVryzeB7YnNTFjHbh1CHr1oR4PkylxM0bjTF5AQ/23iWY8yI42TZcniqgSUeVTInVVFHEcc3gF194xrI4RX0X56J6OIY8NYRrSVyx6cDudFbl9QYuEtnAaXEG1Xn/XLEUEO6c8XOpisqFkLEj9fB2JtVMYA9n2w6IoXq1kg0ehlZgFe7rqeZOAR9gkmjRf/gVYoGWUmXPQPcuXCW2nHmNUwU24wDgk113B+xMbE9L+Alg6XW3uz4ENHBefA0NXjFmirFhIxk0vmZSxnlE3PdeBjMitST5Jc21idUw5+7m2LbvY4mA5ReFLWH6YgIeW0T4HdYZTqDmcdxk0boKb5p10ro3FmigFC9cS8/rbJLHHsnbZtWhRV+QIAu3eaEyX77N2shNeLBWH/aB7HrJhLpZCfPf819ty/UkY+ZFnLcTVpWY41VkhmwnGMw4ctsK+VLIlysX/mMVixV7ACMv6IJNDI9qiAvmzyj4SUvfNFchIXB6zGk+wFVtGDqsL5iDflwQ9LQSDnaU50jOwT6g4zgpfCxcDnBUxS6daPtqBTOJrALgye72dxwgP3Nu3v6Rd6C4+ConO5GKKoNfwlUuKMa/7L/PC23KDGY9oz0YvBP2XJR//I8lJj5MR13NoJaUrESqo01kluO89Di8faOVbxYZi/j2OyZ6QOab/PCYMAKQZgbr7Rlkq31p4F/PIgk8Dbs4dSRWcIhYbae0kR1i5/LHhfUiYleXbJLa4hXoZCh3giRFHDV76mWWUfspe1nK9TC1kyu/8S13x+YG/Y9NwD6n1afjPRnTYl0roaa9TMgvJI+ZBWgQGxAgRJvpFaOVPAWeP4OGFV6zbVoB226ekA1nNTCgowtLYx7z0G+M9U+IK6kUf539S7T55/dYRjTdnvGxOP9F2/Sg8eT5B48+kuFrWqF9YAFYwyB57TtZsDJwA2GUxeYsG4ZQ1Tlqi/xXQvP2LpNhwJlGZcPfmVIz3lSSNyeM42yGbQK+Tps1sJF426Dy262/Q/4iEi/a6Td+q64cCZ2nCcMTHMaaWwLXjv5ynkykEThZgQ+6Q5Om7yVW2e6j+oM9OdWEDhdWysxfYiGEH2zMZup4OZnIOqUE3kLciMYsKWBLBgHD/2Bb1GOvSXa5wkAR/ikaYvFoN0+g3vSJ8wshV6hrYIaK8YY9izPRvpdVFTLzIbYActqipl1eg/b+izEFseK/nPebLAl+wBU3SwxHU3SUMRhGK7i+y0VnK3M+qUSnHaEhRfjhz0OvMEYEUVVPb9oDKuG1BLE2W3unxAmTwW5nL/aQqGQBKaw8gCZ18zLtMLltPRZzcfun6a2i0njybtQw+rqqkHJ+RjZUe9wikzVVW09hvOnLu281R2xAb6HMlOhR35GPa9ekH+k+fxB1FJVIJ3tYfL6XQUGzEDi1Q7SdQHJa4dMyvGjRTwdqsUs99hFNbS30qrixvIMXxHHNENOkI3nWM5wfjvUkdzeh5zZJaWqwNwd39U9YTCaNjGqTnQRt0+/SFUDEeHHYF7P+149QAqjG6L1H4tRoAVtTdnZxwHYFb167dwS6eeXkbHuIwuXa4pX50QCPo2g/LTlMT8ep9n07R4wN0fSvHQPOuzxJLfOOxHHvNCH8DCaeOAffm9BRYkJEekLAPYxsUBmAnWuCdX+70ayjAlNPKLMrQJ81qwSv0hCaQJAEyplwsicaUKKJ2WHPBjOfkQ1eel0L1oIV4GMB19UX5NbOYE04cbRXOKF7MNazzpHH6Z/0lUxUZOhvONHaTHWMGlaGiFUcD91lbMrRvrURV0Ai86dPvLvYnI67RbLE4PqqNgd8PXH2M8hvndYYxPCeQtyCYzhVDPDw/QtJXrugcgTz8harfyAaRJwJWKG7+3faUxNFbcIU4y+cD/ptDbV9h9qjrpp6CV/ZQ5/6E3/XDkGUBsptNlK7Xeww5LekuaGQmx9nf8zezHpJiPRXQJW33DOK4tAR733kZ3MbkrSgGtvJfVH+KxHncTVWA/2IJWe/08pwSIV008iC374llGtdiWUC+zGojgpqsrytarZWbKthbNzBLt6rT0lKyF/PtLfuX/M5BGRuC5t58N4sRt39vginskhgDTLED/LN8i9yR1rtypiorQJHaOAPn+EAtwWcUHLdQPD0Rz4pY9TJzBA+x5Q7kt8Mq4t/PwpisPD33CA5S/RLzzmstFNHsfMmmr+DFKbr4hBcnpySnP1b8fsJTK6/MWLX45kVJA4/akTtM9bbkc1J2HVH/5htYfI9VrQ17eILWfsSKix2pXv8EqUncrOd1ilcGcj0k6hDzBmP3UAY8iug/EJ/Hazb7x3u47hXGAgsr59asBctHwW99W6Eiv7OlAV6ub6s8LqjC0joNr2RN8IDArA9kveWwMIBdO0tUeXyFStdBinJ2Dt9nxuLLvZNciNdOk1sxKijf+DHPYAyIbLLDWlgbZ0JNlMQK2ZO85oFgYv+pHMlzH1QpZJc6a/JoKJ0ZJ2fdZJLd4a5y0fSvkvjYTr0CUU/lZTHIspbfHkPfO04IT1DyJuXhXwnppQwVxN5jYTRXTn232tPLWgt5LRqWUXWhrYxnKFadcV/4QHbLl17qDUWw4C7sDIa5e9QiZAE7GnE0iQbuwbJRQFKe4zVnXZ2gdfIfTUe9o/Gjo4oC1KODb4wC8MymYrJonugGyif+6L/lAmXIt2JrT6wGx9D/diya0rSBQNJO2MDldxcoZl0kou0ObVkFGCNjDg3dTI1pOIYxTjzoropcdmnxeeZWZqEB3p1PG5a/R4uOaSp0/fxvFZxcZRqoI2GpPyTACKDzTec5HTkPX+e33Rs3I3mMmVQds+/3I6d7Vxq0/xx02Di3cTs5Wowmef0oglPtU1M0qRxxwz5SKpJTok4HyLjbKrpN4aQagZNkKB1N4Q6EAMjA2eXgVULZF3eBYPXHGieUUA8lqjkyjkEGVUz9VAezzOzjCNpo4NKPj9aWVj2x86vwrTr8n64MgIpkadOAIV58iwVGbNmYcKpojI709B1B8pjVkYnbWgIUg69I6y6fcMz8WynfrSGXrg+6XasDh266vr7sF0XFH0Mkj41xH7agSnPsyrUxybF08TJBCMWLH1k/g3IQF9y+bNH36kqXEGN7ZryVHUTVfayZEwwAc5PcJh6jYu7ocfz3TZ+l5tuoenUeucH4bMSca6OL+5nv3sRtChHBFNBNWwi9Y4bdcyPwOF9TrHuWWleeHsuzBRb6iDRPVF5jD66K0mPQDt84HMKD4K8xjH/IfgfY5PvXRCQ+/TeRjCeijSLWybnM1pE0xZEi2BGojM1+maJ5GYeihvp7gIrmdSNoC4FNuCmP6kkLiMTXH4eN6LLMk5xZh50SqMf2RnNbIGanjw3haMt7/sDT8OEwbuX+hPdSKvSzZ7W8NsLmMu7LV0FQEYanm7KwZ01GwoHPo6MAw94a/hfFjKdWPYu9+qeICK4g0ccw0i43EuHgKT3fhUPvU5b+Krj2m1YdZH663OR934F0xqmw28WQ63JH6A+Pmz9Iz00RdMejS/4FplUAy3EZLSH36/P/vxhWhXfAPQKcwal6U9U8dFLPrGhgHEc72PB9EJZ38OFSoJLNn0xZdXeHlVetzcJy4NbAcm4qid5vAvCtT+dsUm4mxzsAVLIC0Dd/KGGO+2zVXmvq+SE7hgJ0X3uV7X2pXzkFXWdhRkG7i7wk3YsEkC3q8nBoB9+o3Xt9yecSJC3Leo/IoeGfpL8icF18e0LnhovTljhRCgUej7vnm7wQopc9zPg0llEhdkPR7YPKAXBm/MqHpvZyJQ1fCirPsCrJ7UW0Q78yWPTwjDGren+otx+Sz4PdGQCg3S78zw80q3DD46GgkGVRKkdfZsAxB5SGT/jcGgeoS76ZoJfYWtFAmZTorri4kZR65hMtT+1HSihwYBEQUbHomY/JA0jMJTKwjxcVBcx0SBY5NoqCy8YwQnP7nN6J+6qdh4A7hxYCLfQFq4Q/UV6XHlZw4BJaA4Dg5M+haYBRMLPphGB14Pn//AMzOf6XC5B+XhehYkBRV3SbVFFzE2jkOZqISeMVBDi0udxsNYM7CE2O7oaHlYX1RNZNViCLTA5PF4T4By6A2B39Qlhxqo93bmVx1Q1a8vAjanc7KNJLHB0ufMWJzKp9tZPSFl+yhpjShzXwG+yRxP1ion7ttxt2glURcK1SttoLbMk4Df86ZilEser9sxha+kZEpSBzPyjOsrFt4XWr9SUBw64Umm9Hm3wgr30wwPxJhas49NrDjwUxW3A0lnJUMRcQAQqaiM3+M6qVFGnU9UgSn1fQafdUOVuaJM9WGhQZ4OuNWn2wtXl2uGKY7QsFGO0P1ukA4P/NW8hCe6S7XcR4LvW8CnusfcwKn/W0eHzwQfJOeh7owphwpanLOeia4cs8liIpJ9G1LPdU0Yw72HBIPCBKrRNYBzOZz76isCt0Y3Jeey8zdLxRojxUiEOyhKYpBZl03GVHOQO4tMlERX2QjhPtOdS4QPgMZmC+OBkjO8+X2sOw8UYDcV/ry8AVqWTrgoDhsZMpISZbvqocVKMfY1rg6LnmEvm3oM8cF5IiHO2cMB4s9g5ZDs+IzZux2sG1+2sZWj3N7VvHrL9z+WfHb5WEkW+/aaVMKPf7hmuiDKD9DjEz3dcsr9Q+zedl5FgT5fhhjiujO71Dzgbebs8t9F7S3g0WMhjxDDdmO6UJepF3zt9Vjv5uJ02blNLbiA+h+4HYQ7yLdmaap89iJ8pPFvdQlbZPz7RJ5ZQXOspsA5Yo0VI0WHTU4wAIBBieInp7yopXnB0LwBfILyBw17jY68GiG6ybf76JT//NuQsLzKP6lurjOxaz158kMlKwC6uhOIkwy9VaukVpm+z5JD/tP9hWpfTI9tLVGLh/p7morxwSzqXdGBV2b3we7mDDIuYZ7EYr50ew5MwK4jyZZzQc3D2vouxjoCpkAoccVD1pMcX3I4kosHikfX2KaUzcHRDgl++zchwhqEd+Xc3IGqVFqC6eZNV8Kfwv7qs6timu+DC/mUtfAwCwebII2xYIlWzrEhtaMrrXKHpewsZ67ZFlZYiW5BnBPHTNgNkLy24wzqFHzdW6jWFPQ89hjoaeQ22hQXZYAZea+XnB5pOfe11gVY9KNrsK6mqzq57ckTHUgcPqrIKiOrYLR8nH0vF4mKF9X4MME2jlk2mzuV9WN+BMu1FgZObCYdPB4QgwYyGejHILJLOs0mGv7WPg42mbXaEg7015TY7xHYfTI760zDiiDGKBMrWrXwMXxtU6VTxqcGxWbwqJRGZh9AYnlPzOOXOjUULK0Q27PGe2+gkGSH6Nnp/uSvUGXGMwhCc6CNAmrt5kDxIOIYsaFUapGzLpWM0ukFSypLDIRGhqKSeh2Xz2ixB9Eq1SGzo6DkvslzSeVDmXSFlk7uExG7V8vT73S2SAGfaO6xzuz2i5JszCsvifE1svUUozvdEVcE2E4Y+AxC/DnOw9Cywju6btS9yCEkV635yy+6xugu7jsPS0ldreG/GK0txaTPVGsrEjXtlP3G23bk9K0SMR7moYjNnXOak9Xn4X8MAoa5tXdQDEtdKqdc60Yv7QRer7lb4LnFcbRCNb7u27fmZiLBjpSssrfCfEmZKpnx1MYRrSuO3H23lVOr//uu3Rd0ygsAKKVAcEOvMweF4fSzoddOcmV2s/Xnn4P8ef+Tf/EMQ3jsao3APyzQjrE1h5Kvx+0MWn1ZKBOCms+NAizKiFHfiUOYi24Z0HMRURvPg9amh4ug6R+UAMAa17thUfc0f+e+VTiT5zphRCcugdu2cFJxMDgK6SFSmGda16QMc4t7aPWwnqhOK9x97bLCv/J1rfzR7Xtq3mEkDP9+x5/Ge8+ryUDFlwPyB30zyY1F9pQhtU6xnjt26Ax5ser/XlqlyjVSdxSbL0hrkuC4D5ayWLashLIhj9PLPMqxpus6LmUqChaRSryf5Xz68EIxXfed9PeT6tLWyKOfuMwdG7Y9LEBg1pHXQHTopK43BJf5mhaNxwYsaOxQCXCZJftgqlE7tfb8uGbiOJrzH5DhzaUGbDhH4BRgmr0G1aoV7xMV0vQBjb7m5+aBSGytOeEaPtHUjz9g=="/>
  <p:tag name="MEKKOXMLTAGS" val="1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heme/theme1.xml><?xml version="1.0" encoding="utf-8"?>
<a:theme xmlns:a="http://schemas.openxmlformats.org/drawingml/2006/main" name="Bain Core">
  <a:themeElements>
    <a:clrScheme name="Bain">
      <a:dk1>
        <a:srgbClr val="000000"/>
      </a:dk1>
      <a:lt1>
        <a:srgbClr val="FFFFFF"/>
      </a:lt1>
      <a:dk2>
        <a:srgbClr val="D6D6D6"/>
      </a:dk2>
      <a:lt2>
        <a:srgbClr val="5C5C5C"/>
      </a:lt2>
      <a:accent1>
        <a:srgbClr val="B4B4B4"/>
      </a:accent1>
      <a:accent2>
        <a:srgbClr val="D6D6D6"/>
      </a:accent2>
      <a:accent3>
        <a:srgbClr val="CC0000"/>
      </a:accent3>
      <a:accent4>
        <a:srgbClr val="46647B"/>
      </a:accent4>
      <a:accent5>
        <a:srgbClr val="507867"/>
      </a:accent5>
      <a:accent6>
        <a:srgbClr val="973B74"/>
      </a:accent6>
      <a:hlink>
        <a:srgbClr val="46647B"/>
      </a:hlink>
      <a:folHlink>
        <a:srgbClr val="7891AA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indent="0" algn="ctr">
          <a:buNone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 cap="flat">
          <a:solidFill>
            <a:schemeClr val="tx1"/>
          </a:solidFill>
          <a:miter lim="800000"/>
          <a:tailEnd type="none" w="med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36000" tIns="36000" rIns="36000" bIns="36000" rtlCol="0">
        <a:spAutoFit/>
      </a:bodyPr>
      <a:lstStyle>
        <a:defPPr marL="0" indent="0">
          <a:buNone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ain Core On Screen Show (16_9).potx" id="{56CF97D2-A744-43CA-AE15-0214FF29DAC4}" vid="{A64E784E-EE2A-4031-BBD4-3B52B2D870F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xSherpaClassifyTag xmlns="f88c53b6-8430-489a-818e-0809f26193c4" xsi:nil="true"/>
    <_activity xmlns="f88c53b6-8430-489a-818e-0809f26193c4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AB6842ECB571D4D8CD5B59259FB6D70" ma:contentTypeVersion="15" ma:contentTypeDescription="Create a new document." ma:contentTypeScope="" ma:versionID="8310234ae02bf9e9b7cc6e9dd4257f81">
  <xsd:schema xmlns:xsd="http://www.w3.org/2001/XMLSchema" xmlns:xs="http://www.w3.org/2001/XMLSchema" xmlns:p="http://schemas.microsoft.com/office/2006/metadata/properties" xmlns:ns3="f88c53b6-8430-489a-818e-0809f26193c4" xmlns:ns4="81838403-9be3-433c-9358-2a9ebb929caa" targetNamespace="http://schemas.microsoft.com/office/2006/metadata/properties" ma:root="true" ma:fieldsID="20e5ec8a40cd284079672ecab3ca0ce1" ns3:_="" ns4:_="">
    <xsd:import namespace="f88c53b6-8430-489a-818e-0809f26193c4"/>
    <xsd:import namespace="81838403-9be3-433c-9358-2a9ebb929caa"/>
    <xsd:element name="properties">
      <xsd:complexType>
        <xsd:sequence>
          <xsd:element name="documentManagement">
            <xsd:complexType>
              <xsd:all>
                <xsd:element ref="ns3:xSherpaClassifyTag" minOccurs="0"/>
                <xsd:element ref="ns3:MediaServiceMetadata" minOccurs="0"/>
                <xsd:element ref="ns3:MediaServiceFastMetadata" minOccurs="0"/>
                <xsd:element ref="ns3:MediaServiceSearchProperties" minOccurs="0"/>
                <xsd:element ref="ns3:MediaServiceObjectDetectorVersions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SystemTags" minOccurs="0"/>
                <xsd:element ref="ns3:MediaServiceOCR" minOccurs="0"/>
                <xsd:element ref="ns3:_activity" minOccurs="0"/>
                <xsd:element ref="ns4:SharedWithUsers" minOccurs="0"/>
                <xsd:element ref="ns4:SharedWithDetails" minOccurs="0"/>
                <xsd:element ref="ns4:SharingHintHash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88c53b6-8430-489a-818e-0809f26193c4" elementFormDefault="qualified">
    <xsd:import namespace="http://schemas.microsoft.com/office/2006/documentManagement/types"/>
    <xsd:import namespace="http://schemas.microsoft.com/office/infopath/2007/PartnerControls"/>
    <xsd:element name="xSherpaClassifyTag" ma:index="8" nillable="true" ma:displayName="xSherpaClassifyTag" ma:internalName="xSherpaClassifyTag">
      <xsd:simpleType>
        <xsd:restriction base="dms:Text"/>
      </xsd:simpleType>
    </xsd:element>
    <xsd:element name="MediaServiceMetadata" ma:index="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0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SystemTags" ma:index="16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_activity" ma:index="18" nillable="true" ma:displayName="_activity" ma:hidden="true" ma:internalName="_activity">
      <xsd:simpleType>
        <xsd:restriction base="dms:Note"/>
      </xsd:simpleType>
    </xsd:element>
    <xsd:element name="MediaLengthInSeconds" ma:index="22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1838403-9be3-433c-9358-2a9ebb929caa" elementFormDefault="qualified">
    <xsd:import namespace="http://schemas.microsoft.com/office/2006/documentManagement/types"/>
    <xsd:import namespace="http://schemas.microsoft.com/office/infopath/2007/PartnerControls"/>
    <xsd:element name="SharedWithUsers" ma:index="19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21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D835C2C-3CD2-40BE-BE8B-84BB9926EAC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A5E128D-D4EF-46A8-9237-DF5B6E4198DE}">
  <ds:schemaRefs>
    <ds:schemaRef ds:uri="81838403-9be3-433c-9358-2a9ebb929caa"/>
    <ds:schemaRef ds:uri="f88c53b6-8430-489a-818e-0809f26193c4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C2161B77-3415-4373-854C-4E4B2A96FDD2}">
  <ds:schemaRefs>
    <ds:schemaRef ds:uri="81838403-9be3-433c-9358-2a9ebb929caa"/>
    <ds:schemaRef ds:uri="f88c53b6-8430-489a-818e-0809f26193c4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30</TotalTime>
  <Words>845</Words>
  <Application>Microsoft Office PowerPoint</Application>
  <PresentationFormat>Widescreen</PresentationFormat>
  <Paragraphs>121</Paragraphs>
  <Slides>8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3" baseType="lpstr">
      <vt:lpstr>Arial</vt:lpstr>
      <vt:lpstr>Arial (Header)</vt:lpstr>
      <vt:lpstr>Calibri</vt:lpstr>
      <vt:lpstr>Bain Core</vt:lpstr>
      <vt:lpstr>think-cell Slide</vt:lpstr>
      <vt:lpstr>Workforce Deck 4 – Workforce Analysis</vt:lpstr>
      <vt:lpstr>Major caveats and summary of count of profiles</vt:lpstr>
      <vt:lpstr>Engineering and Sales roles constitute ~60% of the workforce across peers; Target has a slightly higher sales workforce as compared to peers</vt:lpstr>
      <vt:lpstr>Peer 2 witnessed the highest CAGR of ~50% in its workforce in L5Y; Target is placed in the middle of the pack with a CAGR of ~20% during the same period</vt:lpstr>
      <vt:lpstr>Peer 2 witnessed the highest CAGR of ~55% in its engineering workforce in L5Y while Target grew its eng. workforce at CAGR of ~15% during the same period</vt:lpstr>
      <vt:lpstr>Target noted relatively lower avg. attrition of ~10% amongst the peers during ’19-’23; Most players noted ~10-20% avg. attrition during same period</vt:lpstr>
      <vt:lpstr>Target witnessed highest # of hires and exits in 2022 with ~15% attrition during the year</vt:lpstr>
      <vt:lpstr>Majority of employees are based out of HQ locations; California, New York, Washington, and Utah are the most common US regions</vt:lpstr>
    </vt:vector>
  </TitlesOfParts>
  <Company>Bain and Compan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hardwaj, Anjali</dc:creator>
  <cp:lastModifiedBy>BCN</cp:lastModifiedBy>
  <cp:revision>3</cp:revision>
  <cp:lastPrinted>2017-02-15T14:23:56Z</cp:lastPrinted>
  <dcterms:created xsi:type="dcterms:W3CDTF">2024-09-13T04:03:46Z</dcterms:created>
  <dcterms:modified xsi:type="dcterms:W3CDTF">2025-05-29T11:07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AB6842ECB571D4D8CD5B59259FB6D70</vt:lpwstr>
  </property>
</Properties>
</file>